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rts/chart1.xml" ContentType="application/vnd.openxmlformats-officedocument.drawingml.chart+xml"/>
  <Override PartName="/ppt/tags/tag52.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53.xml" ContentType="application/vnd.openxmlformats-officedocument.presentationml.tags+xml"/>
  <Override PartName="/ppt/charts/chart3.xml" ContentType="application/vnd.openxmlformats-officedocument.drawingml.chart+xml"/>
  <Override PartName="/ppt/theme/themeOverride1.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charts/chart4.xml" ContentType="application/vnd.openxmlformats-officedocument.drawingml.chart+xml"/>
  <Override PartName="/ppt/theme/themeOverride2.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86" r:id="rId2"/>
    <p:sldMasterId id="2147483699" r:id="rId3"/>
  </p:sldMasterIdLst>
  <p:notesMasterIdLst>
    <p:notesMasterId r:id="rId23"/>
  </p:notesMasterIdLst>
  <p:sldIdLst>
    <p:sldId id="266" r:id="rId4"/>
    <p:sldId id="3621" r:id="rId5"/>
    <p:sldId id="3710" r:id="rId6"/>
    <p:sldId id="3323" r:id="rId7"/>
    <p:sldId id="3769" r:id="rId8"/>
    <p:sldId id="3732" r:id="rId9"/>
    <p:sldId id="3773" r:id="rId10"/>
    <p:sldId id="3735" r:id="rId11"/>
    <p:sldId id="3737" r:id="rId12"/>
    <p:sldId id="3740" r:id="rId13"/>
    <p:sldId id="3738" r:id="rId14"/>
    <p:sldId id="3324" r:id="rId15"/>
    <p:sldId id="3772" r:id="rId16"/>
    <p:sldId id="3771" r:id="rId17"/>
    <p:sldId id="3775" r:id="rId18"/>
    <p:sldId id="286" r:id="rId19"/>
    <p:sldId id="289" r:id="rId20"/>
    <p:sldId id="2822" r:id="rId21"/>
    <p:sldId id="292" r:id="rId22"/>
  </p:sldIdLst>
  <p:sldSz cx="9144000" cy="6858000" type="screen4x3"/>
  <p:notesSz cx="6858000" cy="9144000"/>
  <p:custDataLst>
    <p:tags r:id="rId24"/>
  </p:custDataLst>
  <p:defaultTextStyle>
    <a:defPPr>
      <a:defRPr lang="en-US"/>
    </a:defPPr>
    <a:lvl1pPr marL="0" indent="0" algn="l" defTabSz="914400" rtl="0" eaLnBrk="1" latinLnBrk="0" hangingPunct="1">
      <a:lnSpc>
        <a:spcPct val="110000"/>
      </a:lnSpc>
      <a:spcBef>
        <a:spcPts val="6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buClr>
        <a:schemeClr val="tx2"/>
      </a:buClr>
      <a:buFont typeface="Arial" panose="020B0604020202020204"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4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D95DDBC-5C31-40A9-B56D-BDF15E579DC0}">
  <a:tblStyle styleId="{7D95DDBC-5C31-40A9-B56D-BDF15E579DC0}" styleName="BERENBERG">
    <a:wholeTbl>
      <a:tcTxStyle>
        <a:fontRef idx="minor">
          <a:prstClr val="black"/>
        </a:fontRef>
        <a:schemeClr val="dk1"/>
      </a:tcTxStyle>
      <a:tcStyle>
        <a:tcBdr>
          <a:left>
            <a:ln>
              <a:noFill/>
            </a:ln>
          </a:left>
          <a:right>
            <a:ln>
              <a:noFill/>
            </a:ln>
          </a:right>
          <a:top>
            <a:ln>
              <a:noFill/>
            </a:ln>
          </a:top>
          <a:bottom>
            <a:ln w="6350" cmpd="sng">
              <a:solidFill>
                <a:schemeClr val="dk2"/>
              </a:solidFill>
            </a:ln>
          </a:bottom>
          <a:insideH>
            <a:ln w="9525" cmpd="sng">
              <a:solidFill>
                <a:srgbClr val="BAB7B4"/>
              </a:solidFill>
            </a:ln>
          </a:insideH>
          <a:insideV>
            <a:ln>
              <a:noFill/>
            </a:ln>
          </a:insideV>
        </a:tcBdr>
        <a:fill>
          <a:noFill/>
        </a:fill>
      </a:tcStyle>
    </a:wholeTbl>
    <a:band1H>
      <a:tcStyle>
        <a:tcBdr>
          <a:bottom>
            <a:ln>
              <a:noFill/>
            </a:ln>
          </a:bottom>
          <a:insideH>
            <a:ln>
              <a:noFill/>
            </a:ln>
          </a:insideH>
        </a:tcBdr>
      </a:tcStyle>
    </a:band1H>
    <a:band2H>
      <a:tcStyle>
        <a:tcBdr>
          <a:bottom>
            <a:ln>
              <a:noFill/>
            </a:ln>
          </a:bottom>
          <a:insideH>
            <a:ln>
              <a:noFill/>
            </a:ln>
          </a:insideH>
        </a:tcBdr>
        <a:fill>
          <a:solidFill>
            <a:srgbClr val="EDECEB"/>
          </a:solidFill>
        </a:fill>
      </a:tcStyle>
    </a:band2H>
    <a:band1V>
      <a:tcStyle>
        <a:tcBdr/>
        <a:fill>
          <a:solidFill>
            <a:srgbClr val="EDECEB"/>
          </a:solidFill>
        </a:fill>
      </a:tcStyle>
    </a:band1V>
    <a:band2V>
      <a:tcStyle>
        <a:tcBdr/>
      </a:tcStyle>
    </a:band2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lt1"/>
      </a:tcTxStyle>
      <a:tcStyle>
        <a:tcBdr>
          <a:top>
            <a:ln>
              <a:noFill/>
            </a:ln>
          </a:top>
          <a:bottom>
            <a:ln>
              <a:noFill/>
            </a:ln>
          </a:bottom>
        </a:tcBdr>
        <a:fill>
          <a:solidFill>
            <a:schemeClr val="dk2"/>
          </a:solidFill>
        </a:fill>
      </a:tcStyle>
    </a:lastRow>
    <a:firstRow>
      <a:tcTxStyle b="on">
        <a:fontRef idx="minor">
          <a:prstClr val="black"/>
        </a:fontRef>
        <a:schemeClr val="dk2"/>
      </a:tcTxStyle>
      <a:tcStyle>
        <a:tcBdr>
          <a:bottom>
            <a:ln w="6350" cmpd="sng">
              <a:solidFill>
                <a:schemeClr val="dk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2" autoAdjust="0"/>
    <p:restoredTop sz="94660"/>
  </p:normalViewPr>
  <p:slideViewPr>
    <p:cSldViewPr>
      <p:cViewPr varScale="1">
        <p:scale>
          <a:sx n="175" d="100"/>
          <a:sy n="175" d="100"/>
        </p:scale>
        <p:origin x="3912" y="144"/>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dnsbego.de\transfer\T743-Equities_Portfolio_Management\08_Notes,%20Inv%20Cases%20und%20Meetings\_global\99_Tim\5_Excels\12_2022\Performance%20Style%20Factors%20Europe%20and%20US.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dnsbego.de\transfer\T743-Equities_Portfolio_Management\Product%20Specialists\Leonie\Kopie%20von%20Ratio%20Stoxx600%20vs%20SP500.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2" Type="http://schemas.openxmlformats.org/officeDocument/2006/relationships/oleObject" Target="file:///\\dnsbego.de\transfer\T743-Equities_Portfolio_Management\Product%20Specialists\Leonie\Kopie%20von%20Performance%20Regionen.xlsx" TargetMode="External"/><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oleObject" Target="file:///C:\Users\gregel\AppData\Local\Microsoft\Windows\INetCache\Content.Outlook\WY4A3IFF\Small%20vs%20Large%20Cap%20in%20Europa%20vs%20USA.xlsx"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630497789324825E-2"/>
          <c:y val="2.3162375781383193E-2"/>
          <c:w val="0.92220874503021755"/>
          <c:h val="0.86496431163113907"/>
        </c:manualLayout>
      </c:layout>
      <c:lineChart>
        <c:grouping val="standard"/>
        <c:varyColors val="0"/>
        <c:ser>
          <c:idx val="1"/>
          <c:order val="0"/>
          <c:tx>
            <c:strRef>
              <c:f>Tabelle1!$E$7</c:f>
              <c:strCache>
                <c:ptCount val="1"/>
                <c:pt idx="0">
                  <c:v>MSCI USA</c:v>
                </c:pt>
              </c:strCache>
            </c:strRef>
          </c:tx>
          <c:spPr>
            <a:ln>
              <a:solidFill>
                <a:schemeClr val="tx2"/>
              </a:solidFill>
            </a:ln>
          </c:spPr>
          <c:marker>
            <c:symbol val="none"/>
          </c:marker>
          <c:cat>
            <c:numRef>
              <c:f>Tabelle1!$B$35:$B$137</c:f>
              <c:numCache>
                <c:formatCode>m/d/yyyy</c:formatCode>
                <c:ptCount val="103"/>
                <c:pt idx="0">
                  <c:v>44952</c:v>
                </c:pt>
                <c:pt idx="1">
                  <c:v>44951</c:v>
                </c:pt>
                <c:pt idx="2">
                  <c:v>44950</c:v>
                </c:pt>
                <c:pt idx="3">
                  <c:v>44949</c:v>
                </c:pt>
                <c:pt idx="4">
                  <c:v>44946</c:v>
                </c:pt>
                <c:pt idx="5">
                  <c:v>44945</c:v>
                </c:pt>
                <c:pt idx="6">
                  <c:v>44944</c:v>
                </c:pt>
                <c:pt idx="7">
                  <c:v>44943</c:v>
                </c:pt>
                <c:pt idx="8">
                  <c:v>44942</c:v>
                </c:pt>
                <c:pt idx="9">
                  <c:v>44939</c:v>
                </c:pt>
                <c:pt idx="10">
                  <c:v>44938</c:v>
                </c:pt>
                <c:pt idx="11">
                  <c:v>44937</c:v>
                </c:pt>
                <c:pt idx="12">
                  <c:v>44936</c:v>
                </c:pt>
                <c:pt idx="13">
                  <c:v>44935</c:v>
                </c:pt>
                <c:pt idx="14">
                  <c:v>44932</c:v>
                </c:pt>
                <c:pt idx="15">
                  <c:v>44931</c:v>
                </c:pt>
                <c:pt idx="16">
                  <c:v>44930</c:v>
                </c:pt>
                <c:pt idx="17">
                  <c:v>44929</c:v>
                </c:pt>
                <c:pt idx="18">
                  <c:v>44928</c:v>
                </c:pt>
                <c:pt idx="19">
                  <c:v>44925</c:v>
                </c:pt>
                <c:pt idx="20">
                  <c:v>44924</c:v>
                </c:pt>
                <c:pt idx="21">
                  <c:v>44923</c:v>
                </c:pt>
                <c:pt idx="22">
                  <c:v>44922</c:v>
                </c:pt>
                <c:pt idx="23">
                  <c:v>44921</c:v>
                </c:pt>
                <c:pt idx="24">
                  <c:v>44918</c:v>
                </c:pt>
                <c:pt idx="25">
                  <c:v>44917</c:v>
                </c:pt>
                <c:pt idx="26">
                  <c:v>44916</c:v>
                </c:pt>
                <c:pt idx="27">
                  <c:v>44915</c:v>
                </c:pt>
                <c:pt idx="28">
                  <c:v>44914</c:v>
                </c:pt>
                <c:pt idx="29">
                  <c:v>44911</c:v>
                </c:pt>
                <c:pt idx="30">
                  <c:v>44910</c:v>
                </c:pt>
                <c:pt idx="31">
                  <c:v>44909</c:v>
                </c:pt>
                <c:pt idx="32">
                  <c:v>44908</c:v>
                </c:pt>
                <c:pt idx="33">
                  <c:v>44907</c:v>
                </c:pt>
                <c:pt idx="34">
                  <c:v>44904</c:v>
                </c:pt>
                <c:pt idx="35">
                  <c:v>44903</c:v>
                </c:pt>
                <c:pt idx="36">
                  <c:v>44902</c:v>
                </c:pt>
                <c:pt idx="37">
                  <c:v>44901</c:v>
                </c:pt>
                <c:pt idx="38">
                  <c:v>44900</c:v>
                </c:pt>
                <c:pt idx="39">
                  <c:v>44897</c:v>
                </c:pt>
                <c:pt idx="40">
                  <c:v>44896</c:v>
                </c:pt>
                <c:pt idx="41">
                  <c:v>44895</c:v>
                </c:pt>
                <c:pt idx="42">
                  <c:v>44894</c:v>
                </c:pt>
                <c:pt idx="43">
                  <c:v>44893</c:v>
                </c:pt>
                <c:pt idx="44">
                  <c:v>44890</c:v>
                </c:pt>
                <c:pt idx="45">
                  <c:v>44888</c:v>
                </c:pt>
                <c:pt idx="46">
                  <c:v>44887</c:v>
                </c:pt>
                <c:pt idx="47">
                  <c:v>44886</c:v>
                </c:pt>
                <c:pt idx="48">
                  <c:v>44883</c:v>
                </c:pt>
                <c:pt idx="49">
                  <c:v>44882</c:v>
                </c:pt>
                <c:pt idx="50">
                  <c:v>44881</c:v>
                </c:pt>
                <c:pt idx="51">
                  <c:v>44880</c:v>
                </c:pt>
                <c:pt idx="52">
                  <c:v>44879</c:v>
                </c:pt>
                <c:pt idx="53">
                  <c:v>44876</c:v>
                </c:pt>
                <c:pt idx="54">
                  <c:v>44875</c:v>
                </c:pt>
                <c:pt idx="55">
                  <c:v>44874</c:v>
                </c:pt>
                <c:pt idx="56">
                  <c:v>44873</c:v>
                </c:pt>
                <c:pt idx="57">
                  <c:v>44872</c:v>
                </c:pt>
                <c:pt idx="58">
                  <c:v>44869</c:v>
                </c:pt>
                <c:pt idx="59">
                  <c:v>44868</c:v>
                </c:pt>
                <c:pt idx="60">
                  <c:v>44867</c:v>
                </c:pt>
                <c:pt idx="61">
                  <c:v>44865</c:v>
                </c:pt>
                <c:pt idx="62">
                  <c:v>44862</c:v>
                </c:pt>
                <c:pt idx="63">
                  <c:v>44861</c:v>
                </c:pt>
                <c:pt idx="64">
                  <c:v>44860</c:v>
                </c:pt>
                <c:pt idx="65">
                  <c:v>44859</c:v>
                </c:pt>
                <c:pt idx="66">
                  <c:v>44858</c:v>
                </c:pt>
                <c:pt idx="67">
                  <c:v>44855</c:v>
                </c:pt>
                <c:pt idx="68">
                  <c:v>44854</c:v>
                </c:pt>
                <c:pt idx="69">
                  <c:v>44853</c:v>
                </c:pt>
                <c:pt idx="70">
                  <c:v>44852</c:v>
                </c:pt>
                <c:pt idx="71">
                  <c:v>44851</c:v>
                </c:pt>
                <c:pt idx="72">
                  <c:v>44848</c:v>
                </c:pt>
                <c:pt idx="73">
                  <c:v>44847</c:v>
                </c:pt>
                <c:pt idx="74">
                  <c:v>44846</c:v>
                </c:pt>
                <c:pt idx="75">
                  <c:v>44845</c:v>
                </c:pt>
                <c:pt idx="76">
                  <c:v>44844</c:v>
                </c:pt>
                <c:pt idx="77">
                  <c:v>44841</c:v>
                </c:pt>
                <c:pt idx="78">
                  <c:v>44840</c:v>
                </c:pt>
                <c:pt idx="79">
                  <c:v>44839</c:v>
                </c:pt>
                <c:pt idx="80">
                  <c:v>44838</c:v>
                </c:pt>
                <c:pt idx="81">
                  <c:v>44834</c:v>
                </c:pt>
                <c:pt idx="82">
                  <c:v>44833</c:v>
                </c:pt>
                <c:pt idx="83">
                  <c:v>44832</c:v>
                </c:pt>
                <c:pt idx="84">
                  <c:v>44831</c:v>
                </c:pt>
                <c:pt idx="85">
                  <c:v>44830</c:v>
                </c:pt>
                <c:pt idx="86">
                  <c:v>44827</c:v>
                </c:pt>
                <c:pt idx="87">
                  <c:v>44826</c:v>
                </c:pt>
                <c:pt idx="88">
                  <c:v>44825</c:v>
                </c:pt>
                <c:pt idx="89">
                  <c:v>44824</c:v>
                </c:pt>
                <c:pt idx="90">
                  <c:v>44823</c:v>
                </c:pt>
                <c:pt idx="91">
                  <c:v>44820</c:v>
                </c:pt>
                <c:pt idx="92">
                  <c:v>44819</c:v>
                </c:pt>
                <c:pt idx="93">
                  <c:v>44818</c:v>
                </c:pt>
                <c:pt idx="94">
                  <c:v>44817</c:v>
                </c:pt>
                <c:pt idx="95">
                  <c:v>44816</c:v>
                </c:pt>
                <c:pt idx="96">
                  <c:v>44813</c:v>
                </c:pt>
                <c:pt idx="97">
                  <c:v>44812</c:v>
                </c:pt>
                <c:pt idx="98">
                  <c:v>44811</c:v>
                </c:pt>
                <c:pt idx="99">
                  <c:v>44810</c:v>
                </c:pt>
                <c:pt idx="100">
                  <c:v>44809</c:v>
                </c:pt>
                <c:pt idx="101">
                  <c:v>44806</c:v>
                </c:pt>
                <c:pt idx="102">
                  <c:v>44805</c:v>
                </c:pt>
              </c:numCache>
            </c:numRef>
          </c:cat>
          <c:val>
            <c:numRef>
              <c:f>Tabelle1!$E$35:$E$137</c:f>
              <c:numCache>
                <c:formatCode>0%</c:formatCode>
                <c:ptCount val="103"/>
                <c:pt idx="0">
                  <c:v>-5.9852436452567659E-2</c:v>
                </c:pt>
                <c:pt idx="1">
                  <c:v>-7.4675740229871446E-2</c:v>
                </c:pt>
                <c:pt idx="2">
                  <c:v>-7.2243915021984795E-2</c:v>
                </c:pt>
                <c:pt idx="3">
                  <c:v>-7.0389032960584741E-2</c:v>
                </c:pt>
                <c:pt idx="4">
                  <c:v>-7.8927003892889314E-2</c:v>
                </c:pt>
                <c:pt idx="5">
                  <c:v>-9.2992208313888547E-2</c:v>
                </c:pt>
                <c:pt idx="6">
                  <c:v>-8.9347424135914455E-2</c:v>
                </c:pt>
                <c:pt idx="7">
                  <c:v>-7.2549123853743902E-2</c:v>
                </c:pt>
                <c:pt idx="8">
                  <c:v>-7.3094561572435879E-2</c:v>
                </c:pt>
                <c:pt idx="9">
                  <c:v>-7.3437183099700931E-2</c:v>
                </c:pt>
                <c:pt idx="10">
                  <c:v>-7.5467314103207728E-2</c:v>
                </c:pt>
                <c:pt idx="11">
                  <c:v>-7.433902597031794E-2</c:v>
                </c:pt>
                <c:pt idx="12">
                  <c:v>-8.4286864796425776E-2</c:v>
                </c:pt>
                <c:pt idx="13">
                  <c:v>-9.1883611073370286E-2</c:v>
                </c:pt>
                <c:pt idx="14">
                  <c:v>-7.9775681354103289E-2</c:v>
                </c:pt>
                <c:pt idx="15">
                  <c:v>-9.3072940972611984E-2</c:v>
                </c:pt>
                <c:pt idx="16">
                  <c:v>-8.947344584709227E-2</c:v>
                </c:pt>
                <c:pt idx="17">
                  <c:v>-9.2547194146291534E-2</c:v>
                </c:pt>
                <c:pt idx="18">
                  <c:v>-9.8610019907492186E-2</c:v>
                </c:pt>
                <c:pt idx="19">
                  <c:v>-9.8610019907492186E-2</c:v>
                </c:pt>
                <c:pt idx="20">
                  <c:v>-9.5863140421660664E-2</c:v>
                </c:pt>
                <c:pt idx="21">
                  <c:v>-0.10780763573424379</c:v>
                </c:pt>
                <c:pt idx="22">
                  <c:v>-9.9509893688872086E-2</c:v>
                </c:pt>
                <c:pt idx="23">
                  <c:v>-9.2610205001880441E-2</c:v>
                </c:pt>
                <c:pt idx="24">
                  <c:v>-9.2610205001880441E-2</c:v>
                </c:pt>
                <c:pt idx="25">
                  <c:v>-9.6570043457799515E-2</c:v>
                </c:pt>
                <c:pt idx="26">
                  <c:v>-8.4389257436757736E-2</c:v>
                </c:pt>
                <c:pt idx="27">
                  <c:v>-0.10007502229993559</c:v>
                </c:pt>
                <c:pt idx="28">
                  <c:v>-9.6073832970036355E-2</c:v>
                </c:pt>
                <c:pt idx="29">
                  <c:v>-9.0587950355322189E-2</c:v>
                </c:pt>
                <c:pt idx="30">
                  <c:v>-8.3355485587251366E-2</c:v>
                </c:pt>
                <c:pt idx="31">
                  <c:v>-5.9261709681421082E-2</c:v>
                </c:pt>
                <c:pt idx="32">
                  <c:v>-5.2879891463801121E-2</c:v>
                </c:pt>
                <c:pt idx="33">
                  <c:v>-4.95954506162265E-2</c:v>
                </c:pt>
                <c:pt idx="34">
                  <c:v>-6.4855892204178867E-2</c:v>
                </c:pt>
                <c:pt idx="35">
                  <c:v>-5.8330330472246672E-2</c:v>
                </c:pt>
                <c:pt idx="36">
                  <c:v>-6.2038125505809782E-2</c:v>
                </c:pt>
                <c:pt idx="37">
                  <c:v>-6.0319110601773307E-2</c:v>
                </c:pt>
                <c:pt idx="38">
                  <c:v>-4.8486853375708017E-2</c:v>
                </c:pt>
                <c:pt idx="39">
                  <c:v>-2.5316580322103599E-2</c:v>
                </c:pt>
                <c:pt idx="40">
                  <c:v>-2.5231909484905835E-2</c:v>
                </c:pt>
                <c:pt idx="41">
                  <c:v>-6.9095341331774085E-3</c:v>
                </c:pt>
                <c:pt idx="42">
                  <c:v>-4.2997032582519634E-2</c:v>
                </c:pt>
                <c:pt idx="43">
                  <c:v>-4.5135463494070049E-2</c:v>
                </c:pt>
                <c:pt idx="44">
                  <c:v>-3.0926515558758694E-2</c:v>
                </c:pt>
                <c:pt idx="45">
                  <c:v>-2.7614507461863669E-2</c:v>
                </c:pt>
                <c:pt idx="46">
                  <c:v>-2.51944967894E-2</c:v>
                </c:pt>
                <c:pt idx="47">
                  <c:v>-3.4073120159732517E-2</c:v>
                </c:pt>
                <c:pt idx="48">
                  <c:v>-4.1146088699593797E-2</c:v>
                </c:pt>
                <c:pt idx="49">
                  <c:v>-4.2640627430594491E-2</c:v>
                </c:pt>
                <c:pt idx="50">
                  <c:v>-4.6194833503659494E-2</c:v>
                </c:pt>
                <c:pt idx="51">
                  <c:v>-3.3901809396099991E-2</c:v>
                </c:pt>
                <c:pt idx="52">
                  <c:v>-3.975984987663661E-2</c:v>
                </c:pt>
                <c:pt idx="53">
                  <c:v>-3.0314128806003371E-2</c:v>
                </c:pt>
                <c:pt idx="54">
                  <c:v>-2.6393672134827462E-2</c:v>
                </c:pt>
                <c:pt idx="55">
                  <c:v>-6.4869675828838957E-2</c:v>
                </c:pt>
                <c:pt idx="56">
                  <c:v>-4.8063499189719749E-2</c:v>
                </c:pt>
                <c:pt idx="57">
                  <c:v>-4.7110459998936705E-2</c:v>
                </c:pt>
                <c:pt idx="58">
                  <c:v>-4.6070780881718787E-2</c:v>
                </c:pt>
                <c:pt idx="59">
                  <c:v>-4.4989750890520597E-2</c:v>
                </c:pt>
                <c:pt idx="60">
                  <c:v>-4.6033368186212842E-2</c:v>
                </c:pt>
                <c:pt idx="61">
                  <c:v>-1.8225889979107901E-2</c:v>
                </c:pt>
                <c:pt idx="62">
                  <c:v>-1.7483543336700436E-2</c:v>
                </c:pt>
                <c:pt idx="63">
                  <c:v>-4.5292990633042485E-2</c:v>
                </c:pt>
                <c:pt idx="64">
                  <c:v>-4.4554582169109347E-2</c:v>
                </c:pt>
                <c:pt idx="65">
                  <c:v>-2.881368280729113E-2</c:v>
                </c:pt>
                <c:pt idx="66">
                  <c:v>-3.8060525864971662E-2</c:v>
                </c:pt>
                <c:pt idx="67">
                  <c:v>-4.0133976831696061E-2</c:v>
                </c:pt>
                <c:pt idx="68">
                  <c:v>-6.645676175398596E-2</c:v>
                </c:pt>
                <c:pt idx="69">
                  <c:v>-5.4327172053110218E-2</c:v>
                </c:pt>
                <c:pt idx="70">
                  <c:v>-5.3191007563271664E-2</c:v>
                </c:pt>
                <c:pt idx="71">
                  <c:v>-6.0876362855888266E-2</c:v>
                </c:pt>
                <c:pt idx="72">
                  <c:v>-7.9962744831633015E-2</c:v>
                </c:pt>
                <c:pt idx="73">
                  <c:v>-5.3500154573505099E-2</c:v>
                </c:pt>
                <c:pt idx="74">
                  <c:v>-7.5110908951282696E-2</c:v>
                </c:pt>
                <c:pt idx="75">
                  <c:v>-7.3131974267941824E-2</c:v>
                </c:pt>
                <c:pt idx="76">
                  <c:v>-6.5964489444697127E-2</c:v>
                </c:pt>
                <c:pt idx="77">
                  <c:v>-6.6403596344582816E-2</c:v>
                </c:pt>
                <c:pt idx="78">
                  <c:v>-4.4345858709970876E-2</c:v>
                </c:pt>
                <c:pt idx="79">
                  <c:v>-3.6353325496358169E-2</c:v>
                </c:pt>
                <c:pt idx="80">
                  <c:v>-4.4221806088030058E-2</c:v>
                </c:pt>
                <c:pt idx="81">
                  <c:v>-8.2079515761574795E-2</c:v>
                </c:pt>
                <c:pt idx="82">
                  <c:v>-6.5537197080234533E-2</c:v>
                </c:pt>
                <c:pt idx="83">
                  <c:v>-3.1710213075146321E-2</c:v>
                </c:pt>
                <c:pt idx="84">
                  <c:v>-4.9880968555613969E-2</c:v>
                </c:pt>
                <c:pt idx="85">
                  <c:v>-5.1046669384009813E-2</c:v>
                </c:pt>
                <c:pt idx="86">
                  <c:v>-4.6551238655584526E-2</c:v>
                </c:pt>
                <c:pt idx="87">
                  <c:v>-4.0529763768364147E-2</c:v>
                </c:pt>
                <c:pt idx="88">
                  <c:v>-3.7530840860176995E-2</c:v>
                </c:pt>
                <c:pt idx="89">
                  <c:v>-3.2145381796557571E-2</c:v>
                </c:pt>
                <c:pt idx="90">
                  <c:v>-2.2611051710252461E-2</c:v>
                </c:pt>
                <c:pt idx="91">
                  <c:v>-3.0987557325110382E-2</c:v>
                </c:pt>
                <c:pt idx="92">
                  <c:v>-1.9647572408334035E-2</c:v>
                </c:pt>
                <c:pt idx="93">
                  <c:v>-8.7407871237316082E-3</c:v>
                </c:pt>
                <c:pt idx="94">
                  <c:v>-1.4256206077003175E-2</c:v>
                </c:pt>
                <c:pt idx="95">
                  <c:v>1.8542913346289991E-2</c:v>
                </c:pt>
                <c:pt idx="96">
                  <c:v>1.6599422269217845E-2</c:v>
                </c:pt>
                <c:pt idx="97">
                  <c:v>9.1739867559059718E-3</c:v>
                </c:pt>
                <c:pt idx="98">
                  <c:v>2.6602395593966488E-3</c:v>
                </c:pt>
                <c:pt idx="99">
                  <c:v>-1.1300603132033293E-2</c:v>
                </c:pt>
                <c:pt idx="100">
                  <c:v>-8.7801689084747725E-3</c:v>
                </c:pt>
                <c:pt idx="101">
                  <c:v>-1.9358116290472238E-2</c:v>
                </c:pt>
                <c:pt idx="102">
                  <c:v>0</c:v>
                </c:pt>
              </c:numCache>
            </c:numRef>
          </c:val>
          <c:smooth val="1"/>
          <c:extLst>
            <c:ext xmlns:c16="http://schemas.microsoft.com/office/drawing/2014/chart" uri="{C3380CC4-5D6E-409C-BE32-E72D297353CC}">
              <c16:uniqueId val="{00000000-7AC3-4026-B8CD-1B54049C8678}"/>
            </c:ext>
          </c:extLst>
        </c:ser>
        <c:ser>
          <c:idx val="0"/>
          <c:order val="1"/>
          <c:tx>
            <c:strRef>
              <c:f>Tabelle1!$F$7</c:f>
              <c:strCache>
                <c:ptCount val="1"/>
                <c:pt idx="0">
                  <c:v>MSCI Europe</c:v>
                </c:pt>
              </c:strCache>
            </c:strRef>
          </c:tx>
          <c:spPr>
            <a:ln>
              <a:solidFill>
                <a:schemeClr val="accent5"/>
              </a:solidFill>
            </a:ln>
          </c:spPr>
          <c:marker>
            <c:symbol val="none"/>
          </c:marker>
          <c:cat>
            <c:numRef>
              <c:f>Tabelle1!$B$35:$B$137</c:f>
              <c:numCache>
                <c:formatCode>m/d/yyyy</c:formatCode>
                <c:ptCount val="103"/>
                <c:pt idx="0">
                  <c:v>44952</c:v>
                </c:pt>
                <c:pt idx="1">
                  <c:v>44951</c:v>
                </c:pt>
                <c:pt idx="2">
                  <c:v>44950</c:v>
                </c:pt>
                <c:pt idx="3">
                  <c:v>44949</c:v>
                </c:pt>
                <c:pt idx="4">
                  <c:v>44946</c:v>
                </c:pt>
                <c:pt idx="5">
                  <c:v>44945</c:v>
                </c:pt>
                <c:pt idx="6">
                  <c:v>44944</c:v>
                </c:pt>
                <c:pt idx="7">
                  <c:v>44943</c:v>
                </c:pt>
                <c:pt idx="8">
                  <c:v>44942</c:v>
                </c:pt>
                <c:pt idx="9">
                  <c:v>44939</c:v>
                </c:pt>
                <c:pt idx="10">
                  <c:v>44938</c:v>
                </c:pt>
                <c:pt idx="11">
                  <c:v>44937</c:v>
                </c:pt>
                <c:pt idx="12">
                  <c:v>44936</c:v>
                </c:pt>
                <c:pt idx="13">
                  <c:v>44935</c:v>
                </c:pt>
                <c:pt idx="14">
                  <c:v>44932</c:v>
                </c:pt>
                <c:pt idx="15">
                  <c:v>44931</c:v>
                </c:pt>
                <c:pt idx="16">
                  <c:v>44930</c:v>
                </c:pt>
                <c:pt idx="17">
                  <c:v>44929</c:v>
                </c:pt>
                <c:pt idx="18">
                  <c:v>44928</c:v>
                </c:pt>
                <c:pt idx="19">
                  <c:v>44925</c:v>
                </c:pt>
                <c:pt idx="20">
                  <c:v>44924</c:v>
                </c:pt>
                <c:pt idx="21">
                  <c:v>44923</c:v>
                </c:pt>
                <c:pt idx="22">
                  <c:v>44922</c:v>
                </c:pt>
                <c:pt idx="23">
                  <c:v>44921</c:v>
                </c:pt>
                <c:pt idx="24">
                  <c:v>44918</c:v>
                </c:pt>
                <c:pt idx="25">
                  <c:v>44917</c:v>
                </c:pt>
                <c:pt idx="26">
                  <c:v>44916</c:v>
                </c:pt>
                <c:pt idx="27">
                  <c:v>44915</c:v>
                </c:pt>
                <c:pt idx="28">
                  <c:v>44914</c:v>
                </c:pt>
                <c:pt idx="29">
                  <c:v>44911</c:v>
                </c:pt>
                <c:pt idx="30">
                  <c:v>44910</c:v>
                </c:pt>
                <c:pt idx="31">
                  <c:v>44909</c:v>
                </c:pt>
                <c:pt idx="32">
                  <c:v>44908</c:v>
                </c:pt>
                <c:pt idx="33">
                  <c:v>44907</c:v>
                </c:pt>
                <c:pt idx="34">
                  <c:v>44904</c:v>
                </c:pt>
                <c:pt idx="35">
                  <c:v>44903</c:v>
                </c:pt>
                <c:pt idx="36">
                  <c:v>44902</c:v>
                </c:pt>
                <c:pt idx="37">
                  <c:v>44901</c:v>
                </c:pt>
                <c:pt idx="38">
                  <c:v>44900</c:v>
                </c:pt>
                <c:pt idx="39">
                  <c:v>44897</c:v>
                </c:pt>
                <c:pt idx="40">
                  <c:v>44896</c:v>
                </c:pt>
                <c:pt idx="41">
                  <c:v>44895</c:v>
                </c:pt>
                <c:pt idx="42">
                  <c:v>44894</c:v>
                </c:pt>
                <c:pt idx="43">
                  <c:v>44893</c:v>
                </c:pt>
                <c:pt idx="44">
                  <c:v>44890</c:v>
                </c:pt>
                <c:pt idx="45">
                  <c:v>44888</c:v>
                </c:pt>
                <c:pt idx="46">
                  <c:v>44887</c:v>
                </c:pt>
                <c:pt idx="47">
                  <c:v>44886</c:v>
                </c:pt>
                <c:pt idx="48">
                  <c:v>44883</c:v>
                </c:pt>
                <c:pt idx="49">
                  <c:v>44882</c:v>
                </c:pt>
                <c:pt idx="50">
                  <c:v>44881</c:v>
                </c:pt>
                <c:pt idx="51">
                  <c:v>44880</c:v>
                </c:pt>
                <c:pt idx="52">
                  <c:v>44879</c:v>
                </c:pt>
                <c:pt idx="53">
                  <c:v>44876</c:v>
                </c:pt>
                <c:pt idx="54">
                  <c:v>44875</c:v>
                </c:pt>
                <c:pt idx="55">
                  <c:v>44874</c:v>
                </c:pt>
                <c:pt idx="56">
                  <c:v>44873</c:v>
                </c:pt>
                <c:pt idx="57">
                  <c:v>44872</c:v>
                </c:pt>
                <c:pt idx="58">
                  <c:v>44869</c:v>
                </c:pt>
                <c:pt idx="59">
                  <c:v>44868</c:v>
                </c:pt>
                <c:pt idx="60">
                  <c:v>44867</c:v>
                </c:pt>
                <c:pt idx="61">
                  <c:v>44865</c:v>
                </c:pt>
                <c:pt idx="62">
                  <c:v>44862</c:v>
                </c:pt>
                <c:pt idx="63">
                  <c:v>44861</c:v>
                </c:pt>
                <c:pt idx="64">
                  <c:v>44860</c:v>
                </c:pt>
                <c:pt idx="65">
                  <c:v>44859</c:v>
                </c:pt>
                <c:pt idx="66">
                  <c:v>44858</c:v>
                </c:pt>
                <c:pt idx="67">
                  <c:v>44855</c:v>
                </c:pt>
                <c:pt idx="68">
                  <c:v>44854</c:v>
                </c:pt>
                <c:pt idx="69">
                  <c:v>44853</c:v>
                </c:pt>
                <c:pt idx="70">
                  <c:v>44852</c:v>
                </c:pt>
                <c:pt idx="71">
                  <c:v>44851</c:v>
                </c:pt>
                <c:pt idx="72">
                  <c:v>44848</c:v>
                </c:pt>
                <c:pt idx="73">
                  <c:v>44847</c:v>
                </c:pt>
                <c:pt idx="74">
                  <c:v>44846</c:v>
                </c:pt>
                <c:pt idx="75">
                  <c:v>44845</c:v>
                </c:pt>
                <c:pt idx="76">
                  <c:v>44844</c:v>
                </c:pt>
                <c:pt idx="77">
                  <c:v>44841</c:v>
                </c:pt>
                <c:pt idx="78">
                  <c:v>44840</c:v>
                </c:pt>
                <c:pt idx="79">
                  <c:v>44839</c:v>
                </c:pt>
                <c:pt idx="80">
                  <c:v>44838</c:v>
                </c:pt>
                <c:pt idx="81">
                  <c:v>44834</c:v>
                </c:pt>
                <c:pt idx="82">
                  <c:v>44833</c:v>
                </c:pt>
                <c:pt idx="83">
                  <c:v>44832</c:v>
                </c:pt>
                <c:pt idx="84">
                  <c:v>44831</c:v>
                </c:pt>
                <c:pt idx="85">
                  <c:v>44830</c:v>
                </c:pt>
                <c:pt idx="86">
                  <c:v>44827</c:v>
                </c:pt>
                <c:pt idx="87">
                  <c:v>44826</c:v>
                </c:pt>
                <c:pt idx="88">
                  <c:v>44825</c:v>
                </c:pt>
                <c:pt idx="89">
                  <c:v>44824</c:v>
                </c:pt>
                <c:pt idx="90">
                  <c:v>44823</c:v>
                </c:pt>
                <c:pt idx="91">
                  <c:v>44820</c:v>
                </c:pt>
                <c:pt idx="92">
                  <c:v>44819</c:v>
                </c:pt>
                <c:pt idx="93">
                  <c:v>44818</c:v>
                </c:pt>
                <c:pt idx="94">
                  <c:v>44817</c:v>
                </c:pt>
                <c:pt idx="95">
                  <c:v>44816</c:v>
                </c:pt>
                <c:pt idx="96">
                  <c:v>44813</c:v>
                </c:pt>
                <c:pt idx="97">
                  <c:v>44812</c:v>
                </c:pt>
                <c:pt idx="98">
                  <c:v>44811</c:v>
                </c:pt>
                <c:pt idx="99">
                  <c:v>44810</c:v>
                </c:pt>
                <c:pt idx="100">
                  <c:v>44809</c:v>
                </c:pt>
                <c:pt idx="101">
                  <c:v>44806</c:v>
                </c:pt>
                <c:pt idx="102">
                  <c:v>44805</c:v>
                </c:pt>
              </c:numCache>
            </c:numRef>
          </c:cat>
          <c:val>
            <c:numRef>
              <c:f>Tabelle1!$F$35:$F$137</c:f>
              <c:numCache>
                <c:formatCode>0%</c:formatCode>
                <c:ptCount val="103"/>
                <c:pt idx="0">
                  <c:v>0.11754125283491046</c:v>
                </c:pt>
                <c:pt idx="1">
                  <c:v>0.11327911159771631</c:v>
                </c:pt>
                <c:pt idx="2">
                  <c:v>0.11605536873387035</c:v>
                </c:pt>
                <c:pt idx="3">
                  <c:v>0.11894893250958005</c:v>
                </c:pt>
                <c:pt idx="4">
                  <c:v>0.11312270274497549</c:v>
                </c:pt>
                <c:pt idx="5">
                  <c:v>0.10929068585281931</c:v>
                </c:pt>
                <c:pt idx="6">
                  <c:v>0.12653476186752166</c:v>
                </c:pt>
                <c:pt idx="7">
                  <c:v>0.12360209587862681</c:v>
                </c:pt>
                <c:pt idx="8">
                  <c:v>0.11890983029639468</c:v>
                </c:pt>
                <c:pt idx="9">
                  <c:v>0.11363103151638376</c:v>
                </c:pt>
                <c:pt idx="10">
                  <c:v>0.10807851724407591</c:v>
                </c:pt>
                <c:pt idx="11">
                  <c:v>0.10104011887072795</c:v>
                </c:pt>
                <c:pt idx="12">
                  <c:v>9.701259091264558E-2</c:v>
                </c:pt>
                <c:pt idx="13">
                  <c:v>0.10358176272777042</c:v>
                </c:pt>
                <c:pt idx="14">
                  <c:v>9.4236333776491543E-2</c:v>
                </c:pt>
                <c:pt idx="15">
                  <c:v>8.1919136623132882E-2</c:v>
                </c:pt>
                <c:pt idx="16">
                  <c:v>8.3561429576914037E-2</c:v>
                </c:pt>
                <c:pt idx="17">
                  <c:v>6.8467975287401339E-2</c:v>
                </c:pt>
                <c:pt idx="18">
                  <c:v>5.4743098459372863E-2</c:v>
                </c:pt>
                <c:pt idx="19">
                  <c:v>4.4615625244388779E-2</c:v>
                </c:pt>
                <c:pt idx="20">
                  <c:v>5.8066786580120322E-2</c:v>
                </c:pt>
                <c:pt idx="21">
                  <c:v>5.1067490419957728E-2</c:v>
                </c:pt>
                <c:pt idx="22">
                  <c:v>5.2162352389145017E-2</c:v>
                </c:pt>
                <c:pt idx="23">
                  <c:v>5.0832877140846167E-2</c:v>
                </c:pt>
                <c:pt idx="24">
                  <c:v>5.0832877140846167E-2</c:v>
                </c:pt>
                <c:pt idx="25">
                  <c:v>5.0715570501290275E-2</c:v>
                </c:pt>
                <c:pt idx="26">
                  <c:v>6.0725737076718467E-2</c:v>
                </c:pt>
                <c:pt idx="27">
                  <c:v>4.2777821224681212E-2</c:v>
                </c:pt>
                <c:pt idx="28">
                  <c:v>4.6766246969578429E-2</c:v>
                </c:pt>
                <c:pt idx="29">
                  <c:v>4.4107296472980284E-2</c:v>
                </c:pt>
                <c:pt idx="30">
                  <c:v>5.6580902479080208E-2</c:v>
                </c:pt>
                <c:pt idx="31">
                  <c:v>8.7393446469069991E-2</c:v>
                </c:pt>
                <c:pt idx="32">
                  <c:v>8.7745366387737445E-2</c:v>
                </c:pt>
                <c:pt idx="33">
                  <c:v>7.4294205052005902E-2</c:v>
                </c:pt>
                <c:pt idx="34">
                  <c:v>7.9690310471572712E-2</c:v>
                </c:pt>
                <c:pt idx="35">
                  <c:v>7.0814108078517402E-2</c:v>
                </c:pt>
                <c:pt idx="36">
                  <c:v>7.2651912098224747E-2</c:v>
                </c:pt>
                <c:pt idx="37">
                  <c:v>7.957300383201682E-2</c:v>
                </c:pt>
                <c:pt idx="38">
                  <c:v>8.5672949088918315E-2</c:v>
                </c:pt>
                <c:pt idx="39">
                  <c:v>8.9935090326112466E-2</c:v>
                </c:pt>
                <c:pt idx="40">
                  <c:v>9.1772894345819811E-2</c:v>
                </c:pt>
                <c:pt idx="41">
                  <c:v>8.2622976460467568E-2</c:v>
                </c:pt>
                <c:pt idx="42">
                  <c:v>7.5154453742081628E-2</c:v>
                </c:pt>
                <c:pt idx="43">
                  <c:v>7.5819191366231165E-2</c:v>
                </c:pt>
                <c:pt idx="44">
                  <c:v>8.2505669820911676E-2</c:v>
                </c:pt>
                <c:pt idx="45">
                  <c:v>7.7539688746383062E-2</c:v>
                </c:pt>
                <c:pt idx="46">
                  <c:v>7.1478845702666716E-2</c:v>
                </c:pt>
                <c:pt idx="47">
                  <c:v>6.3501994212872503E-2</c:v>
                </c:pt>
                <c:pt idx="48">
                  <c:v>6.4323140689763081E-2</c:v>
                </c:pt>
                <c:pt idx="49">
                  <c:v>5.2396965668256801E-2</c:v>
                </c:pt>
                <c:pt idx="50">
                  <c:v>5.6463595839524539E-2</c:v>
                </c:pt>
                <c:pt idx="51">
                  <c:v>6.6317353562211467E-2</c:v>
                </c:pt>
                <c:pt idx="52">
                  <c:v>6.2368030030499622E-2</c:v>
                </c:pt>
                <c:pt idx="53">
                  <c:v>6.0647532650347946E-2</c:v>
                </c:pt>
                <c:pt idx="54">
                  <c:v>5.9904590599827889E-2</c:v>
                </c:pt>
                <c:pt idx="55">
                  <c:v>3.2142019238288855E-2</c:v>
                </c:pt>
                <c:pt idx="56">
                  <c:v>3.5152889653554453E-2</c:v>
                </c:pt>
                <c:pt idx="57">
                  <c:v>2.7567060295612844E-2</c:v>
                </c:pt>
                <c:pt idx="58">
                  <c:v>2.4908109799014699E-2</c:v>
                </c:pt>
                <c:pt idx="59">
                  <c:v>6.2954563228279081E-3</c:v>
                </c:pt>
                <c:pt idx="60">
                  <c:v>1.5523578634550672E-2</c:v>
                </c:pt>
                <c:pt idx="61">
                  <c:v>1.2903730351137899E-2</c:v>
                </c:pt>
                <c:pt idx="62">
                  <c:v>9.2672245249081353E-3</c:v>
                </c:pt>
                <c:pt idx="63">
                  <c:v>7.820442637053171E-3</c:v>
                </c:pt>
                <c:pt idx="64">
                  <c:v>8.2896691952765167E-3</c:v>
                </c:pt>
                <c:pt idx="65">
                  <c:v>2.2679283647453197E-3</c:v>
                </c:pt>
                <c:pt idx="66">
                  <c:v>-1.2082583874247321E-2</c:v>
                </c:pt>
                <c:pt idx="67">
                  <c:v>-2.5455540783608455E-2</c:v>
                </c:pt>
                <c:pt idx="68">
                  <c:v>-1.9785719871744711E-2</c:v>
                </c:pt>
                <c:pt idx="69">
                  <c:v>-2.2053648236490253E-2</c:v>
                </c:pt>
                <c:pt idx="70">
                  <c:v>-1.7244076014702459E-2</c:v>
                </c:pt>
                <c:pt idx="71">
                  <c:v>-2.0645968561820549E-2</c:v>
                </c:pt>
                <c:pt idx="72">
                  <c:v>-3.7968249002893639E-2</c:v>
                </c:pt>
                <c:pt idx="73">
                  <c:v>-4.2973332290607735E-2</c:v>
                </c:pt>
                <c:pt idx="74">
                  <c:v>-5.0363650582622932E-2</c:v>
                </c:pt>
                <c:pt idx="75">
                  <c:v>-4.5671385000391029E-2</c:v>
                </c:pt>
                <c:pt idx="76">
                  <c:v>-4.027527958082433E-2</c:v>
                </c:pt>
                <c:pt idx="77">
                  <c:v>-3.6325956049112484E-2</c:v>
                </c:pt>
                <c:pt idx="78">
                  <c:v>-2.5494642996793604E-2</c:v>
                </c:pt>
                <c:pt idx="79">
                  <c:v>-1.8847266755298464E-2</c:v>
                </c:pt>
                <c:pt idx="80">
                  <c:v>-9.3845311644639162E-3</c:v>
                </c:pt>
                <c:pt idx="81">
                  <c:v>-4.6453429264096346E-2</c:v>
                </c:pt>
                <c:pt idx="82">
                  <c:v>-5.771486666145309E-2</c:v>
                </c:pt>
                <c:pt idx="83">
                  <c:v>-4.2347696879643459E-2</c:v>
                </c:pt>
                <c:pt idx="84">
                  <c:v>-4.5593180574020509E-2</c:v>
                </c:pt>
                <c:pt idx="85">
                  <c:v>-4.4928442949870973E-2</c:v>
                </c:pt>
                <c:pt idx="86">
                  <c:v>-4.1252834910455949E-2</c:v>
                </c:pt>
                <c:pt idx="87">
                  <c:v>-1.8573551263001531E-2</c:v>
                </c:pt>
                <c:pt idx="88">
                  <c:v>-1.1730663955580312E-3</c:v>
                </c:pt>
                <c:pt idx="89">
                  <c:v>-9.8928599358724112E-3</c:v>
                </c:pt>
                <c:pt idx="90">
                  <c:v>5.8653319777901558E-4</c:v>
                </c:pt>
                <c:pt idx="91">
                  <c:v>1.4858841010401136E-3</c:v>
                </c:pt>
                <c:pt idx="92">
                  <c:v>1.7244076014702348E-2</c:v>
                </c:pt>
                <c:pt idx="93">
                  <c:v>2.4282474388050312E-2</c:v>
                </c:pt>
                <c:pt idx="94">
                  <c:v>3.284585907562354E-2</c:v>
                </c:pt>
                <c:pt idx="95">
                  <c:v>4.8408539923359584E-2</c:v>
                </c:pt>
                <c:pt idx="96">
                  <c:v>3.04997262845077E-2</c:v>
                </c:pt>
                <c:pt idx="97">
                  <c:v>1.5367169781809631E-2</c:v>
                </c:pt>
                <c:pt idx="98">
                  <c:v>1.0322984280910275E-2</c:v>
                </c:pt>
                <c:pt idx="99">
                  <c:v>1.6462031750996919E-2</c:v>
                </c:pt>
                <c:pt idx="100">
                  <c:v>1.4467818878548533E-2</c:v>
                </c:pt>
                <c:pt idx="101">
                  <c:v>2.0098537577226905E-2</c:v>
                </c:pt>
                <c:pt idx="102">
                  <c:v>0</c:v>
                </c:pt>
              </c:numCache>
            </c:numRef>
          </c:val>
          <c:smooth val="0"/>
          <c:extLst>
            <c:ext xmlns:c16="http://schemas.microsoft.com/office/drawing/2014/chart" uri="{C3380CC4-5D6E-409C-BE32-E72D297353CC}">
              <c16:uniqueId val="{00000001-7AC3-4026-B8CD-1B54049C8678}"/>
            </c:ext>
          </c:extLst>
        </c:ser>
        <c:dLbls>
          <c:showLegendKey val="0"/>
          <c:showVal val="0"/>
          <c:showCatName val="0"/>
          <c:showSerName val="0"/>
          <c:showPercent val="0"/>
          <c:showBubbleSize val="0"/>
        </c:dLbls>
        <c:smooth val="0"/>
        <c:axId val="2115521136"/>
        <c:axId val="2115516544"/>
      </c:lineChart>
      <c:dateAx>
        <c:axId val="2115521136"/>
        <c:scaling>
          <c:orientation val="minMax"/>
        </c:scaling>
        <c:delete val="0"/>
        <c:axPos val="b"/>
        <c:numFmt formatCode="m/d/yyyy" sourceLinked="1"/>
        <c:majorTickMark val="out"/>
        <c:minorTickMark val="none"/>
        <c:tickLblPos val="nextTo"/>
        <c:spPr>
          <a:noFill/>
          <a:ln w="9525" cap="flat" cmpd="sng" algn="ctr">
            <a:solidFill>
              <a:schemeClr val="bg1">
                <a:lumMod val="50000"/>
              </a:schemeClr>
            </a:solidFill>
            <a:round/>
          </a:ln>
          <a:effectLst/>
        </c:spPr>
        <c:txPr>
          <a:bodyPr rot="-60000000" vert="horz"/>
          <a:lstStyle/>
          <a:p>
            <a:pPr>
              <a:defRPr/>
            </a:pPr>
            <a:endParaRPr lang="de-DE"/>
          </a:p>
        </c:txPr>
        <c:crossAx val="2115516544"/>
        <c:crosses val="autoZero"/>
        <c:auto val="1"/>
        <c:lblOffset val="100"/>
        <c:baseTimeUnit val="days"/>
        <c:majorUnit val="2"/>
        <c:majorTimeUnit val="months"/>
        <c:minorUnit val="6"/>
        <c:minorTimeUnit val="months"/>
      </c:dateAx>
      <c:valAx>
        <c:axId val="2115516544"/>
        <c:scaling>
          <c:orientation val="minMax"/>
          <c:min val="-0.2"/>
        </c:scaling>
        <c:delete val="0"/>
        <c:axPos val="l"/>
        <c:numFmt formatCode="0.0%" sourceLinked="0"/>
        <c:majorTickMark val="out"/>
        <c:minorTickMark val="none"/>
        <c:tickLblPos val="nextTo"/>
        <c:spPr>
          <a:noFill/>
          <a:ln>
            <a:solidFill>
              <a:schemeClr val="bg1">
                <a:lumMod val="65000"/>
              </a:schemeClr>
            </a:solidFill>
          </a:ln>
          <a:effectLst/>
        </c:spPr>
        <c:txPr>
          <a:bodyPr rot="-60000000" vert="horz"/>
          <a:lstStyle/>
          <a:p>
            <a:pPr>
              <a:defRPr/>
            </a:pPr>
            <a:endParaRPr lang="de-DE"/>
          </a:p>
        </c:txPr>
        <c:crossAx val="2115521136"/>
        <c:crosses val="autoZero"/>
        <c:crossBetween val="between"/>
      </c:valAx>
    </c:plotArea>
    <c:legend>
      <c:legendPos val="b"/>
      <c:layout>
        <c:manualLayout>
          <c:xMode val="edge"/>
          <c:yMode val="edge"/>
          <c:x val="0.10657304018708463"/>
          <c:y val="0.91179778488408503"/>
          <c:w val="0.74026567817713296"/>
          <c:h val="4.5265276578452786E-2"/>
        </c:manualLayout>
      </c:layout>
      <c:overlay val="0"/>
      <c:spPr>
        <a:noFill/>
        <a:ln>
          <a:noFill/>
        </a:ln>
        <a:effectLst/>
      </c:spPr>
      <c:txPr>
        <a:bodyPr rot="0" vert="horz"/>
        <a:lstStyle/>
        <a:p>
          <a:pPr>
            <a:defRPr/>
          </a:pPr>
          <a:endParaRPr lang="de-DE"/>
        </a:p>
      </c:txPr>
    </c:legend>
    <c:plotVisOnly val="1"/>
    <c:dispBlanksAs val="gap"/>
    <c:showDLblsOverMax val="0"/>
    <c:extLst/>
  </c:chart>
  <c:spPr>
    <a:solidFill>
      <a:schemeClr val="bg1"/>
    </a:solidFill>
    <a:ln w="9525" cap="flat" cmpd="sng" algn="ctr">
      <a:noFill/>
      <a:round/>
    </a:ln>
    <a:effectLst/>
  </c:spPr>
  <c:txPr>
    <a:bodyPr/>
    <a:lstStyle/>
    <a:p>
      <a:pPr>
        <a:defRPr sz="1000">
          <a:latin typeface="Arial" panose="020B0604020202020204" pitchFamily="34" charset="0"/>
          <a:cs typeface="Arial" panose="020B0604020202020204" pitchFamily="34" charset="0"/>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425896610771766E-2"/>
          <c:y val="2.9785676797597298E-2"/>
          <c:w val="0.91608382950426337"/>
          <c:h val="0.87584064922804838"/>
        </c:manualLayout>
      </c:layout>
      <c:lineChart>
        <c:grouping val="standard"/>
        <c:varyColors val="0"/>
        <c:ser>
          <c:idx val="0"/>
          <c:order val="0"/>
          <c:tx>
            <c:strRef>
              <c:f>Tabelle2!$O$23</c:f>
              <c:strCache>
                <c:ptCount val="1"/>
                <c:pt idx="0">
                  <c:v>Ratio Stoxx600 vs. S&amp;P500 NTR Index</c:v>
                </c:pt>
              </c:strCache>
            </c:strRef>
          </c:tx>
          <c:spPr>
            <a:ln w="28575" cap="rnd">
              <a:solidFill>
                <a:schemeClr val="tx2"/>
              </a:solidFill>
              <a:round/>
            </a:ln>
            <a:effectLst/>
          </c:spPr>
          <c:marker>
            <c:symbol val="none"/>
          </c:marker>
          <c:cat>
            <c:numRef>
              <c:f>Tabelle2!$N$24:$N$276</c:f>
              <c:numCache>
                <c:formatCode>dd\.mm\.yyyy</c:formatCode>
                <c:ptCount val="253"/>
                <c:pt idx="0">
                  <c:v>44925</c:v>
                </c:pt>
                <c:pt idx="1">
                  <c:v>44895</c:v>
                </c:pt>
                <c:pt idx="2">
                  <c:v>44865</c:v>
                </c:pt>
                <c:pt idx="3">
                  <c:v>44834</c:v>
                </c:pt>
                <c:pt idx="4">
                  <c:v>44804</c:v>
                </c:pt>
                <c:pt idx="5">
                  <c:v>44771</c:v>
                </c:pt>
                <c:pt idx="6">
                  <c:v>44742</c:v>
                </c:pt>
                <c:pt idx="7">
                  <c:v>44712</c:v>
                </c:pt>
                <c:pt idx="8">
                  <c:v>44680</c:v>
                </c:pt>
                <c:pt idx="9">
                  <c:v>44651</c:v>
                </c:pt>
                <c:pt idx="10">
                  <c:v>44620</c:v>
                </c:pt>
                <c:pt idx="11">
                  <c:v>44592</c:v>
                </c:pt>
                <c:pt idx="12">
                  <c:v>44561</c:v>
                </c:pt>
                <c:pt idx="13">
                  <c:v>44530</c:v>
                </c:pt>
                <c:pt idx="14">
                  <c:v>44498</c:v>
                </c:pt>
                <c:pt idx="15">
                  <c:v>44469</c:v>
                </c:pt>
                <c:pt idx="16">
                  <c:v>44439</c:v>
                </c:pt>
                <c:pt idx="17">
                  <c:v>44407</c:v>
                </c:pt>
                <c:pt idx="18">
                  <c:v>44377</c:v>
                </c:pt>
                <c:pt idx="19">
                  <c:v>44347</c:v>
                </c:pt>
                <c:pt idx="20">
                  <c:v>44316</c:v>
                </c:pt>
                <c:pt idx="21">
                  <c:v>44286</c:v>
                </c:pt>
                <c:pt idx="22">
                  <c:v>44253</c:v>
                </c:pt>
                <c:pt idx="23">
                  <c:v>44225</c:v>
                </c:pt>
                <c:pt idx="24">
                  <c:v>44196</c:v>
                </c:pt>
                <c:pt idx="25">
                  <c:v>44165</c:v>
                </c:pt>
                <c:pt idx="26">
                  <c:v>44134</c:v>
                </c:pt>
                <c:pt idx="27">
                  <c:v>44104</c:v>
                </c:pt>
                <c:pt idx="28">
                  <c:v>44074</c:v>
                </c:pt>
                <c:pt idx="29">
                  <c:v>44043</c:v>
                </c:pt>
                <c:pt idx="30">
                  <c:v>44012</c:v>
                </c:pt>
                <c:pt idx="31">
                  <c:v>43980</c:v>
                </c:pt>
                <c:pt idx="32">
                  <c:v>43951</c:v>
                </c:pt>
                <c:pt idx="33">
                  <c:v>43921</c:v>
                </c:pt>
                <c:pt idx="34">
                  <c:v>43889</c:v>
                </c:pt>
                <c:pt idx="35">
                  <c:v>43861</c:v>
                </c:pt>
                <c:pt idx="36">
                  <c:v>43830</c:v>
                </c:pt>
                <c:pt idx="37">
                  <c:v>43798</c:v>
                </c:pt>
                <c:pt idx="38">
                  <c:v>43769</c:v>
                </c:pt>
                <c:pt idx="39">
                  <c:v>43738</c:v>
                </c:pt>
                <c:pt idx="40">
                  <c:v>43707</c:v>
                </c:pt>
                <c:pt idx="41">
                  <c:v>43677</c:v>
                </c:pt>
                <c:pt idx="42">
                  <c:v>43644</c:v>
                </c:pt>
                <c:pt idx="43">
                  <c:v>43616</c:v>
                </c:pt>
                <c:pt idx="44">
                  <c:v>43585</c:v>
                </c:pt>
                <c:pt idx="45">
                  <c:v>43553</c:v>
                </c:pt>
                <c:pt idx="46">
                  <c:v>43524</c:v>
                </c:pt>
                <c:pt idx="47">
                  <c:v>43496</c:v>
                </c:pt>
                <c:pt idx="48">
                  <c:v>43465</c:v>
                </c:pt>
                <c:pt idx="49">
                  <c:v>43434</c:v>
                </c:pt>
                <c:pt idx="50">
                  <c:v>43404</c:v>
                </c:pt>
                <c:pt idx="51">
                  <c:v>43371</c:v>
                </c:pt>
                <c:pt idx="52">
                  <c:v>43343</c:v>
                </c:pt>
                <c:pt idx="53">
                  <c:v>43312</c:v>
                </c:pt>
                <c:pt idx="54">
                  <c:v>43280</c:v>
                </c:pt>
                <c:pt idx="55">
                  <c:v>43251</c:v>
                </c:pt>
                <c:pt idx="56">
                  <c:v>43220</c:v>
                </c:pt>
                <c:pt idx="57">
                  <c:v>43189</c:v>
                </c:pt>
                <c:pt idx="58">
                  <c:v>43159</c:v>
                </c:pt>
                <c:pt idx="59">
                  <c:v>43131</c:v>
                </c:pt>
                <c:pt idx="60">
                  <c:v>43098</c:v>
                </c:pt>
                <c:pt idx="61">
                  <c:v>43069</c:v>
                </c:pt>
                <c:pt idx="62">
                  <c:v>43039</c:v>
                </c:pt>
                <c:pt idx="63">
                  <c:v>43007</c:v>
                </c:pt>
                <c:pt idx="64">
                  <c:v>42978</c:v>
                </c:pt>
                <c:pt idx="65">
                  <c:v>42947</c:v>
                </c:pt>
                <c:pt idx="66">
                  <c:v>42916</c:v>
                </c:pt>
                <c:pt idx="67">
                  <c:v>42886</c:v>
                </c:pt>
                <c:pt idx="68">
                  <c:v>42853</c:v>
                </c:pt>
                <c:pt idx="69">
                  <c:v>42825</c:v>
                </c:pt>
                <c:pt idx="70">
                  <c:v>42794</c:v>
                </c:pt>
                <c:pt idx="71">
                  <c:v>42766</c:v>
                </c:pt>
                <c:pt idx="72">
                  <c:v>42734</c:v>
                </c:pt>
                <c:pt idx="73">
                  <c:v>42704</c:v>
                </c:pt>
                <c:pt idx="74">
                  <c:v>42674</c:v>
                </c:pt>
                <c:pt idx="75">
                  <c:v>42643</c:v>
                </c:pt>
                <c:pt idx="76">
                  <c:v>42613</c:v>
                </c:pt>
                <c:pt idx="77">
                  <c:v>42580</c:v>
                </c:pt>
                <c:pt idx="78">
                  <c:v>42551</c:v>
                </c:pt>
                <c:pt idx="79">
                  <c:v>42521</c:v>
                </c:pt>
                <c:pt idx="80">
                  <c:v>42489</c:v>
                </c:pt>
                <c:pt idx="81">
                  <c:v>42460</c:v>
                </c:pt>
                <c:pt idx="82">
                  <c:v>42429</c:v>
                </c:pt>
                <c:pt idx="83">
                  <c:v>42398</c:v>
                </c:pt>
                <c:pt idx="84">
                  <c:v>42369</c:v>
                </c:pt>
                <c:pt idx="85">
                  <c:v>42338</c:v>
                </c:pt>
                <c:pt idx="86">
                  <c:v>42307</c:v>
                </c:pt>
                <c:pt idx="87">
                  <c:v>42277</c:v>
                </c:pt>
                <c:pt idx="88">
                  <c:v>42247</c:v>
                </c:pt>
                <c:pt idx="89">
                  <c:v>42216</c:v>
                </c:pt>
                <c:pt idx="90">
                  <c:v>42185</c:v>
                </c:pt>
                <c:pt idx="91">
                  <c:v>42153</c:v>
                </c:pt>
                <c:pt idx="92">
                  <c:v>42124</c:v>
                </c:pt>
                <c:pt idx="93">
                  <c:v>42094</c:v>
                </c:pt>
                <c:pt idx="94">
                  <c:v>42062</c:v>
                </c:pt>
                <c:pt idx="95">
                  <c:v>42034</c:v>
                </c:pt>
                <c:pt idx="96">
                  <c:v>42004</c:v>
                </c:pt>
                <c:pt idx="97">
                  <c:v>41971</c:v>
                </c:pt>
                <c:pt idx="98">
                  <c:v>41943</c:v>
                </c:pt>
                <c:pt idx="99">
                  <c:v>41912</c:v>
                </c:pt>
                <c:pt idx="100">
                  <c:v>41880</c:v>
                </c:pt>
                <c:pt idx="101">
                  <c:v>41851</c:v>
                </c:pt>
                <c:pt idx="102">
                  <c:v>41820</c:v>
                </c:pt>
                <c:pt idx="103">
                  <c:v>41789</c:v>
                </c:pt>
                <c:pt idx="104">
                  <c:v>41759</c:v>
                </c:pt>
                <c:pt idx="105">
                  <c:v>41729</c:v>
                </c:pt>
                <c:pt idx="106">
                  <c:v>41698</c:v>
                </c:pt>
                <c:pt idx="107">
                  <c:v>41670</c:v>
                </c:pt>
                <c:pt idx="108">
                  <c:v>41639</c:v>
                </c:pt>
                <c:pt idx="109">
                  <c:v>41607</c:v>
                </c:pt>
                <c:pt idx="110">
                  <c:v>41578</c:v>
                </c:pt>
                <c:pt idx="111">
                  <c:v>41547</c:v>
                </c:pt>
                <c:pt idx="112">
                  <c:v>41516</c:v>
                </c:pt>
                <c:pt idx="113">
                  <c:v>41486</c:v>
                </c:pt>
                <c:pt idx="114">
                  <c:v>41453</c:v>
                </c:pt>
                <c:pt idx="115">
                  <c:v>41425</c:v>
                </c:pt>
                <c:pt idx="116">
                  <c:v>41394</c:v>
                </c:pt>
                <c:pt idx="117">
                  <c:v>41362</c:v>
                </c:pt>
                <c:pt idx="118">
                  <c:v>41333</c:v>
                </c:pt>
                <c:pt idx="119">
                  <c:v>41305</c:v>
                </c:pt>
                <c:pt idx="120">
                  <c:v>41274</c:v>
                </c:pt>
                <c:pt idx="121">
                  <c:v>41243</c:v>
                </c:pt>
                <c:pt idx="122">
                  <c:v>41213</c:v>
                </c:pt>
                <c:pt idx="123">
                  <c:v>41180</c:v>
                </c:pt>
                <c:pt idx="124">
                  <c:v>41152</c:v>
                </c:pt>
                <c:pt idx="125">
                  <c:v>41121</c:v>
                </c:pt>
                <c:pt idx="126">
                  <c:v>41089</c:v>
                </c:pt>
                <c:pt idx="127">
                  <c:v>41060</c:v>
                </c:pt>
                <c:pt idx="128">
                  <c:v>41029</c:v>
                </c:pt>
                <c:pt idx="129">
                  <c:v>40998</c:v>
                </c:pt>
                <c:pt idx="130">
                  <c:v>40968</c:v>
                </c:pt>
                <c:pt idx="131">
                  <c:v>40939</c:v>
                </c:pt>
                <c:pt idx="132">
                  <c:v>40907</c:v>
                </c:pt>
                <c:pt idx="133">
                  <c:v>40877</c:v>
                </c:pt>
                <c:pt idx="134">
                  <c:v>40847</c:v>
                </c:pt>
                <c:pt idx="135">
                  <c:v>40816</c:v>
                </c:pt>
                <c:pt idx="136">
                  <c:v>40786</c:v>
                </c:pt>
                <c:pt idx="137">
                  <c:v>40753</c:v>
                </c:pt>
                <c:pt idx="138">
                  <c:v>40724</c:v>
                </c:pt>
                <c:pt idx="139">
                  <c:v>40694</c:v>
                </c:pt>
                <c:pt idx="140">
                  <c:v>40662</c:v>
                </c:pt>
                <c:pt idx="141">
                  <c:v>40633</c:v>
                </c:pt>
                <c:pt idx="142">
                  <c:v>40602</c:v>
                </c:pt>
                <c:pt idx="143">
                  <c:v>40574</c:v>
                </c:pt>
                <c:pt idx="144">
                  <c:v>40543</c:v>
                </c:pt>
                <c:pt idx="145">
                  <c:v>40512</c:v>
                </c:pt>
                <c:pt idx="146">
                  <c:v>40480</c:v>
                </c:pt>
                <c:pt idx="147">
                  <c:v>40451</c:v>
                </c:pt>
                <c:pt idx="148">
                  <c:v>40421</c:v>
                </c:pt>
                <c:pt idx="149">
                  <c:v>40389</c:v>
                </c:pt>
                <c:pt idx="150">
                  <c:v>40359</c:v>
                </c:pt>
                <c:pt idx="151">
                  <c:v>40329</c:v>
                </c:pt>
                <c:pt idx="152">
                  <c:v>40298</c:v>
                </c:pt>
                <c:pt idx="153">
                  <c:v>40268</c:v>
                </c:pt>
                <c:pt idx="154">
                  <c:v>40235</c:v>
                </c:pt>
                <c:pt idx="155">
                  <c:v>40207</c:v>
                </c:pt>
                <c:pt idx="156">
                  <c:v>40178</c:v>
                </c:pt>
                <c:pt idx="157">
                  <c:v>40147</c:v>
                </c:pt>
                <c:pt idx="158">
                  <c:v>40116</c:v>
                </c:pt>
                <c:pt idx="159">
                  <c:v>40086</c:v>
                </c:pt>
                <c:pt idx="160">
                  <c:v>40056</c:v>
                </c:pt>
                <c:pt idx="161">
                  <c:v>40025</c:v>
                </c:pt>
                <c:pt idx="162">
                  <c:v>39994</c:v>
                </c:pt>
                <c:pt idx="163">
                  <c:v>39962</c:v>
                </c:pt>
                <c:pt idx="164">
                  <c:v>39933</c:v>
                </c:pt>
                <c:pt idx="165">
                  <c:v>39903</c:v>
                </c:pt>
                <c:pt idx="166">
                  <c:v>39871</c:v>
                </c:pt>
                <c:pt idx="167">
                  <c:v>39843</c:v>
                </c:pt>
                <c:pt idx="168">
                  <c:v>39813</c:v>
                </c:pt>
                <c:pt idx="169">
                  <c:v>39780</c:v>
                </c:pt>
                <c:pt idx="170">
                  <c:v>39752</c:v>
                </c:pt>
                <c:pt idx="171">
                  <c:v>39721</c:v>
                </c:pt>
                <c:pt idx="172">
                  <c:v>39689</c:v>
                </c:pt>
                <c:pt idx="173">
                  <c:v>39660</c:v>
                </c:pt>
                <c:pt idx="174">
                  <c:v>39629</c:v>
                </c:pt>
                <c:pt idx="175">
                  <c:v>39598</c:v>
                </c:pt>
                <c:pt idx="176">
                  <c:v>39568</c:v>
                </c:pt>
                <c:pt idx="177">
                  <c:v>39538</c:v>
                </c:pt>
                <c:pt idx="178">
                  <c:v>39507</c:v>
                </c:pt>
                <c:pt idx="179">
                  <c:v>39478</c:v>
                </c:pt>
                <c:pt idx="180">
                  <c:v>39447</c:v>
                </c:pt>
                <c:pt idx="181">
                  <c:v>39416</c:v>
                </c:pt>
                <c:pt idx="182">
                  <c:v>39386</c:v>
                </c:pt>
                <c:pt idx="183">
                  <c:v>39353</c:v>
                </c:pt>
                <c:pt idx="184">
                  <c:v>39325</c:v>
                </c:pt>
                <c:pt idx="185">
                  <c:v>39294</c:v>
                </c:pt>
                <c:pt idx="186">
                  <c:v>39262</c:v>
                </c:pt>
                <c:pt idx="187">
                  <c:v>39233</c:v>
                </c:pt>
                <c:pt idx="188">
                  <c:v>39202</c:v>
                </c:pt>
                <c:pt idx="189">
                  <c:v>39171</c:v>
                </c:pt>
                <c:pt idx="190">
                  <c:v>39141</c:v>
                </c:pt>
                <c:pt idx="191">
                  <c:v>39113</c:v>
                </c:pt>
                <c:pt idx="192">
                  <c:v>39080</c:v>
                </c:pt>
                <c:pt idx="193">
                  <c:v>39051</c:v>
                </c:pt>
                <c:pt idx="194">
                  <c:v>39021</c:v>
                </c:pt>
                <c:pt idx="195">
                  <c:v>38989</c:v>
                </c:pt>
                <c:pt idx="196">
                  <c:v>38960</c:v>
                </c:pt>
                <c:pt idx="197">
                  <c:v>38929</c:v>
                </c:pt>
                <c:pt idx="198">
                  <c:v>38898</c:v>
                </c:pt>
                <c:pt idx="199">
                  <c:v>38868</c:v>
                </c:pt>
                <c:pt idx="200">
                  <c:v>38835</c:v>
                </c:pt>
                <c:pt idx="201">
                  <c:v>38807</c:v>
                </c:pt>
                <c:pt idx="202">
                  <c:v>38776</c:v>
                </c:pt>
                <c:pt idx="203">
                  <c:v>38748</c:v>
                </c:pt>
                <c:pt idx="204">
                  <c:v>38716</c:v>
                </c:pt>
                <c:pt idx="205">
                  <c:v>38686</c:v>
                </c:pt>
                <c:pt idx="206">
                  <c:v>38656</c:v>
                </c:pt>
                <c:pt idx="207">
                  <c:v>38625</c:v>
                </c:pt>
                <c:pt idx="208">
                  <c:v>38595</c:v>
                </c:pt>
                <c:pt idx="209">
                  <c:v>38562</c:v>
                </c:pt>
                <c:pt idx="210">
                  <c:v>38533</c:v>
                </c:pt>
                <c:pt idx="211">
                  <c:v>38503</c:v>
                </c:pt>
                <c:pt idx="212">
                  <c:v>38471</c:v>
                </c:pt>
                <c:pt idx="213">
                  <c:v>38442</c:v>
                </c:pt>
                <c:pt idx="214">
                  <c:v>38411</c:v>
                </c:pt>
                <c:pt idx="215">
                  <c:v>38383</c:v>
                </c:pt>
                <c:pt idx="216">
                  <c:v>38352</c:v>
                </c:pt>
                <c:pt idx="217">
                  <c:v>38321</c:v>
                </c:pt>
                <c:pt idx="218">
                  <c:v>38289</c:v>
                </c:pt>
                <c:pt idx="219">
                  <c:v>38260</c:v>
                </c:pt>
                <c:pt idx="220">
                  <c:v>38230</c:v>
                </c:pt>
                <c:pt idx="221">
                  <c:v>38198</c:v>
                </c:pt>
                <c:pt idx="222">
                  <c:v>38168</c:v>
                </c:pt>
                <c:pt idx="223">
                  <c:v>38138</c:v>
                </c:pt>
                <c:pt idx="224">
                  <c:v>38107</c:v>
                </c:pt>
                <c:pt idx="225">
                  <c:v>38077</c:v>
                </c:pt>
                <c:pt idx="226">
                  <c:v>38044</c:v>
                </c:pt>
                <c:pt idx="227">
                  <c:v>38016</c:v>
                </c:pt>
                <c:pt idx="228">
                  <c:v>37986</c:v>
                </c:pt>
                <c:pt idx="229">
                  <c:v>37953</c:v>
                </c:pt>
                <c:pt idx="230">
                  <c:v>37925</c:v>
                </c:pt>
                <c:pt idx="231">
                  <c:v>37894</c:v>
                </c:pt>
                <c:pt idx="232">
                  <c:v>37862</c:v>
                </c:pt>
                <c:pt idx="233">
                  <c:v>37833</c:v>
                </c:pt>
                <c:pt idx="234">
                  <c:v>37802</c:v>
                </c:pt>
                <c:pt idx="235">
                  <c:v>37771</c:v>
                </c:pt>
                <c:pt idx="236">
                  <c:v>37741</c:v>
                </c:pt>
                <c:pt idx="237">
                  <c:v>37711</c:v>
                </c:pt>
                <c:pt idx="238">
                  <c:v>37680</c:v>
                </c:pt>
                <c:pt idx="239">
                  <c:v>37652</c:v>
                </c:pt>
                <c:pt idx="240">
                  <c:v>37621</c:v>
                </c:pt>
                <c:pt idx="241">
                  <c:v>37589</c:v>
                </c:pt>
                <c:pt idx="242">
                  <c:v>37560</c:v>
                </c:pt>
                <c:pt idx="243">
                  <c:v>37529</c:v>
                </c:pt>
                <c:pt idx="244">
                  <c:v>37498</c:v>
                </c:pt>
                <c:pt idx="245">
                  <c:v>37468</c:v>
                </c:pt>
                <c:pt idx="246">
                  <c:v>37435</c:v>
                </c:pt>
                <c:pt idx="247">
                  <c:v>37407</c:v>
                </c:pt>
                <c:pt idx="248">
                  <c:v>37376</c:v>
                </c:pt>
                <c:pt idx="249">
                  <c:v>37344</c:v>
                </c:pt>
                <c:pt idx="250">
                  <c:v>37315</c:v>
                </c:pt>
                <c:pt idx="251">
                  <c:v>37287</c:v>
                </c:pt>
                <c:pt idx="252">
                  <c:v>37256</c:v>
                </c:pt>
              </c:numCache>
            </c:numRef>
          </c:cat>
          <c:val>
            <c:numRef>
              <c:f>Tabelle2!$O$24:$O$276</c:f>
              <c:numCache>
                <c:formatCode>0%</c:formatCode>
                <c:ptCount val="253"/>
                <c:pt idx="0">
                  <c:v>-0.32085808056706999</c:v>
                </c:pt>
                <c:pt idx="1">
                  <c:v>-0.36238382334991914</c:v>
                </c:pt>
                <c:pt idx="2">
                  <c:v>-0.3966706787391352</c:v>
                </c:pt>
                <c:pt idx="3">
                  <c:v>-0.39294976205178744</c:v>
                </c:pt>
                <c:pt idx="4">
                  <c:v>-0.39507596982621063</c:v>
                </c:pt>
                <c:pt idx="5">
                  <c:v>-0.38050692343102988</c:v>
                </c:pt>
                <c:pt idx="6">
                  <c:v>-0.3545614065547239</c:v>
                </c:pt>
                <c:pt idx="7">
                  <c:v>-0.34120957362980842</c:v>
                </c:pt>
                <c:pt idx="8">
                  <c:v>-0.34560088843326831</c:v>
                </c:pt>
                <c:pt idx="9">
                  <c:v>-0.36808697602960572</c:v>
                </c:pt>
                <c:pt idx="10">
                  <c:v>-0.34415391353854863</c:v>
                </c:pt>
                <c:pt idx="11">
                  <c:v>-0.34191285352531764</c:v>
                </c:pt>
                <c:pt idx="12">
                  <c:v>-0.34164282931913303</c:v>
                </c:pt>
                <c:pt idx="13">
                  <c:v>-0.352045932952472</c:v>
                </c:pt>
                <c:pt idx="14">
                  <c:v>-0.3268371867892409</c:v>
                </c:pt>
                <c:pt idx="15">
                  <c:v>-0.31008686438596111</c:v>
                </c:pt>
                <c:pt idx="16">
                  <c:v>-0.3061541354400461</c:v>
                </c:pt>
                <c:pt idx="17">
                  <c:v>-0.29748852281946425</c:v>
                </c:pt>
                <c:pt idx="18">
                  <c:v>-0.29610101091482399</c:v>
                </c:pt>
                <c:pt idx="19">
                  <c:v>-0.26944515641068567</c:v>
                </c:pt>
                <c:pt idx="20">
                  <c:v>-0.29344018299583541</c:v>
                </c:pt>
                <c:pt idx="21">
                  <c:v>-0.28880621518110805</c:v>
                </c:pt>
                <c:pt idx="22">
                  <c:v>-0.2831587858724951</c:v>
                </c:pt>
                <c:pt idx="23">
                  <c:v>-0.27813766328185052</c:v>
                </c:pt>
                <c:pt idx="24">
                  <c:v>-0.27474150343786408</c:v>
                </c:pt>
                <c:pt idx="25">
                  <c:v>-0.282355494413147</c:v>
                </c:pt>
                <c:pt idx="26">
                  <c:v>-0.31897475062975722</c:v>
                </c:pt>
                <c:pt idx="27">
                  <c:v>-0.29708818346828569</c:v>
                </c:pt>
                <c:pt idx="28">
                  <c:v>-0.30143298887148851</c:v>
                </c:pt>
                <c:pt idx="29">
                  <c:v>-0.28308380301726643</c:v>
                </c:pt>
                <c:pt idx="30">
                  <c:v>-0.2711723486635188</c:v>
                </c:pt>
                <c:pt idx="31">
                  <c:v>-0.28833748809226367</c:v>
                </c:pt>
                <c:pt idx="32">
                  <c:v>-0.289930120765716</c:v>
                </c:pt>
                <c:pt idx="33">
                  <c:v>-0.24573777252671458</c:v>
                </c:pt>
                <c:pt idx="34">
                  <c:v>-0.22496689598117725</c:v>
                </c:pt>
                <c:pt idx="35">
                  <c:v>-0.21872566668341287</c:v>
                </c:pt>
                <c:pt idx="36">
                  <c:v>-0.19962014295228125</c:v>
                </c:pt>
                <c:pt idx="37">
                  <c:v>-0.20837077059140086</c:v>
                </c:pt>
                <c:pt idx="38">
                  <c:v>-0.19331250627951713</c:v>
                </c:pt>
                <c:pt idx="39">
                  <c:v>-0.20241624469879282</c:v>
                </c:pt>
                <c:pt idx="40">
                  <c:v>-0.21070622617576051</c:v>
                </c:pt>
                <c:pt idx="41">
                  <c:v>-0.20309466842642743</c:v>
                </c:pt>
                <c:pt idx="42">
                  <c:v>-0.17773766768816457</c:v>
                </c:pt>
                <c:pt idx="43">
                  <c:v>-0.17239770192574799</c:v>
                </c:pt>
                <c:pt idx="44">
                  <c:v>-0.18131094475770992</c:v>
                </c:pt>
                <c:pt idx="45">
                  <c:v>-0.17902248952297051</c:v>
                </c:pt>
                <c:pt idx="46">
                  <c:v>-0.16856254952149807</c:v>
                </c:pt>
                <c:pt idx="47">
                  <c:v>-0.17171582888348691</c:v>
                </c:pt>
                <c:pt idx="48">
                  <c:v>-0.15875120005002785</c:v>
                </c:pt>
                <c:pt idx="49">
                  <c:v>-0.20062117128802404</c:v>
                </c:pt>
                <c:pt idx="50">
                  <c:v>-0.17745584652994106</c:v>
                </c:pt>
                <c:pt idx="51">
                  <c:v>-0.16700557674763372</c:v>
                </c:pt>
                <c:pt idx="52">
                  <c:v>-0.16667888051631197</c:v>
                </c:pt>
                <c:pt idx="53">
                  <c:v>-0.11296954958525196</c:v>
                </c:pt>
                <c:pt idx="54">
                  <c:v>-0.11038256842726446</c:v>
                </c:pt>
                <c:pt idx="55">
                  <c:v>-0.10008307744889222</c:v>
                </c:pt>
                <c:pt idx="56">
                  <c:v>-4.6421314300928329E-2</c:v>
                </c:pt>
                <c:pt idx="57">
                  <c:v>-6.9823192848218363E-2</c:v>
                </c:pt>
                <c:pt idx="58">
                  <c:v>-8.1659782022957761E-2</c:v>
                </c:pt>
                <c:pt idx="59">
                  <c:v>-6.5563849884074488E-2</c:v>
                </c:pt>
                <c:pt idx="60">
                  <c:v>-5.9251426254431139E-2</c:v>
                </c:pt>
                <c:pt idx="61">
                  <c:v>-6.6253046749528921E-2</c:v>
                </c:pt>
                <c:pt idx="62">
                  <c:v>-3.8574626317516736E-2</c:v>
                </c:pt>
                <c:pt idx="63">
                  <c:v>-2.2072703774765889E-2</c:v>
                </c:pt>
                <c:pt idx="64">
                  <c:v>-3.3368870240031656E-2</c:v>
                </c:pt>
                <c:pt idx="65">
                  <c:v>-2.9169422592252747E-2</c:v>
                </c:pt>
                <c:pt idx="66">
                  <c:v>-3.9556873397482373E-2</c:v>
                </c:pt>
                <c:pt idx="67">
                  <c:v>-2.4228887436421598E-2</c:v>
                </c:pt>
                <c:pt idx="68">
                  <c:v>-5.4544234639955502E-2</c:v>
                </c:pt>
                <c:pt idx="69">
                  <c:v>-8.1201872140106768E-2</c:v>
                </c:pt>
                <c:pt idx="70">
                  <c:v>-0.11750453436139729</c:v>
                </c:pt>
                <c:pt idx="71">
                  <c:v>-9.5521392022388185E-2</c:v>
                </c:pt>
                <c:pt idx="72">
                  <c:v>-9.6110206961267708E-2</c:v>
                </c:pt>
                <c:pt idx="73">
                  <c:v>-0.12448635995221913</c:v>
                </c:pt>
                <c:pt idx="74">
                  <c:v>-7.1439930166862564E-2</c:v>
                </c:pt>
                <c:pt idx="75">
                  <c:v>-5.693027991145716E-2</c:v>
                </c:pt>
                <c:pt idx="76">
                  <c:v>-6.2025168674789799E-2</c:v>
                </c:pt>
                <c:pt idx="77">
                  <c:v>-6.8430194953651435E-2</c:v>
                </c:pt>
                <c:pt idx="78">
                  <c:v>-7.6146446427191039E-2</c:v>
                </c:pt>
                <c:pt idx="79">
                  <c:v>-2.1396026324622675E-2</c:v>
                </c:pt>
                <c:pt idx="80">
                  <c:v>-2.6004355961520842E-3</c:v>
                </c:pt>
                <c:pt idx="81">
                  <c:v>-2.1383295892722032E-2</c:v>
                </c:pt>
                <c:pt idx="82">
                  <c:v>-1.5755430168929441E-2</c:v>
                </c:pt>
                <c:pt idx="83">
                  <c:v>1.3056845767807079E-3</c:v>
                </c:pt>
                <c:pt idx="84">
                  <c:v>1.8144343256161433E-2</c:v>
                </c:pt>
                <c:pt idx="85">
                  <c:v>2.488287704646952E-2</c:v>
                </c:pt>
                <c:pt idx="86">
                  <c:v>4.2382533722356897E-2</c:v>
                </c:pt>
                <c:pt idx="87">
                  <c:v>6.0955018847631992E-2</c:v>
                </c:pt>
                <c:pt idx="88">
                  <c:v>8.0062924676116864E-2</c:v>
                </c:pt>
                <c:pt idx="89">
                  <c:v>8.5288888303391541E-2</c:v>
                </c:pt>
                <c:pt idx="90">
                  <c:v>7.9405063129654785E-2</c:v>
                </c:pt>
                <c:pt idx="91">
                  <c:v>8.9801344011445794E-2</c:v>
                </c:pt>
                <c:pt idx="92">
                  <c:v>0.1087564115633548</c:v>
                </c:pt>
                <c:pt idx="93">
                  <c:v>6.9473411674109364E-2</c:v>
                </c:pt>
                <c:pt idx="94">
                  <c:v>7.9749929102425954E-2</c:v>
                </c:pt>
                <c:pt idx="95">
                  <c:v>7.5349945956858955E-2</c:v>
                </c:pt>
                <c:pt idx="96">
                  <c:v>4.2166649134763645E-2</c:v>
                </c:pt>
                <c:pt idx="97">
                  <c:v>8.1610349341747268E-2</c:v>
                </c:pt>
                <c:pt idx="98">
                  <c:v>8.3139483261713165E-2</c:v>
                </c:pt>
                <c:pt idx="99">
                  <c:v>0.13764526084118667</c:v>
                </c:pt>
                <c:pt idx="100">
                  <c:v>0.16226940380270216</c:v>
                </c:pt>
                <c:pt idx="101">
                  <c:v>0.20547547566285762</c:v>
                </c:pt>
                <c:pt idx="102">
                  <c:v>0.2356727855098093</c:v>
                </c:pt>
                <c:pt idx="103">
                  <c:v>0.26269539919336671</c:v>
                </c:pt>
                <c:pt idx="104">
                  <c:v>0.27942980762902803</c:v>
                </c:pt>
                <c:pt idx="105">
                  <c:v>0.25997631298295354</c:v>
                </c:pt>
                <c:pt idx="106">
                  <c:v>0.28346223214569788</c:v>
                </c:pt>
                <c:pt idx="107">
                  <c:v>0.24931592869919439</c:v>
                </c:pt>
                <c:pt idx="108">
                  <c:v>0.25183693677765651</c:v>
                </c:pt>
                <c:pt idx="109">
                  <c:v>0.25106880329583925</c:v>
                </c:pt>
                <c:pt idx="110">
                  <c:v>0.27640289981122557</c:v>
                </c:pt>
                <c:pt idx="111">
                  <c:v>0.27764218930031292</c:v>
                </c:pt>
                <c:pt idx="112">
                  <c:v>0.22970352834587415</c:v>
                </c:pt>
                <c:pt idx="113">
                  <c:v>0.20594097645280152</c:v>
                </c:pt>
                <c:pt idx="114">
                  <c:v>0.17952394565921637</c:v>
                </c:pt>
                <c:pt idx="115">
                  <c:v>0.22202950003019173</c:v>
                </c:pt>
                <c:pt idx="116">
                  <c:v>0.24232348249224911</c:v>
                </c:pt>
                <c:pt idx="117">
                  <c:v>0.21336692345952435</c:v>
                </c:pt>
                <c:pt idx="118">
                  <c:v>0.26319818353510183</c:v>
                </c:pt>
                <c:pt idx="119">
                  <c:v>0.31334034722052673</c:v>
                </c:pt>
                <c:pt idx="120">
                  <c:v>0.30479744976351864</c:v>
                </c:pt>
                <c:pt idx="121">
                  <c:v>0.27752139587923419</c:v>
                </c:pt>
                <c:pt idx="122">
                  <c:v>0.25314839554203794</c:v>
                </c:pt>
                <c:pt idx="123">
                  <c:v>0.21109223337809491</c:v>
                </c:pt>
                <c:pt idx="124">
                  <c:v>0.20047749549628757</c:v>
                </c:pt>
                <c:pt idx="125">
                  <c:v>0.17568591608840123</c:v>
                </c:pt>
                <c:pt idx="126">
                  <c:v>0.17600286137323606</c:v>
                </c:pt>
                <c:pt idx="127">
                  <c:v>0.13857721875894091</c:v>
                </c:pt>
                <c:pt idx="128">
                  <c:v>0.21751664902614598</c:v>
                </c:pt>
                <c:pt idx="129">
                  <c:v>0.23929948522338984</c:v>
                </c:pt>
                <c:pt idx="130">
                  <c:v>0.2828790402089274</c:v>
                </c:pt>
                <c:pt idx="131">
                  <c:v>0.25655063243893172</c:v>
                </c:pt>
                <c:pt idx="132">
                  <c:v>0.24924491746435429</c:v>
                </c:pt>
                <c:pt idx="133">
                  <c:v>0.28428881254282423</c:v>
                </c:pt>
                <c:pt idx="134">
                  <c:v>0.3427042462841956</c:v>
                </c:pt>
                <c:pt idx="135">
                  <c:v>0.33287022549960099</c:v>
                </c:pt>
                <c:pt idx="136">
                  <c:v>0.39087281253142292</c:v>
                </c:pt>
                <c:pt idx="137">
                  <c:v>0.46184160840179111</c:v>
                </c:pt>
                <c:pt idx="138">
                  <c:v>0.48443897439000749</c:v>
                </c:pt>
                <c:pt idx="139">
                  <c:v>0.48479624165972401</c:v>
                </c:pt>
                <c:pt idx="140">
                  <c:v>0.51553274038240438</c:v>
                </c:pt>
                <c:pt idx="141">
                  <c:v>0.44391545005385402</c:v>
                </c:pt>
                <c:pt idx="142">
                  <c:v>0.45333471146656623</c:v>
                </c:pt>
                <c:pt idx="143">
                  <c:v>0.45580548388827657</c:v>
                </c:pt>
                <c:pt idx="144">
                  <c:v>0.43052374766166279</c:v>
                </c:pt>
                <c:pt idx="145">
                  <c:v>0.41184822045515523</c:v>
                </c:pt>
                <c:pt idx="146">
                  <c:v>0.52648529163650792</c:v>
                </c:pt>
                <c:pt idx="147">
                  <c:v>0.51274745474447303</c:v>
                </c:pt>
                <c:pt idx="148">
                  <c:v>0.48342712147720124</c:v>
                </c:pt>
                <c:pt idx="149">
                  <c:v>0.47588522279345646</c:v>
                </c:pt>
                <c:pt idx="150">
                  <c:v>0.41175780991812827</c:v>
                </c:pt>
                <c:pt idx="151">
                  <c:v>0.35127722797735306</c:v>
                </c:pt>
                <c:pt idx="152">
                  <c:v>0.40725796535985737</c:v>
                </c:pt>
                <c:pt idx="153">
                  <c:v>0.47175169443569542</c:v>
                </c:pt>
                <c:pt idx="154">
                  <c:v>0.45805633304936544</c:v>
                </c:pt>
                <c:pt idx="155">
                  <c:v>0.53820996107853936</c:v>
                </c:pt>
                <c:pt idx="156">
                  <c:v>0.57173382365097769</c:v>
                </c:pt>
                <c:pt idx="157">
                  <c:v>0.57507952995093659</c:v>
                </c:pt>
                <c:pt idx="158">
                  <c:v>0.62207484232521582</c:v>
                </c:pt>
                <c:pt idx="159">
                  <c:v>0.61738120115271622</c:v>
                </c:pt>
                <c:pt idx="160">
                  <c:v>0.59731729351483964</c:v>
                </c:pt>
                <c:pt idx="161">
                  <c:v>0.56149986284004694</c:v>
                </c:pt>
                <c:pt idx="162">
                  <c:v>0.51399747709080135</c:v>
                </c:pt>
                <c:pt idx="163">
                  <c:v>0.53738522758737095</c:v>
                </c:pt>
                <c:pt idx="164">
                  <c:v>0.44652636330620643</c:v>
                </c:pt>
                <c:pt idx="165">
                  <c:v>0.38840252439271872</c:v>
                </c:pt>
                <c:pt idx="166">
                  <c:v>0.4175545727711707</c:v>
                </c:pt>
                <c:pt idx="167">
                  <c:v>0.40672874562138861</c:v>
                </c:pt>
                <c:pt idx="168">
                  <c:v>0.45121211154894492</c:v>
                </c:pt>
                <c:pt idx="169">
                  <c:v>0.38652770511930479</c:v>
                </c:pt>
                <c:pt idx="170">
                  <c:v>0.38141821858595204</c:v>
                </c:pt>
                <c:pt idx="171">
                  <c:v>0.46286140151325461</c:v>
                </c:pt>
                <c:pt idx="172">
                  <c:v>0.5582056077368478</c:v>
                </c:pt>
                <c:pt idx="173">
                  <c:v>0.65203764752513527</c:v>
                </c:pt>
                <c:pt idx="174">
                  <c:v>0.68385959531023088</c:v>
                </c:pt>
                <c:pt idx="175">
                  <c:v>0.69097721128980627</c:v>
                </c:pt>
                <c:pt idx="176">
                  <c:v>0.70434807673248656</c:v>
                </c:pt>
                <c:pt idx="177">
                  <c:v>0.7075723731453909</c:v>
                </c:pt>
                <c:pt idx="178">
                  <c:v>0.69422473781201699</c:v>
                </c:pt>
                <c:pt idx="179">
                  <c:v>0.6164840167538963</c:v>
                </c:pt>
                <c:pt idx="180">
                  <c:v>0.68724722359087154</c:v>
                </c:pt>
                <c:pt idx="181">
                  <c:v>0.71435975878313274</c:v>
                </c:pt>
                <c:pt idx="182">
                  <c:v>0.69068275917190647</c:v>
                </c:pt>
                <c:pt idx="183">
                  <c:v>0.64225351335100522</c:v>
                </c:pt>
                <c:pt idx="184">
                  <c:v>0.62195320602401716</c:v>
                </c:pt>
                <c:pt idx="185">
                  <c:v>0.6658782941060446</c:v>
                </c:pt>
                <c:pt idx="186">
                  <c:v>0.65151975144393526</c:v>
                </c:pt>
                <c:pt idx="187">
                  <c:v>0.62164844927168117</c:v>
                </c:pt>
                <c:pt idx="188">
                  <c:v>0.65156062698336492</c:v>
                </c:pt>
                <c:pt idx="189">
                  <c:v>0.62429498100979108</c:v>
                </c:pt>
                <c:pt idx="190">
                  <c:v>0.57892667293857247</c:v>
                </c:pt>
                <c:pt idx="191">
                  <c:v>0.5518448917892107</c:v>
                </c:pt>
                <c:pt idx="192">
                  <c:v>0.56378688423782819</c:v>
                </c:pt>
                <c:pt idx="193">
                  <c:v>0.53372087510311994</c:v>
                </c:pt>
                <c:pt idx="194">
                  <c:v>0.50803790678594218</c:v>
                </c:pt>
                <c:pt idx="195">
                  <c:v>0.49349608002913192</c:v>
                </c:pt>
                <c:pt idx="196">
                  <c:v>0.51340136132302772</c:v>
                </c:pt>
                <c:pt idx="197">
                  <c:v>0.50045773727473319</c:v>
                </c:pt>
                <c:pt idx="198">
                  <c:v>0.48531489233060365</c:v>
                </c:pt>
                <c:pt idx="199">
                  <c:v>0.47985267877483295</c:v>
                </c:pt>
                <c:pt idx="200">
                  <c:v>0.48220698480682245</c:v>
                </c:pt>
                <c:pt idx="201">
                  <c:v>0.42978198655870581</c:v>
                </c:pt>
                <c:pt idx="202">
                  <c:v>0.38827534160357424</c:v>
                </c:pt>
                <c:pt idx="203">
                  <c:v>0.38903354540881097</c:v>
                </c:pt>
                <c:pt idx="204">
                  <c:v>0.33728035055064787</c:v>
                </c:pt>
                <c:pt idx="205">
                  <c:v>0.28622867981229416</c:v>
                </c:pt>
                <c:pt idx="206">
                  <c:v>0.31216746503282611</c:v>
                </c:pt>
                <c:pt idx="207">
                  <c:v>0.32559359550450084</c:v>
                </c:pt>
                <c:pt idx="208">
                  <c:v>0.31076508799640523</c:v>
                </c:pt>
                <c:pt idx="209">
                  <c:v>0.27360492286350668</c:v>
                </c:pt>
                <c:pt idx="210">
                  <c:v>0.2738427545313642</c:v>
                </c:pt>
                <c:pt idx="211">
                  <c:v>0.25727396059615826</c:v>
                </c:pt>
                <c:pt idx="212">
                  <c:v>0.29193154431536317</c:v>
                </c:pt>
                <c:pt idx="213">
                  <c:v>0.29712729179706754</c:v>
                </c:pt>
                <c:pt idx="214">
                  <c:v>0.30797654736691782</c:v>
                </c:pt>
                <c:pt idx="215">
                  <c:v>0.27432867491862822</c:v>
                </c:pt>
                <c:pt idx="216">
                  <c:v>0.26175020014811978</c:v>
                </c:pt>
                <c:pt idx="217">
                  <c:v>0.25334311470922422</c:v>
                </c:pt>
                <c:pt idx="218">
                  <c:v>0.21773817825068864</c:v>
                </c:pt>
                <c:pt idx="219">
                  <c:v>0.19039007109819184</c:v>
                </c:pt>
                <c:pt idx="220">
                  <c:v>0.15800482332014876</c:v>
                </c:pt>
                <c:pt idx="221">
                  <c:v>0.15477212249310668</c:v>
                </c:pt>
                <c:pt idx="222">
                  <c:v>0.1517698680103623</c:v>
                </c:pt>
                <c:pt idx="223">
                  <c:v>0.15823266014160531</c:v>
                </c:pt>
                <c:pt idx="224">
                  <c:v>0.15310096520273997</c:v>
                </c:pt>
                <c:pt idx="225">
                  <c:v>0.14830248783232403</c:v>
                </c:pt>
                <c:pt idx="226">
                  <c:v>0.17215567241019092</c:v>
                </c:pt>
                <c:pt idx="227">
                  <c:v>0.15129364945796153</c:v>
                </c:pt>
                <c:pt idx="228">
                  <c:v>0.14831145191437489</c:v>
                </c:pt>
                <c:pt idx="229">
                  <c:v>0.122120622217188</c:v>
                </c:pt>
                <c:pt idx="230">
                  <c:v>8.4089219722663699E-2</c:v>
                </c:pt>
                <c:pt idx="231">
                  <c:v>7.4878373695236755E-2</c:v>
                </c:pt>
                <c:pt idx="232">
                  <c:v>3.6380705537359725E-2</c:v>
                </c:pt>
                <c:pt idx="233">
                  <c:v>6.057237069657706E-2</c:v>
                </c:pt>
                <c:pt idx="234">
                  <c:v>5.8367235635512937E-2</c:v>
                </c:pt>
                <c:pt idx="235">
                  <c:v>6.0586954241380164E-2</c:v>
                </c:pt>
                <c:pt idx="236">
                  <c:v>4.492005772800689E-2</c:v>
                </c:pt>
                <c:pt idx="237">
                  <c:v>-5.6015451942653671E-3</c:v>
                </c:pt>
                <c:pt idx="238">
                  <c:v>1.8868067883135886E-2</c:v>
                </c:pt>
                <c:pt idx="239">
                  <c:v>3.5375531822481543E-2</c:v>
                </c:pt>
                <c:pt idx="240">
                  <c:v>5.9948388675824305E-2</c:v>
                </c:pt>
                <c:pt idx="241">
                  <c:v>3.2364761008475851E-2</c:v>
                </c:pt>
                <c:pt idx="242">
                  <c:v>4.0154980604563795E-2</c:v>
                </c:pt>
                <c:pt idx="243">
                  <c:v>3.1776124488924085E-2</c:v>
                </c:pt>
                <c:pt idx="244">
                  <c:v>6.1558522200496624E-2</c:v>
                </c:pt>
                <c:pt idx="245">
                  <c:v>6.7289227886229819E-2</c:v>
                </c:pt>
                <c:pt idx="246">
                  <c:v>0.10798883588602415</c:v>
                </c:pt>
                <c:pt idx="247">
                  <c:v>6.0378585898164472E-2</c:v>
                </c:pt>
                <c:pt idx="248">
                  <c:v>5.7465511132195113E-2</c:v>
                </c:pt>
                <c:pt idx="249">
                  <c:v>-2.221504100878402E-3</c:v>
                </c:pt>
                <c:pt idx="250">
                  <c:v>-1.7344739636514617E-2</c:v>
                </c:pt>
                <c:pt idx="251">
                  <c:v>-3.8448640859589212E-2</c:v>
                </c:pt>
                <c:pt idx="252">
                  <c:v>0</c:v>
                </c:pt>
              </c:numCache>
            </c:numRef>
          </c:val>
          <c:smooth val="0"/>
          <c:extLst>
            <c:ext xmlns:c16="http://schemas.microsoft.com/office/drawing/2014/chart" uri="{C3380CC4-5D6E-409C-BE32-E72D297353CC}">
              <c16:uniqueId val="{00000000-08AA-446A-8094-EADE3A16167A}"/>
            </c:ext>
          </c:extLst>
        </c:ser>
        <c:dLbls>
          <c:showLegendKey val="0"/>
          <c:showVal val="0"/>
          <c:showCatName val="0"/>
          <c:showSerName val="0"/>
          <c:showPercent val="0"/>
          <c:showBubbleSize val="0"/>
        </c:dLbls>
        <c:smooth val="0"/>
        <c:axId val="846242240"/>
        <c:axId val="846239944"/>
      </c:lineChart>
      <c:dateAx>
        <c:axId val="846242240"/>
        <c:scaling>
          <c:orientation val="minMax"/>
          <c:max val="44925"/>
          <c:min val="37255"/>
        </c:scaling>
        <c:delete val="0"/>
        <c:axPos val="b"/>
        <c:numFmt formatCode="[$-407]mmm/\ 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846239944"/>
        <c:crosses val="autoZero"/>
        <c:auto val="1"/>
        <c:lblOffset val="100"/>
        <c:baseTimeUnit val="months"/>
        <c:majorUnit val="3"/>
        <c:majorTimeUnit val="years"/>
      </c:dateAx>
      <c:valAx>
        <c:axId val="846239944"/>
        <c:scaling>
          <c:orientation val="minMax"/>
          <c:max val="1"/>
          <c:min val="-0.5"/>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846242240"/>
        <c:crosses val="autoZero"/>
        <c:crossBetween val="between"/>
        <c:majorUnit val="0.5"/>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a:noFill/>
    </a:ln>
    <a:effectLst/>
  </c:spPr>
  <c:txPr>
    <a:bodyPr/>
    <a:lstStyle/>
    <a:p>
      <a:pPr>
        <a:defRPr sz="1000">
          <a:solidFill>
            <a:schemeClr val="tx1"/>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9361974536789815E-2"/>
          <c:y val="2.7524911816578488E-2"/>
          <c:w val="0.9212760509264204"/>
          <c:h val="0.85478174603174617"/>
        </c:manualLayout>
      </c:layout>
      <c:lineChart>
        <c:grouping val="standard"/>
        <c:varyColors val="0"/>
        <c:ser>
          <c:idx val="0"/>
          <c:order val="1"/>
          <c:tx>
            <c:strRef>
              <c:f>'HC Data (2)'!$X$8</c:f>
              <c:strCache>
                <c:ptCount val="1"/>
                <c:pt idx="0">
                  <c:v>EPS - USA/Europe </c:v>
                </c:pt>
              </c:strCache>
            </c:strRef>
          </c:tx>
          <c:spPr>
            <a:ln w="22225">
              <a:solidFill>
                <a:schemeClr val="accent1"/>
              </a:solidFill>
              <a:prstDash val="solid"/>
            </a:ln>
          </c:spPr>
          <c:marker>
            <c:symbol val="none"/>
          </c:marker>
          <c:cat>
            <c:numRef>
              <c:f>'HC Data (2)'!$V$9:$V$1332</c:f>
              <c:numCache>
                <c:formatCode>m/d/yyyy</c:formatCode>
                <c:ptCount val="1324"/>
                <c:pt idx="0">
                  <c:v>43101</c:v>
                </c:pt>
                <c:pt idx="1">
                  <c:v>43102</c:v>
                </c:pt>
                <c:pt idx="2">
                  <c:v>43103</c:v>
                </c:pt>
                <c:pt idx="3">
                  <c:v>43104</c:v>
                </c:pt>
                <c:pt idx="4">
                  <c:v>43105</c:v>
                </c:pt>
                <c:pt idx="5">
                  <c:v>43108</c:v>
                </c:pt>
                <c:pt idx="6">
                  <c:v>43109</c:v>
                </c:pt>
                <c:pt idx="7">
                  <c:v>43110</c:v>
                </c:pt>
                <c:pt idx="8">
                  <c:v>43111</c:v>
                </c:pt>
                <c:pt idx="9">
                  <c:v>43112</c:v>
                </c:pt>
                <c:pt idx="10">
                  <c:v>43115</c:v>
                </c:pt>
                <c:pt idx="11">
                  <c:v>43116</c:v>
                </c:pt>
                <c:pt idx="12">
                  <c:v>43117</c:v>
                </c:pt>
                <c:pt idx="13">
                  <c:v>43118</c:v>
                </c:pt>
                <c:pt idx="14">
                  <c:v>43119</c:v>
                </c:pt>
                <c:pt idx="15">
                  <c:v>43122</c:v>
                </c:pt>
                <c:pt idx="16">
                  <c:v>43123</c:v>
                </c:pt>
                <c:pt idx="17">
                  <c:v>43124</c:v>
                </c:pt>
                <c:pt idx="18">
                  <c:v>43125</c:v>
                </c:pt>
                <c:pt idx="19">
                  <c:v>43126</c:v>
                </c:pt>
                <c:pt idx="20">
                  <c:v>43129</c:v>
                </c:pt>
                <c:pt idx="21">
                  <c:v>43130</c:v>
                </c:pt>
                <c:pt idx="22">
                  <c:v>43131</c:v>
                </c:pt>
                <c:pt idx="23">
                  <c:v>43132</c:v>
                </c:pt>
                <c:pt idx="24">
                  <c:v>43133</c:v>
                </c:pt>
                <c:pt idx="25">
                  <c:v>43136</c:v>
                </c:pt>
                <c:pt idx="26">
                  <c:v>43137</c:v>
                </c:pt>
                <c:pt idx="27">
                  <c:v>43138</c:v>
                </c:pt>
                <c:pt idx="28">
                  <c:v>43139</c:v>
                </c:pt>
                <c:pt idx="29">
                  <c:v>43140</c:v>
                </c:pt>
                <c:pt idx="30">
                  <c:v>43143</c:v>
                </c:pt>
                <c:pt idx="31">
                  <c:v>43144</c:v>
                </c:pt>
                <c:pt idx="32">
                  <c:v>43145</c:v>
                </c:pt>
                <c:pt idx="33">
                  <c:v>43146</c:v>
                </c:pt>
                <c:pt idx="34">
                  <c:v>43147</c:v>
                </c:pt>
                <c:pt idx="35">
                  <c:v>43150</c:v>
                </c:pt>
                <c:pt idx="36">
                  <c:v>43151</c:v>
                </c:pt>
                <c:pt idx="37">
                  <c:v>43152</c:v>
                </c:pt>
                <c:pt idx="38">
                  <c:v>43153</c:v>
                </c:pt>
                <c:pt idx="39">
                  <c:v>43154</c:v>
                </c:pt>
                <c:pt idx="40">
                  <c:v>43157</c:v>
                </c:pt>
                <c:pt idx="41">
                  <c:v>43158</c:v>
                </c:pt>
                <c:pt idx="42">
                  <c:v>43159</c:v>
                </c:pt>
                <c:pt idx="43">
                  <c:v>43160</c:v>
                </c:pt>
                <c:pt idx="44">
                  <c:v>43161</c:v>
                </c:pt>
                <c:pt idx="45">
                  <c:v>43164</c:v>
                </c:pt>
                <c:pt idx="46">
                  <c:v>43165</c:v>
                </c:pt>
                <c:pt idx="47">
                  <c:v>43166</c:v>
                </c:pt>
                <c:pt idx="48">
                  <c:v>43167</c:v>
                </c:pt>
                <c:pt idx="49">
                  <c:v>43168</c:v>
                </c:pt>
                <c:pt idx="50">
                  <c:v>43171</c:v>
                </c:pt>
                <c:pt idx="51">
                  <c:v>43172</c:v>
                </c:pt>
                <c:pt idx="52">
                  <c:v>43173</c:v>
                </c:pt>
                <c:pt idx="53">
                  <c:v>43174</c:v>
                </c:pt>
                <c:pt idx="54">
                  <c:v>43175</c:v>
                </c:pt>
                <c:pt idx="55">
                  <c:v>43178</c:v>
                </c:pt>
                <c:pt idx="56">
                  <c:v>43179</c:v>
                </c:pt>
                <c:pt idx="57">
                  <c:v>43180</c:v>
                </c:pt>
                <c:pt idx="58">
                  <c:v>43181</c:v>
                </c:pt>
                <c:pt idx="59">
                  <c:v>43182</c:v>
                </c:pt>
                <c:pt idx="60">
                  <c:v>43185</c:v>
                </c:pt>
                <c:pt idx="61">
                  <c:v>43186</c:v>
                </c:pt>
                <c:pt idx="62">
                  <c:v>43187</c:v>
                </c:pt>
                <c:pt idx="63">
                  <c:v>43188</c:v>
                </c:pt>
                <c:pt idx="64">
                  <c:v>43189</c:v>
                </c:pt>
                <c:pt idx="65">
                  <c:v>43192</c:v>
                </c:pt>
                <c:pt idx="66">
                  <c:v>43193</c:v>
                </c:pt>
                <c:pt idx="67">
                  <c:v>43194</c:v>
                </c:pt>
                <c:pt idx="68">
                  <c:v>43195</c:v>
                </c:pt>
                <c:pt idx="69">
                  <c:v>43196</c:v>
                </c:pt>
                <c:pt idx="70">
                  <c:v>43199</c:v>
                </c:pt>
                <c:pt idx="71">
                  <c:v>43200</c:v>
                </c:pt>
                <c:pt idx="72">
                  <c:v>43201</c:v>
                </c:pt>
                <c:pt idx="73">
                  <c:v>43202</c:v>
                </c:pt>
                <c:pt idx="74">
                  <c:v>43203</c:v>
                </c:pt>
                <c:pt idx="75">
                  <c:v>43206</c:v>
                </c:pt>
                <c:pt idx="76">
                  <c:v>43207</c:v>
                </c:pt>
                <c:pt idx="77">
                  <c:v>43208</c:v>
                </c:pt>
                <c:pt idx="78">
                  <c:v>43209</c:v>
                </c:pt>
                <c:pt idx="79">
                  <c:v>43210</c:v>
                </c:pt>
                <c:pt idx="80">
                  <c:v>43213</c:v>
                </c:pt>
                <c:pt idx="81">
                  <c:v>43214</c:v>
                </c:pt>
                <c:pt idx="82">
                  <c:v>43215</c:v>
                </c:pt>
                <c:pt idx="83">
                  <c:v>43216</c:v>
                </c:pt>
                <c:pt idx="84">
                  <c:v>43217</c:v>
                </c:pt>
                <c:pt idx="85">
                  <c:v>43220</c:v>
                </c:pt>
                <c:pt idx="86">
                  <c:v>43221</c:v>
                </c:pt>
                <c:pt idx="87">
                  <c:v>43222</c:v>
                </c:pt>
                <c:pt idx="88">
                  <c:v>43223</c:v>
                </c:pt>
                <c:pt idx="89">
                  <c:v>43224</c:v>
                </c:pt>
                <c:pt idx="90">
                  <c:v>43227</c:v>
                </c:pt>
                <c:pt idx="91">
                  <c:v>43228</c:v>
                </c:pt>
                <c:pt idx="92">
                  <c:v>43229</c:v>
                </c:pt>
                <c:pt idx="93">
                  <c:v>43230</c:v>
                </c:pt>
                <c:pt idx="94">
                  <c:v>43231</c:v>
                </c:pt>
                <c:pt idx="95">
                  <c:v>43234</c:v>
                </c:pt>
                <c:pt idx="96">
                  <c:v>43235</c:v>
                </c:pt>
                <c:pt idx="97">
                  <c:v>43236</c:v>
                </c:pt>
                <c:pt idx="98">
                  <c:v>43237</c:v>
                </c:pt>
                <c:pt idx="99">
                  <c:v>43238</c:v>
                </c:pt>
                <c:pt idx="100">
                  <c:v>43241</c:v>
                </c:pt>
                <c:pt idx="101">
                  <c:v>43242</c:v>
                </c:pt>
                <c:pt idx="102">
                  <c:v>43243</c:v>
                </c:pt>
                <c:pt idx="103">
                  <c:v>43244</c:v>
                </c:pt>
                <c:pt idx="104">
                  <c:v>43245</c:v>
                </c:pt>
                <c:pt idx="105">
                  <c:v>43248</c:v>
                </c:pt>
                <c:pt idx="106">
                  <c:v>43249</c:v>
                </c:pt>
                <c:pt idx="107">
                  <c:v>43250</c:v>
                </c:pt>
                <c:pt idx="108">
                  <c:v>43251</c:v>
                </c:pt>
                <c:pt idx="109">
                  <c:v>43252</c:v>
                </c:pt>
                <c:pt idx="110">
                  <c:v>43255</c:v>
                </c:pt>
                <c:pt idx="111">
                  <c:v>43256</c:v>
                </c:pt>
                <c:pt idx="112">
                  <c:v>43257</c:v>
                </c:pt>
                <c:pt idx="113">
                  <c:v>43258</c:v>
                </c:pt>
                <c:pt idx="114">
                  <c:v>43259</c:v>
                </c:pt>
                <c:pt idx="115">
                  <c:v>43262</c:v>
                </c:pt>
                <c:pt idx="116">
                  <c:v>43263</c:v>
                </c:pt>
                <c:pt idx="117">
                  <c:v>43264</c:v>
                </c:pt>
                <c:pt idx="118">
                  <c:v>43265</c:v>
                </c:pt>
                <c:pt idx="119">
                  <c:v>43266</c:v>
                </c:pt>
                <c:pt idx="120">
                  <c:v>43269</c:v>
                </c:pt>
                <c:pt idx="121">
                  <c:v>43270</c:v>
                </c:pt>
                <c:pt idx="122">
                  <c:v>43271</c:v>
                </c:pt>
                <c:pt idx="123">
                  <c:v>43272</c:v>
                </c:pt>
                <c:pt idx="124">
                  <c:v>43273</c:v>
                </c:pt>
                <c:pt idx="125">
                  <c:v>43276</c:v>
                </c:pt>
                <c:pt idx="126">
                  <c:v>43277</c:v>
                </c:pt>
                <c:pt idx="127">
                  <c:v>43278</c:v>
                </c:pt>
                <c:pt idx="128">
                  <c:v>43279</c:v>
                </c:pt>
                <c:pt idx="129">
                  <c:v>43280</c:v>
                </c:pt>
                <c:pt idx="130">
                  <c:v>43283</c:v>
                </c:pt>
                <c:pt idx="131">
                  <c:v>43284</c:v>
                </c:pt>
                <c:pt idx="132">
                  <c:v>43285</c:v>
                </c:pt>
                <c:pt idx="133">
                  <c:v>43286</c:v>
                </c:pt>
                <c:pt idx="134">
                  <c:v>43287</c:v>
                </c:pt>
                <c:pt idx="135">
                  <c:v>43290</c:v>
                </c:pt>
                <c:pt idx="136">
                  <c:v>43291</c:v>
                </c:pt>
                <c:pt idx="137">
                  <c:v>43292</c:v>
                </c:pt>
                <c:pt idx="138">
                  <c:v>43293</c:v>
                </c:pt>
                <c:pt idx="139">
                  <c:v>43294</c:v>
                </c:pt>
                <c:pt idx="140">
                  <c:v>43297</c:v>
                </c:pt>
                <c:pt idx="141">
                  <c:v>43298</c:v>
                </c:pt>
                <c:pt idx="142">
                  <c:v>43299</c:v>
                </c:pt>
                <c:pt idx="143">
                  <c:v>43300</c:v>
                </c:pt>
                <c:pt idx="144">
                  <c:v>43301</c:v>
                </c:pt>
                <c:pt idx="145">
                  <c:v>43304</c:v>
                </c:pt>
                <c:pt idx="146">
                  <c:v>43305</c:v>
                </c:pt>
                <c:pt idx="147">
                  <c:v>43306</c:v>
                </c:pt>
                <c:pt idx="148">
                  <c:v>43307</c:v>
                </c:pt>
                <c:pt idx="149">
                  <c:v>43308</c:v>
                </c:pt>
                <c:pt idx="150">
                  <c:v>43311</c:v>
                </c:pt>
                <c:pt idx="151">
                  <c:v>43312</c:v>
                </c:pt>
                <c:pt idx="152">
                  <c:v>43313</c:v>
                </c:pt>
                <c:pt idx="153">
                  <c:v>43314</c:v>
                </c:pt>
                <c:pt idx="154">
                  <c:v>43315</c:v>
                </c:pt>
                <c:pt idx="155">
                  <c:v>43318</c:v>
                </c:pt>
                <c:pt idx="156">
                  <c:v>43319</c:v>
                </c:pt>
                <c:pt idx="157">
                  <c:v>43320</c:v>
                </c:pt>
                <c:pt idx="158">
                  <c:v>43321</c:v>
                </c:pt>
                <c:pt idx="159">
                  <c:v>43322</c:v>
                </c:pt>
                <c:pt idx="160">
                  <c:v>43325</c:v>
                </c:pt>
                <c:pt idx="161">
                  <c:v>43326</c:v>
                </c:pt>
                <c:pt idx="162">
                  <c:v>43327</c:v>
                </c:pt>
                <c:pt idx="163">
                  <c:v>43328</c:v>
                </c:pt>
                <c:pt idx="164">
                  <c:v>43329</c:v>
                </c:pt>
                <c:pt idx="165">
                  <c:v>43332</c:v>
                </c:pt>
                <c:pt idx="166">
                  <c:v>43333</c:v>
                </c:pt>
                <c:pt idx="167">
                  <c:v>43334</c:v>
                </c:pt>
                <c:pt idx="168">
                  <c:v>43335</c:v>
                </c:pt>
                <c:pt idx="169">
                  <c:v>43336</c:v>
                </c:pt>
                <c:pt idx="170">
                  <c:v>43339</c:v>
                </c:pt>
                <c:pt idx="171">
                  <c:v>43340</c:v>
                </c:pt>
                <c:pt idx="172">
                  <c:v>43341</c:v>
                </c:pt>
                <c:pt idx="173">
                  <c:v>43342</c:v>
                </c:pt>
                <c:pt idx="174">
                  <c:v>43343</c:v>
                </c:pt>
                <c:pt idx="175">
                  <c:v>43346</c:v>
                </c:pt>
                <c:pt idx="176">
                  <c:v>43347</c:v>
                </c:pt>
                <c:pt idx="177">
                  <c:v>43348</c:v>
                </c:pt>
                <c:pt idx="178">
                  <c:v>43349</c:v>
                </c:pt>
                <c:pt idx="179">
                  <c:v>43350</c:v>
                </c:pt>
                <c:pt idx="180">
                  <c:v>43353</c:v>
                </c:pt>
                <c:pt idx="181">
                  <c:v>43354</c:v>
                </c:pt>
                <c:pt idx="182">
                  <c:v>43355</c:v>
                </c:pt>
                <c:pt idx="183">
                  <c:v>43356</c:v>
                </c:pt>
                <c:pt idx="184">
                  <c:v>43357</c:v>
                </c:pt>
                <c:pt idx="185">
                  <c:v>43360</c:v>
                </c:pt>
                <c:pt idx="186">
                  <c:v>43361</c:v>
                </c:pt>
                <c:pt idx="187">
                  <c:v>43362</c:v>
                </c:pt>
                <c:pt idx="188">
                  <c:v>43363</c:v>
                </c:pt>
                <c:pt idx="189">
                  <c:v>43364</c:v>
                </c:pt>
                <c:pt idx="190">
                  <c:v>43367</c:v>
                </c:pt>
                <c:pt idx="191">
                  <c:v>43368</c:v>
                </c:pt>
                <c:pt idx="192">
                  <c:v>43369</c:v>
                </c:pt>
                <c:pt idx="193">
                  <c:v>43370</c:v>
                </c:pt>
                <c:pt idx="194">
                  <c:v>43371</c:v>
                </c:pt>
                <c:pt idx="195">
                  <c:v>43374</c:v>
                </c:pt>
                <c:pt idx="196">
                  <c:v>43375</c:v>
                </c:pt>
                <c:pt idx="197">
                  <c:v>43376</c:v>
                </c:pt>
                <c:pt idx="198">
                  <c:v>43377</c:v>
                </c:pt>
                <c:pt idx="199">
                  <c:v>43378</c:v>
                </c:pt>
                <c:pt idx="200">
                  <c:v>43381</c:v>
                </c:pt>
                <c:pt idx="201">
                  <c:v>43382</c:v>
                </c:pt>
                <c:pt idx="202">
                  <c:v>43383</c:v>
                </c:pt>
                <c:pt idx="203">
                  <c:v>43384</c:v>
                </c:pt>
                <c:pt idx="204">
                  <c:v>43385</c:v>
                </c:pt>
                <c:pt idx="205">
                  <c:v>43388</c:v>
                </c:pt>
                <c:pt idx="206">
                  <c:v>43389</c:v>
                </c:pt>
                <c:pt idx="207">
                  <c:v>43390</c:v>
                </c:pt>
                <c:pt idx="208">
                  <c:v>43391</c:v>
                </c:pt>
                <c:pt idx="209">
                  <c:v>43392</c:v>
                </c:pt>
                <c:pt idx="210">
                  <c:v>43395</c:v>
                </c:pt>
                <c:pt idx="211">
                  <c:v>43396</c:v>
                </c:pt>
                <c:pt idx="212">
                  <c:v>43397</c:v>
                </c:pt>
                <c:pt idx="213">
                  <c:v>43398</c:v>
                </c:pt>
                <c:pt idx="214">
                  <c:v>43399</c:v>
                </c:pt>
                <c:pt idx="215">
                  <c:v>43402</c:v>
                </c:pt>
                <c:pt idx="216">
                  <c:v>43403</c:v>
                </c:pt>
                <c:pt idx="217">
                  <c:v>43404</c:v>
                </c:pt>
                <c:pt idx="218">
                  <c:v>43405</c:v>
                </c:pt>
                <c:pt idx="219">
                  <c:v>43406</c:v>
                </c:pt>
                <c:pt idx="220">
                  <c:v>43409</c:v>
                </c:pt>
                <c:pt idx="221">
                  <c:v>43410</c:v>
                </c:pt>
                <c:pt idx="222">
                  <c:v>43411</c:v>
                </c:pt>
                <c:pt idx="223">
                  <c:v>43412</c:v>
                </c:pt>
                <c:pt idx="224">
                  <c:v>43413</c:v>
                </c:pt>
                <c:pt idx="225">
                  <c:v>43416</c:v>
                </c:pt>
                <c:pt idx="226">
                  <c:v>43417</c:v>
                </c:pt>
                <c:pt idx="227">
                  <c:v>43418</c:v>
                </c:pt>
                <c:pt idx="228">
                  <c:v>43419</c:v>
                </c:pt>
                <c:pt idx="229">
                  <c:v>43420</c:v>
                </c:pt>
                <c:pt idx="230">
                  <c:v>43423</c:v>
                </c:pt>
                <c:pt idx="231">
                  <c:v>43424</c:v>
                </c:pt>
                <c:pt idx="232">
                  <c:v>43425</c:v>
                </c:pt>
                <c:pt idx="233">
                  <c:v>43426</c:v>
                </c:pt>
                <c:pt idx="234">
                  <c:v>43427</c:v>
                </c:pt>
                <c:pt idx="235">
                  <c:v>43430</c:v>
                </c:pt>
                <c:pt idx="236">
                  <c:v>43431</c:v>
                </c:pt>
                <c:pt idx="237">
                  <c:v>43432</c:v>
                </c:pt>
                <c:pt idx="238">
                  <c:v>43433</c:v>
                </c:pt>
                <c:pt idx="239">
                  <c:v>43434</c:v>
                </c:pt>
                <c:pt idx="240">
                  <c:v>43437</c:v>
                </c:pt>
                <c:pt idx="241">
                  <c:v>43438</c:v>
                </c:pt>
                <c:pt idx="242">
                  <c:v>43439</c:v>
                </c:pt>
                <c:pt idx="243">
                  <c:v>43440</c:v>
                </c:pt>
                <c:pt idx="244">
                  <c:v>43441</c:v>
                </c:pt>
                <c:pt idx="245">
                  <c:v>43444</c:v>
                </c:pt>
                <c:pt idx="246">
                  <c:v>43445</c:v>
                </c:pt>
                <c:pt idx="247">
                  <c:v>43446</c:v>
                </c:pt>
                <c:pt idx="248">
                  <c:v>43447</c:v>
                </c:pt>
                <c:pt idx="249">
                  <c:v>43448</c:v>
                </c:pt>
                <c:pt idx="250">
                  <c:v>43451</c:v>
                </c:pt>
                <c:pt idx="251">
                  <c:v>43452</c:v>
                </c:pt>
                <c:pt idx="252">
                  <c:v>43453</c:v>
                </c:pt>
                <c:pt idx="253">
                  <c:v>43454</c:v>
                </c:pt>
                <c:pt idx="254">
                  <c:v>43455</c:v>
                </c:pt>
                <c:pt idx="255">
                  <c:v>43458</c:v>
                </c:pt>
                <c:pt idx="256">
                  <c:v>43459</c:v>
                </c:pt>
                <c:pt idx="257">
                  <c:v>43460</c:v>
                </c:pt>
                <c:pt idx="258">
                  <c:v>43461</c:v>
                </c:pt>
                <c:pt idx="259">
                  <c:v>43462</c:v>
                </c:pt>
                <c:pt idx="260">
                  <c:v>43465</c:v>
                </c:pt>
                <c:pt idx="261">
                  <c:v>43466</c:v>
                </c:pt>
                <c:pt idx="262">
                  <c:v>43467</c:v>
                </c:pt>
                <c:pt idx="263">
                  <c:v>43468</c:v>
                </c:pt>
                <c:pt idx="264">
                  <c:v>43469</c:v>
                </c:pt>
                <c:pt idx="265">
                  <c:v>43472</c:v>
                </c:pt>
                <c:pt idx="266">
                  <c:v>43473</c:v>
                </c:pt>
                <c:pt idx="267">
                  <c:v>43474</c:v>
                </c:pt>
                <c:pt idx="268">
                  <c:v>43475</c:v>
                </c:pt>
                <c:pt idx="269">
                  <c:v>43476</c:v>
                </c:pt>
                <c:pt idx="270">
                  <c:v>43479</c:v>
                </c:pt>
                <c:pt idx="271">
                  <c:v>43480</c:v>
                </c:pt>
                <c:pt idx="272">
                  <c:v>43481</c:v>
                </c:pt>
                <c:pt idx="273">
                  <c:v>43482</c:v>
                </c:pt>
                <c:pt idx="274">
                  <c:v>43483</c:v>
                </c:pt>
                <c:pt idx="275">
                  <c:v>43486</c:v>
                </c:pt>
                <c:pt idx="276">
                  <c:v>43487</c:v>
                </c:pt>
                <c:pt idx="277">
                  <c:v>43488</c:v>
                </c:pt>
                <c:pt idx="278">
                  <c:v>43489</c:v>
                </c:pt>
                <c:pt idx="279">
                  <c:v>43490</c:v>
                </c:pt>
                <c:pt idx="280">
                  <c:v>43493</c:v>
                </c:pt>
                <c:pt idx="281">
                  <c:v>43494</c:v>
                </c:pt>
                <c:pt idx="282">
                  <c:v>43495</c:v>
                </c:pt>
                <c:pt idx="283">
                  <c:v>43496</c:v>
                </c:pt>
                <c:pt idx="284">
                  <c:v>43497</c:v>
                </c:pt>
                <c:pt idx="285">
                  <c:v>43500</c:v>
                </c:pt>
                <c:pt idx="286">
                  <c:v>43501</c:v>
                </c:pt>
                <c:pt idx="287">
                  <c:v>43502</c:v>
                </c:pt>
                <c:pt idx="288">
                  <c:v>43503</c:v>
                </c:pt>
                <c:pt idx="289">
                  <c:v>43504</c:v>
                </c:pt>
                <c:pt idx="290">
                  <c:v>43507</c:v>
                </c:pt>
                <c:pt idx="291">
                  <c:v>43508</c:v>
                </c:pt>
                <c:pt idx="292">
                  <c:v>43509</c:v>
                </c:pt>
                <c:pt idx="293">
                  <c:v>43510</c:v>
                </c:pt>
                <c:pt idx="294">
                  <c:v>43511</c:v>
                </c:pt>
                <c:pt idx="295">
                  <c:v>43514</c:v>
                </c:pt>
                <c:pt idx="296">
                  <c:v>43515</c:v>
                </c:pt>
                <c:pt idx="297">
                  <c:v>43516</c:v>
                </c:pt>
                <c:pt idx="298">
                  <c:v>43517</c:v>
                </c:pt>
                <c:pt idx="299">
                  <c:v>43518</c:v>
                </c:pt>
                <c:pt idx="300">
                  <c:v>43521</c:v>
                </c:pt>
                <c:pt idx="301">
                  <c:v>43522</c:v>
                </c:pt>
                <c:pt idx="302">
                  <c:v>43523</c:v>
                </c:pt>
                <c:pt idx="303">
                  <c:v>43524</c:v>
                </c:pt>
                <c:pt idx="304">
                  <c:v>43525</c:v>
                </c:pt>
                <c:pt idx="305">
                  <c:v>43528</c:v>
                </c:pt>
                <c:pt idx="306">
                  <c:v>43529</c:v>
                </c:pt>
                <c:pt idx="307">
                  <c:v>43530</c:v>
                </c:pt>
                <c:pt idx="308">
                  <c:v>43531</c:v>
                </c:pt>
                <c:pt idx="309">
                  <c:v>43532</c:v>
                </c:pt>
                <c:pt idx="310">
                  <c:v>43535</c:v>
                </c:pt>
                <c:pt idx="311">
                  <c:v>43536</c:v>
                </c:pt>
                <c:pt idx="312">
                  <c:v>43537</c:v>
                </c:pt>
                <c:pt idx="313">
                  <c:v>43538</c:v>
                </c:pt>
                <c:pt idx="314">
                  <c:v>43539</c:v>
                </c:pt>
                <c:pt idx="315">
                  <c:v>43542</c:v>
                </c:pt>
                <c:pt idx="316">
                  <c:v>43543</c:v>
                </c:pt>
                <c:pt idx="317">
                  <c:v>43544</c:v>
                </c:pt>
                <c:pt idx="318">
                  <c:v>43545</c:v>
                </c:pt>
                <c:pt idx="319">
                  <c:v>43546</c:v>
                </c:pt>
                <c:pt idx="320">
                  <c:v>43549</c:v>
                </c:pt>
                <c:pt idx="321">
                  <c:v>43550</c:v>
                </c:pt>
                <c:pt idx="322">
                  <c:v>43551</c:v>
                </c:pt>
                <c:pt idx="323">
                  <c:v>43552</c:v>
                </c:pt>
                <c:pt idx="324">
                  <c:v>43553</c:v>
                </c:pt>
                <c:pt idx="325">
                  <c:v>43556</c:v>
                </c:pt>
                <c:pt idx="326">
                  <c:v>43557</c:v>
                </c:pt>
                <c:pt idx="327">
                  <c:v>43558</c:v>
                </c:pt>
                <c:pt idx="328">
                  <c:v>43559</c:v>
                </c:pt>
                <c:pt idx="329">
                  <c:v>43560</c:v>
                </c:pt>
                <c:pt idx="330">
                  <c:v>43563</c:v>
                </c:pt>
                <c:pt idx="331">
                  <c:v>43564</c:v>
                </c:pt>
                <c:pt idx="332">
                  <c:v>43565</c:v>
                </c:pt>
                <c:pt idx="333">
                  <c:v>43566</c:v>
                </c:pt>
                <c:pt idx="334">
                  <c:v>43567</c:v>
                </c:pt>
                <c:pt idx="335">
                  <c:v>43570</c:v>
                </c:pt>
                <c:pt idx="336">
                  <c:v>43571</c:v>
                </c:pt>
                <c:pt idx="337">
                  <c:v>43572</c:v>
                </c:pt>
                <c:pt idx="338">
                  <c:v>43573</c:v>
                </c:pt>
                <c:pt idx="339">
                  <c:v>43574</c:v>
                </c:pt>
                <c:pt idx="340">
                  <c:v>43577</c:v>
                </c:pt>
                <c:pt idx="341">
                  <c:v>43578</c:v>
                </c:pt>
                <c:pt idx="342">
                  <c:v>43579</c:v>
                </c:pt>
                <c:pt idx="343">
                  <c:v>43580</c:v>
                </c:pt>
                <c:pt idx="344">
                  <c:v>43581</c:v>
                </c:pt>
                <c:pt idx="345">
                  <c:v>43584</c:v>
                </c:pt>
                <c:pt idx="346">
                  <c:v>43585</c:v>
                </c:pt>
                <c:pt idx="347">
                  <c:v>43586</c:v>
                </c:pt>
                <c:pt idx="348">
                  <c:v>43587</c:v>
                </c:pt>
                <c:pt idx="349">
                  <c:v>43588</c:v>
                </c:pt>
                <c:pt idx="350">
                  <c:v>43591</c:v>
                </c:pt>
                <c:pt idx="351">
                  <c:v>43592</c:v>
                </c:pt>
                <c:pt idx="352">
                  <c:v>43593</c:v>
                </c:pt>
                <c:pt idx="353">
                  <c:v>43594</c:v>
                </c:pt>
                <c:pt idx="354">
                  <c:v>43595</c:v>
                </c:pt>
                <c:pt idx="355">
                  <c:v>43598</c:v>
                </c:pt>
                <c:pt idx="356">
                  <c:v>43599</c:v>
                </c:pt>
                <c:pt idx="357">
                  <c:v>43600</c:v>
                </c:pt>
                <c:pt idx="358">
                  <c:v>43601</c:v>
                </c:pt>
                <c:pt idx="359">
                  <c:v>43602</c:v>
                </c:pt>
                <c:pt idx="360">
                  <c:v>43605</c:v>
                </c:pt>
                <c:pt idx="361">
                  <c:v>43606</c:v>
                </c:pt>
                <c:pt idx="362">
                  <c:v>43607</c:v>
                </c:pt>
                <c:pt idx="363">
                  <c:v>43608</c:v>
                </c:pt>
                <c:pt idx="364">
                  <c:v>43609</c:v>
                </c:pt>
                <c:pt idx="365">
                  <c:v>43612</c:v>
                </c:pt>
                <c:pt idx="366">
                  <c:v>43613</c:v>
                </c:pt>
                <c:pt idx="367">
                  <c:v>43614</c:v>
                </c:pt>
                <c:pt idx="368">
                  <c:v>43615</c:v>
                </c:pt>
                <c:pt idx="369">
                  <c:v>43616</c:v>
                </c:pt>
                <c:pt idx="370">
                  <c:v>43619</c:v>
                </c:pt>
                <c:pt idx="371">
                  <c:v>43620</c:v>
                </c:pt>
                <c:pt idx="372">
                  <c:v>43621</c:v>
                </c:pt>
                <c:pt idx="373">
                  <c:v>43622</c:v>
                </c:pt>
                <c:pt idx="374">
                  <c:v>43623</c:v>
                </c:pt>
                <c:pt idx="375">
                  <c:v>43626</c:v>
                </c:pt>
                <c:pt idx="376">
                  <c:v>43627</c:v>
                </c:pt>
                <c:pt idx="377">
                  <c:v>43628</c:v>
                </c:pt>
                <c:pt idx="378">
                  <c:v>43629</c:v>
                </c:pt>
                <c:pt idx="379">
                  <c:v>43630</c:v>
                </c:pt>
                <c:pt idx="380">
                  <c:v>43633</c:v>
                </c:pt>
                <c:pt idx="381">
                  <c:v>43634</c:v>
                </c:pt>
                <c:pt idx="382">
                  <c:v>43635</c:v>
                </c:pt>
                <c:pt idx="383">
                  <c:v>43636</c:v>
                </c:pt>
                <c:pt idx="384">
                  <c:v>43637</c:v>
                </c:pt>
                <c:pt idx="385">
                  <c:v>43640</c:v>
                </c:pt>
                <c:pt idx="386">
                  <c:v>43641</c:v>
                </c:pt>
                <c:pt idx="387">
                  <c:v>43642</c:v>
                </c:pt>
                <c:pt idx="388">
                  <c:v>43643</c:v>
                </c:pt>
                <c:pt idx="389">
                  <c:v>43644</c:v>
                </c:pt>
                <c:pt idx="390">
                  <c:v>43647</c:v>
                </c:pt>
                <c:pt idx="391">
                  <c:v>43648</c:v>
                </c:pt>
                <c:pt idx="392">
                  <c:v>43649</c:v>
                </c:pt>
                <c:pt idx="393">
                  <c:v>43650</c:v>
                </c:pt>
                <c:pt idx="394">
                  <c:v>43651</c:v>
                </c:pt>
                <c:pt idx="395">
                  <c:v>43654</c:v>
                </c:pt>
                <c:pt idx="396">
                  <c:v>43655</c:v>
                </c:pt>
                <c:pt idx="397">
                  <c:v>43656</c:v>
                </c:pt>
                <c:pt idx="398">
                  <c:v>43657</c:v>
                </c:pt>
                <c:pt idx="399">
                  <c:v>43658</c:v>
                </c:pt>
                <c:pt idx="400">
                  <c:v>43661</c:v>
                </c:pt>
                <c:pt idx="401">
                  <c:v>43662</c:v>
                </c:pt>
                <c:pt idx="402">
                  <c:v>43663</c:v>
                </c:pt>
                <c:pt idx="403">
                  <c:v>43664</c:v>
                </c:pt>
                <c:pt idx="404">
                  <c:v>43665</c:v>
                </c:pt>
                <c:pt idx="405">
                  <c:v>43668</c:v>
                </c:pt>
                <c:pt idx="406">
                  <c:v>43669</c:v>
                </c:pt>
                <c:pt idx="407">
                  <c:v>43670</c:v>
                </c:pt>
                <c:pt idx="408">
                  <c:v>43671</c:v>
                </c:pt>
                <c:pt idx="409">
                  <c:v>43672</c:v>
                </c:pt>
                <c:pt idx="410">
                  <c:v>43675</c:v>
                </c:pt>
                <c:pt idx="411">
                  <c:v>43676</c:v>
                </c:pt>
                <c:pt idx="412">
                  <c:v>43677</c:v>
                </c:pt>
                <c:pt idx="413">
                  <c:v>43678</c:v>
                </c:pt>
                <c:pt idx="414">
                  <c:v>43679</c:v>
                </c:pt>
                <c:pt idx="415">
                  <c:v>43682</c:v>
                </c:pt>
                <c:pt idx="416">
                  <c:v>43683</c:v>
                </c:pt>
                <c:pt idx="417">
                  <c:v>43684</c:v>
                </c:pt>
                <c:pt idx="418">
                  <c:v>43685</c:v>
                </c:pt>
                <c:pt idx="419">
                  <c:v>43686</c:v>
                </c:pt>
                <c:pt idx="420">
                  <c:v>43689</c:v>
                </c:pt>
                <c:pt idx="421">
                  <c:v>43690</c:v>
                </c:pt>
                <c:pt idx="422">
                  <c:v>43691</c:v>
                </c:pt>
                <c:pt idx="423">
                  <c:v>43692</c:v>
                </c:pt>
                <c:pt idx="424">
                  <c:v>43693</c:v>
                </c:pt>
                <c:pt idx="425">
                  <c:v>43696</c:v>
                </c:pt>
                <c:pt idx="426">
                  <c:v>43697</c:v>
                </c:pt>
                <c:pt idx="427">
                  <c:v>43698</c:v>
                </c:pt>
                <c:pt idx="428">
                  <c:v>43699</c:v>
                </c:pt>
                <c:pt idx="429">
                  <c:v>43700</c:v>
                </c:pt>
                <c:pt idx="430">
                  <c:v>43703</c:v>
                </c:pt>
                <c:pt idx="431">
                  <c:v>43704</c:v>
                </c:pt>
                <c:pt idx="432">
                  <c:v>43705</c:v>
                </c:pt>
                <c:pt idx="433">
                  <c:v>43706</c:v>
                </c:pt>
                <c:pt idx="434">
                  <c:v>43707</c:v>
                </c:pt>
                <c:pt idx="435">
                  <c:v>43710</c:v>
                </c:pt>
                <c:pt idx="436">
                  <c:v>43711</c:v>
                </c:pt>
                <c:pt idx="437">
                  <c:v>43712</c:v>
                </c:pt>
                <c:pt idx="438">
                  <c:v>43713</c:v>
                </c:pt>
                <c:pt idx="439">
                  <c:v>43714</c:v>
                </c:pt>
                <c:pt idx="440">
                  <c:v>43717</c:v>
                </c:pt>
                <c:pt idx="441">
                  <c:v>43718</c:v>
                </c:pt>
                <c:pt idx="442">
                  <c:v>43719</c:v>
                </c:pt>
                <c:pt idx="443">
                  <c:v>43720</c:v>
                </c:pt>
                <c:pt idx="444">
                  <c:v>43721</c:v>
                </c:pt>
                <c:pt idx="445">
                  <c:v>43724</c:v>
                </c:pt>
                <c:pt idx="446">
                  <c:v>43725</c:v>
                </c:pt>
                <c:pt idx="447">
                  <c:v>43726</c:v>
                </c:pt>
                <c:pt idx="448">
                  <c:v>43727</c:v>
                </c:pt>
                <c:pt idx="449">
                  <c:v>43728</c:v>
                </c:pt>
                <c:pt idx="450">
                  <c:v>43731</c:v>
                </c:pt>
                <c:pt idx="451">
                  <c:v>43732</c:v>
                </c:pt>
                <c:pt idx="452">
                  <c:v>43733</c:v>
                </c:pt>
                <c:pt idx="453">
                  <c:v>43734</c:v>
                </c:pt>
                <c:pt idx="454">
                  <c:v>43735</c:v>
                </c:pt>
                <c:pt idx="455">
                  <c:v>43738</c:v>
                </c:pt>
                <c:pt idx="456">
                  <c:v>43739</c:v>
                </c:pt>
                <c:pt idx="457">
                  <c:v>43740</c:v>
                </c:pt>
                <c:pt idx="458">
                  <c:v>43741</c:v>
                </c:pt>
                <c:pt idx="459">
                  <c:v>43742</c:v>
                </c:pt>
                <c:pt idx="460">
                  <c:v>43745</c:v>
                </c:pt>
                <c:pt idx="461">
                  <c:v>43746</c:v>
                </c:pt>
                <c:pt idx="462">
                  <c:v>43747</c:v>
                </c:pt>
                <c:pt idx="463">
                  <c:v>43748</c:v>
                </c:pt>
                <c:pt idx="464">
                  <c:v>43749</c:v>
                </c:pt>
                <c:pt idx="465">
                  <c:v>43752</c:v>
                </c:pt>
                <c:pt idx="466">
                  <c:v>43753</c:v>
                </c:pt>
                <c:pt idx="467">
                  <c:v>43754</c:v>
                </c:pt>
                <c:pt idx="468">
                  <c:v>43755</c:v>
                </c:pt>
                <c:pt idx="469">
                  <c:v>43756</c:v>
                </c:pt>
                <c:pt idx="470">
                  <c:v>43759</c:v>
                </c:pt>
                <c:pt idx="471">
                  <c:v>43760</c:v>
                </c:pt>
                <c:pt idx="472">
                  <c:v>43761</c:v>
                </c:pt>
                <c:pt idx="473">
                  <c:v>43762</c:v>
                </c:pt>
                <c:pt idx="474">
                  <c:v>43763</c:v>
                </c:pt>
                <c:pt idx="475">
                  <c:v>43766</c:v>
                </c:pt>
                <c:pt idx="476">
                  <c:v>43767</c:v>
                </c:pt>
                <c:pt idx="477">
                  <c:v>43768</c:v>
                </c:pt>
                <c:pt idx="478">
                  <c:v>43769</c:v>
                </c:pt>
                <c:pt idx="479">
                  <c:v>43770</c:v>
                </c:pt>
                <c:pt idx="480">
                  <c:v>43773</c:v>
                </c:pt>
                <c:pt idx="481">
                  <c:v>43774</c:v>
                </c:pt>
                <c:pt idx="482">
                  <c:v>43775</c:v>
                </c:pt>
                <c:pt idx="483">
                  <c:v>43776</c:v>
                </c:pt>
                <c:pt idx="484">
                  <c:v>43777</c:v>
                </c:pt>
                <c:pt idx="485">
                  <c:v>43780</c:v>
                </c:pt>
                <c:pt idx="486">
                  <c:v>43781</c:v>
                </c:pt>
                <c:pt idx="487">
                  <c:v>43782</c:v>
                </c:pt>
                <c:pt idx="488">
                  <c:v>43783</c:v>
                </c:pt>
                <c:pt idx="489">
                  <c:v>43784</c:v>
                </c:pt>
                <c:pt idx="490">
                  <c:v>43787</c:v>
                </c:pt>
                <c:pt idx="491">
                  <c:v>43788</c:v>
                </c:pt>
                <c:pt idx="492">
                  <c:v>43789</c:v>
                </c:pt>
                <c:pt idx="493">
                  <c:v>43790</c:v>
                </c:pt>
                <c:pt idx="494">
                  <c:v>43791</c:v>
                </c:pt>
                <c:pt idx="495">
                  <c:v>43794</c:v>
                </c:pt>
                <c:pt idx="496">
                  <c:v>43795</c:v>
                </c:pt>
                <c:pt idx="497">
                  <c:v>43796</c:v>
                </c:pt>
                <c:pt idx="498">
                  <c:v>43797</c:v>
                </c:pt>
                <c:pt idx="499">
                  <c:v>43798</c:v>
                </c:pt>
                <c:pt idx="500">
                  <c:v>43801</c:v>
                </c:pt>
                <c:pt idx="501">
                  <c:v>43802</c:v>
                </c:pt>
                <c:pt idx="502">
                  <c:v>43803</c:v>
                </c:pt>
                <c:pt idx="503">
                  <c:v>43804</c:v>
                </c:pt>
                <c:pt idx="504">
                  <c:v>43805</c:v>
                </c:pt>
                <c:pt idx="505">
                  <c:v>43808</c:v>
                </c:pt>
                <c:pt idx="506">
                  <c:v>43809</c:v>
                </c:pt>
                <c:pt idx="507">
                  <c:v>43810</c:v>
                </c:pt>
                <c:pt idx="508">
                  <c:v>43811</c:v>
                </c:pt>
                <c:pt idx="509">
                  <c:v>43812</c:v>
                </c:pt>
                <c:pt idx="510">
                  <c:v>43815</c:v>
                </c:pt>
                <c:pt idx="511">
                  <c:v>43816</c:v>
                </c:pt>
                <c:pt idx="512">
                  <c:v>43817</c:v>
                </c:pt>
                <c:pt idx="513">
                  <c:v>43818</c:v>
                </c:pt>
                <c:pt idx="514">
                  <c:v>43819</c:v>
                </c:pt>
                <c:pt idx="515">
                  <c:v>43822</c:v>
                </c:pt>
                <c:pt idx="516">
                  <c:v>43823</c:v>
                </c:pt>
                <c:pt idx="517">
                  <c:v>43824</c:v>
                </c:pt>
                <c:pt idx="518">
                  <c:v>43825</c:v>
                </c:pt>
                <c:pt idx="519">
                  <c:v>43826</c:v>
                </c:pt>
                <c:pt idx="520">
                  <c:v>43829</c:v>
                </c:pt>
                <c:pt idx="521">
                  <c:v>43830</c:v>
                </c:pt>
                <c:pt idx="522">
                  <c:v>43831</c:v>
                </c:pt>
                <c:pt idx="523">
                  <c:v>43832</c:v>
                </c:pt>
                <c:pt idx="524">
                  <c:v>43833</c:v>
                </c:pt>
                <c:pt idx="525">
                  <c:v>43836</c:v>
                </c:pt>
                <c:pt idx="526">
                  <c:v>43837</c:v>
                </c:pt>
                <c:pt idx="527">
                  <c:v>43838</c:v>
                </c:pt>
                <c:pt idx="528">
                  <c:v>43839</c:v>
                </c:pt>
                <c:pt idx="529">
                  <c:v>43840</c:v>
                </c:pt>
                <c:pt idx="530">
                  <c:v>43843</c:v>
                </c:pt>
                <c:pt idx="531">
                  <c:v>43844</c:v>
                </c:pt>
                <c:pt idx="532">
                  <c:v>43845</c:v>
                </c:pt>
                <c:pt idx="533">
                  <c:v>43846</c:v>
                </c:pt>
                <c:pt idx="534">
                  <c:v>43847</c:v>
                </c:pt>
                <c:pt idx="535">
                  <c:v>43850</c:v>
                </c:pt>
                <c:pt idx="536">
                  <c:v>43851</c:v>
                </c:pt>
                <c:pt idx="537">
                  <c:v>43852</c:v>
                </c:pt>
                <c:pt idx="538">
                  <c:v>43853</c:v>
                </c:pt>
                <c:pt idx="539">
                  <c:v>43854</c:v>
                </c:pt>
                <c:pt idx="540">
                  <c:v>43857</c:v>
                </c:pt>
                <c:pt idx="541">
                  <c:v>43858</c:v>
                </c:pt>
                <c:pt idx="542">
                  <c:v>43859</c:v>
                </c:pt>
                <c:pt idx="543">
                  <c:v>43860</c:v>
                </c:pt>
                <c:pt idx="544">
                  <c:v>43861</c:v>
                </c:pt>
                <c:pt idx="545">
                  <c:v>43864</c:v>
                </c:pt>
                <c:pt idx="546">
                  <c:v>43865</c:v>
                </c:pt>
                <c:pt idx="547">
                  <c:v>43866</c:v>
                </c:pt>
                <c:pt idx="548">
                  <c:v>43867</c:v>
                </c:pt>
                <c:pt idx="549">
                  <c:v>43868</c:v>
                </c:pt>
                <c:pt idx="550">
                  <c:v>43871</c:v>
                </c:pt>
                <c:pt idx="551">
                  <c:v>43872</c:v>
                </c:pt>
                <c:pt idx="552">
                  <c:v>43873</c:v>
                </c:pt>
                <c:pt idx="553">
                  <c:v>43874</c:v>
                </c:pt>
                <c:pt idx="554">
                  <c:v>43875</c:v>
                </c:pt>
                <c:pt idx="555">
                  <c:v>43878</c:v>
                </c:pt>
                <c:pt idx="556">
                  <c:v>43879</c:v>
                </c:pt>
                <c:pt idx="557">
                  <c:v>43880</c:v>
                </c:pt>
                <c:pt idx="558">
                  <c:v>43881</c:v>
                </c:pt>
                <c:pt idx="559">
                  <c:v>43882</c:v>
                </c:pt>
                <c:pt idx="560">
                  <c:v>43885</c:v>
                </c:pt>
                <c:pt idx="561">
                  <c:v>43886</c:v>
                </c:pt>
                <c:pt idx="562">
                  <c:v>43887</c:v>
                </c:pt>
                <c:pt idx="563">
                  <c:v>43888</c:v>
                </c:pt>
                <c:pt idx="564">
                  <c:v>43889</c:v>
                </c:pt>
                <c:pt idx="565">
                  <c:v>43892</c:v>
                </c:pt>
                <c:pt idx="566">
                  <c:v>43893</c:v>
                </c:pt>
                <c:pt idx="567">
                  <c:v>43894</c:v>
                </c:pt>
                <c:pt idx="568">
                  <c:v>43895</c:v>
                </c:pt>
                <c:pt idx="569">
                  <c:v>43896</c:v>
                </c:pt>
                <c:pt idx="570">
                  <c:v>43899</c:v>
                </c:pt>
                <c:pt idx="571">
                  <c:v>43900</c:v>
                </c:pt>
                <c:pt idx="572">
                  <c:v>43901</c:v>
                </c:pt>
                <c:pt idx="573">
                  <c:v>43902</c:v>
                </c:pt>
                <c:pt idx="574">
                  <c:v>43903</c:v>
                </c:pt>
                <c:pt idx="575">
                  <c:v>43906</c:v>
                </c:pt>
                <c:pt idx="576">
                  <c:v>43907</c:v>
                </c:pt>
                <c:pt idx="577">
                  <c:v>43908</c:v>
                </c:pt>
                <c:pt idx="578">
                  <c:v>43909</c:v>
                </c:pt>
                <c:pt idx="579">
                  <c:v>43910</c:v>
                </c:pt>
                <c:pt idx="580">
                  <c:v>43913</c:v>
                </c:pt>
                <c:pt idx="581">
                  <c:v>43914</c:v>
                </c:pt>
                <c:pt idx="582">
                  <c:v>43915</c:v>
                </c:pt>
                <c:pt idx="583">
                  <c:v>43916</c:v>
                </c:pt>
                <c:pt idx="584">
                  <c:v>43917</c:v>
                </c:pt>
                <c:pt idx="585">
                  <c:v>43920</c:v>
                </c:pt>
                <c:pt idx="586">
                  <c:v>43921</c:v>
                </c:pt>
                <c:pt idx="587">
                  <c:v>43922</c:v>
                </c:pt>
                <c:pt idx="588">
                  <c:v>43923</c:v>
                </c:pt>
                <c:pt idx="589">
                  <c:v>43924</c:v>
                </c:pt>
                <c:pt idx="590">
                  <c:v>43927</c:v>
                </c:pt>
                <c:pt idx="591">
                  <c:v>43928</c:v>
                </c:pt>
                <c:pt idx="592">
                  <c:v>43929</c:v>
                </c:pt>
                <c:pt idx="593">
                  <c:v>43930</c:v>
                </c:pt>
                <c:pt idx="594">
                  <c:v>43931</c:v>
                </c:pt>
                <c:pt idx="595">
                  <c:v>43934</c:v>
                </c:pt>
                <c:pt idx="596">
                  <c:v>43935</c:v>
                </c:pt>
                <c:pt idx="597">
                  <c:v>43936</c:v>
                </c:pt>
                <c:pt idx="598">
                  <c:v>43937</c:v>
                </c:pt>
                <c:pt idx="599">
                  <c:v>43938</c:v>
                </c:pt>
                <c:pt idx="600">
                  <c:v>43941</c:v>
                </c:pt>
                <c:pt idx="601">
                  <c:v>43942</c:v>
                </c:pt>
                <c:pt idx="602">
                  <c:v>43943</c:v>
                </c:pt>
                <c:pt idx="603">
                  <c:v>43944</c:v>
                </c:pt>
                <c:pt idx="604">
                  <c:v>43945</c:v>
                </c:pt>
                <c:pt idx="605">
                  <c:v>43948</c:v>
                </c:pt>
                <c:pt idx="606">
                  <c:v>43949</c:v>
                </c:pt>
                <c:pt idx="607">
                  <c:v>43950</c:v>
                </c:pt>
                <c:pt idx="608">
                  <c:v>43951</c:v>
                </c:pt>
                <c:pt idx="609">
                  <c:v>43952</c:v>
                </c:pt>
                <c:pt idx="610">
                  <c:v>43955</c:v>
                </c:pt>
                <c:pt idx="611">
                  <c:v>43956</c:v>
                </c:pt>
                <c:pt idx="612">
                  <c:v>43957</c:v>
                </c:pt>
                <c:pt idx="613">
                  <c:v>43958</c:v>
                </c:pt>
                <c:pt idx="614">
                  <c:v>43959</c:v>
                </c:pt>
                <c:pt idx="615">
                  <c:v>43962</c:v>
                </c:pt>
                <c:pt idx="616">
                  <c:v>43963</c:v>
                </c:pt>
                <c:pt idx="617">
                  <c:v>43964</c:v>
                </c:pt>
                <c:pt idx="618">
                  <c:v>43965</c:v>
                </c:pt>
                <c:pt idx="619">
                  <c:v>43966</c:v>
                </c:pt>
                <c:pt idx="620">
                  <c:v>43969</c:v>
                </c:pt>
                <c:pt idx="621">
                  <c:v>43970</c:v>
                </c:pt>
                <c:pt idx="622">
                  <c:v>43971</c:v>
                </c:pt>
                <c:pt idx="623">
                  <c:v>43972</c:v>
                </c:pt>
                <c:pt idx="624">
                  <c:v>43973</c:v>
                </c:pt>
                <c:pt idx="625">
                  <c:v>43976</c:v>
                </c:pt>
                <c:pt idx="626">
                  <c:v>43977</c:v>
                </c:pt>
                <c:pt idx="627">
                  <c:v>43978</c:v>
                </c:pt>
                <c:pt idx="628">
                  <c:v>43979</c:v>
                </c:pt>
                <c:pt idx="629">
                  <c:v>43980</c:v>
                </c:pt>
                <c:pt idx="630">
                  <c:v>43983</c:v>
                </c:pt>
                <c:pt idx="631">
                  <c:v>43984</c:v>
                </c:pt>
                <c:pt idx="632">
                  <c:v>43985</c:v>
                </c:pt>
                <c:pt idx="633">
                  <c:v>43986</c:v>
                </c:pt>
                <c:pt idx="634">
                  <c:v>43987</c:v>
                </c:pt>
                <c:pt idx="635">
                  <c:v>43990</c:v>
                </c:pt>
                <c:pt idx="636">
                  <c:v>43991</c:v>
                </c:pt>
                <c:pt idx="637">
                  <c:v>43992</c:v>
                </c:pt>
                <c:pt idx="638">
                  <c:v>43993</c:v>
                </c:pt>
                <c:pt idx="639">
                  <c:v>43994</c:v>
                </c:pt>
                <c:pt idx="640">
                  <c:v>43997</c:v>
                </c:pt>
                <c:pt idx="641">
                  <c:v>43998</c:v>
                </c:pt>
                <c:pt idx="642">
                  <c:v>43999</c:v>
                </c:pt>
                <c:pt idx="643">
                  <c:v>44000</c:v>
                </c:pt>
                <c:pt idx="644">
                  <c:v>44001</c:v>
                </c:pt>
                <c:pt idx="645">
                  <c:v>44004</c:v>
                </c:pt>
                <c:pt idx="646">
                  <c:v>44005</c:v>
                </c:pt>
                <c:pt idx="647">
                  <c:v>44006</c:v>
                </c:pt>
                <c:pt idx="648">
                  <c:v>44007</c:v>
                </c:pt>
                <c:pt idx="649">
                  <c:v>44008</c:v>
                </c:pt>
                <c:pt idx="650">
                  <c:v>44011</c:v>
                </c:pt>
                <c:pt idx="651">
                  <c:v>44012</c:v>
                </c:pt>
                <c:pt idx="652">
                  <c:v>44013</c:v>
                </c:pt>
                <c:pt idx="653">
                  <c:v>44014</c:v>
                </c:pt>
                <c:pt idx="654">
                  <c:v>44015</c:v>
                </c:pt>
                <c:pt idx="655">
                  <c:v>44018</c:v>
                </c:pt>
                <c:pt idx="656">
                  <c:v>44019</c:v>
                </c:pt>
                <c:pt idx="657">
                  <c:v>44020</c:v>
                </c:pt>
                <c:pt idx="658">
                  <c:v>44021</c:v>
                </c:pt>
                <c:pt idx="659">
                  <c:v>44022</c:v>
                </c:pt>
                <c:pt idx="660">
                  <c:v>44025</c:v>
                </c:pt>
                <c:pt idx="661">
                  <c:v>44026</c:v>
                </c:pt>
                <c:pt idx="662">
                  <c:v>44027</c:v>
                </c:pt>
                <c:pt idx="663">
                  <c:v>44028</c:v>
                </c:pt>
                <c:pt idx="664">
                  <c:v>44029</c:v>
                </c:pt>
                <c:pt idx="665">
                  <c:v>44032</c:v>
                </c:pt>
                <c:pt idx="666">
                  <c:v>44033</c:v>
                </c:pt>
                <c:pt idx="667">
                  <c:v>44034</c:v>
                </c:pt>
                <c:pt idx="668">
                  <c:v>44035</c:v>
                </c:pt>
                <c:pt idx="669">
                  <c:v>44036</c:v>
                </c:pt>
                <c:pt idx="670">
                  <c:v>44039</c:v>
                </c:pt>
                <c:pt idx="671">
                  <c:v>44040</c:v>
                </c:pt>
                <c:pt idx="672">
                  <c:v>44041</c:v>
                </c:pt>
                <c:pt idx="673">
                  <c:v>44042</c:v>
                </c:pt>
                <c:pt idx="674">
                  <c:v>44043</c:v>
                </c:pt>
                <c:pt idx="675">
                  <c:v>44046</c:v>
                </c:pt>
                <c:pt idx="676">
                  <c:v>44047</c:v>
                </c:pt>
                <c:pt idx="677">
                  <c:v>44048</c:v>
                </c:pt>
                <c:pt idx="678">
                  <c:v>44049</c:v>
                </c:pt>
                <c:pt idx="679">
                  <c:v>44050</c:v>
                </c:pt>
                <c:pt idx="680">
                  <c:v>44053</c:v>
                </c:pt>
                <c:pt idx="681">
                  <c:v>44054</c:v>
                </c:pt>
                <c:pt idx="682">
                  <c:v>44055</c:v>
                </c:pt>
                <c:pt idx="683">
                  <c:v>44056</c:v>
                </c:pt>
                <c:pt idx="684">
                  <c:v>44057</c:v>
                </c:pt>
                <c:pt idx="685">
                  <c:v>44060</c:v>
                </c:pt>
                <c:pt idx="686">
                  <c:v>44061</c:v>
                </c:pt>
                <c:pt idx="687">
                  <c:v>44062</c:v>
                </c:pt>
                <c:pt idx="688">
                  <c:v>44063</c:v>
                </c:pt>
                <c:pt idx="689">
                  <c:v>44064</c:v>
                </c:pt>
                <c:pt idx="690">
                  <c:v>44067</c:v>
                </c:pt>
                <c:pt idx="691">
                  <c:v>44068</c:v>
                </c:pt>
                <c:pt idx="692">
                  <c:v>44069</c:v>
                </c:pt>
                <c:pt idx="693">
                  <c:v>44070</c:v>
                </c:pt>
                <c:pt idx="694">
                  <c:v>44071</c:v>
                </c:pt>
                <c:pt idx="695">
                  <c:v>44074</c:v>
                </c:pt>
                <c:pt idx="696">
                  <c:v>44075</c:v>
                </c:pt>
                <c:pt idx="697">
                  <c:v>44076</c:v>
                </c:pt>
                <c:pt idx="698">
                  <c:v>44077</c:v>
                </c:pt>
                <c:pt idx="699">
                  <c:v>44078</c:v>
                </c:pt>
                <c:pt idx="700">
                  <c:v>44081</c:v>
                </c:pt>
                <c:pt idx="701">
                  <c:v>44082</c:v>
                </c:pt>
                <c:pt idx="702">
                  <c:v>44083</c:v>
                </c:pt>
                <c:pt idx="703">
                  <c:v>44084</c:v>
                </c:pt>
                <c:pt idx="704">
                  <c:v>44085</c:v>
                </c:pt>
                <c:pt idx="705">
                  <c:v>44088</c:v>
                </c:pt>
                <c:pt idx="706">
                  <c:v>44089</c:v>
                </c:pt>
                <c:pt idx="707">
                  <c:v>44090</c:v>
                </c:pt>
                <c:pt idx="708">
                  <c:v>44091</c:v>
                </c:pt>
                <c:pt idx="709">
                  <c:v>44092</c:v>
                </c:pt>
                <c:pt idx="710">
                  <c:v>44095</c:v>
                </c:pt>
                <c:pt idx="711">
                  <c:v>44096</c:v>
                </c:pt>
                <c:pt idx="712">
                  <c:v>44097</c:v>
                </c:pt>
                <c:pt idx="713">
                  <c:v>44098</c:v>
                </c:pt>
                <c:pt idx="714">
                  <c:v>44099</c:v>
                </c:pt>
                <c:pt idx="715">
                  <c:v>44102</c:v>
                </c:pt>
                <c:pt idx="716">
                  <c:v>44103</c:v>
                </c:pt>
                <c:pt idx="717">
                  <c:v>44104</c:v>
                </c:pt>
                <c:pt idx="718">
                  <c:v>44105</c:v>
                </c:pt>
                <c:pt idx="719">
                  <c:v>44106</c:v>
                </c:pt>
                <c:pt idx="720">
                  <c:v>44109</c:v>
                </c:pt>
                <c:pt idx="721">
                  <c:v>44110</c:v>
                </c:pt>
                <c:pt idx="722">
                  <c:v>44111</c:v>
                </c:pt>
                <c:pt idx="723">
                  <c:v>44112</c:v>
                </c:pt>
                <c:pt idx="724">
                  <c:v>44113</c:v>
                </c:pt>
                <c:pt idx="725">
                  <c:v>44116</c:v>
                </c:pt>
                <c:pt idx="726">
                  <c:v>44117</c:v>
                </c:pt>
                <c:pt idx="727">
                  <c:v>44118</c:v>
                </c:pt>
                <c:pt idx="728">
                  <c:v>44119</c:v>
                </c:pt>
                <c:pt idx="729">
                  <c:v>44120</c:v>
                </c:pt>
                <c:pt idx="730">
                  <c:v>44123</c:v>
                </c:pt>
                <c:pt idx="731">
                  <c:v>44124</c:v>
                </c:pt>
                <c:pt idx="732">
                  <c:v>44125</c:v>
                </c:pt>
                <c:pt idx="733">
                  <c:v>44126</c:v>
                </c:pt>
                <c:pt idx="734">
                  <c:v>44127</c:v>
                </c:pt>
                <c:pt idx="735">
                  <c:v>44130</c:v>
                </c:pt>
                <c:pt idx="736">
                  <c:v>44131</c:v>
                </c:pt>
                <c:pt idx="737">
                  <c:v>44132</c:v>
                </c:pt>
                <c:pt idx="738">
                  <c:v>44133</c:v>
                </c:pt>
                <c:pt idx="739">
                  <c:v>44134</c:v>
                </c:pt>
                <c:pt idx="740">
                  <c:v>44137</c:v>
                </c:pt>
                <c:pt idx="741">
                  <c:v>44138</c:v>
                </c:pt>
                <c:pt idx="742">
                  <c:v>44139</c:v>
                </c:pt>
                <c:pt idx="743">
                  <c:v>44140</c:v>
                </c:pt>
                <c:pt idx="744">
                  <c:v>44141</c:v>
                </c:pt>
                <c:pt idx="745">
                  <c:v>44144</c:v>
                </c:pt>
                <c:pt idx="746">
                  <c:v>44145</c:v>
                </c:pt>
                <c:pt idx="747">
                  <c:v>44146</c:v>
                </c:pt>
                <c:pt idx="748">
                  <c:v>44147</c:v>
                </c:pt>
                <c:pt idx="749">
                  <c:v>44148</c:v>
                </c:pt>
                <c:pt idx="750">
                  <c:v>44151</c:v>
                </c:pt>
                <c:pt idx="751">
                  <c:v>44152</c:v>
                </c:pt>
                <c:pt idx="752">
                  <c:v>44153</c:v>
                </c:pt>
                <c:pt idx="753">
                  <c:v>44154</c:v>
                </c:pt>
                <c:pt idx="754">
                  <c:v>44155</c:v>
                </c:pt>
                <c:pt idx="755">
                  <c:v>44158</c:v>
                </c:pt>
                <c:pt idx="756">
                  <c:v>44159</c:v>
                </c:pt>
                <c:pt idx="757">
                  <c:v>44160</c:v>
                </c:pt>
                <c:pt idx="758">
                  <c:v>44161</c:v>
                </c:pt>
                <c:pt idx="759">
                  <c:v>44162</c:v>
                </c:pt>
                <c:pt idx="760">
                  <c:v>44165</c:v>
                </c:pt>
                <c:pt idx="761">
                  <c:v>44166</c:v>
                </c:pt>
                <c:pt idx="762">
                  <c:v>44167</c:v>
                </c:pt>
                <c:pt idx="763">
                  <c:v>44168</c:v>
                </c:pt>
                <c:pt idx="764">
                  <c:v>44169</c:v>
                </c:pt>
                <c:pt idx="765">
                  <c:v>44172</c:v>
                </c:pt>
                <c:pt idx="766">
                  <c:v>44173</c:v>
                </c:pt>
                <c:pt idx="767">
                  <c:v>44174</c:v>
                </c:pt>
                <c:pt idx="768">
                  <c:v>44175</c:v>
                </c:pt>
                <c:pt idx="769">
                  <c:v>44176</c:v>
                </c:pt>
                <c:pt idx="770">
                  <c:v>44179</c:v>
                </c:pt>
                <c:pt idx="771">
                  <c:v>44180</c:v>
                </c:pt>
                <c:pt idx="772">
                  <c:v>44181</c:v>
                </c:pt>
                <c:pt idx="773">
                  <c:v>44182</c:v>
                </c:pt>
                <c:pt idx="774">
                  <c:v>44183</c:v>
                </c:pt>
                <c:pt idx="775">
                  <c:v>44186</c:v>
                </c:pt>
                <c:pt idx="776">
                  <c:v>44187</c:v>
                </c:pt>
                <c:pt idx="777">
                  <c:v>44188</c:v>
                </c:pt>
                <c:pt idx="778">
                  <c:v>44189</c:v>
                </c:pt>
                <c:pt idx="779">
                  <c:v>44190</c:v>
                </c:pt>
                <c:pt idx="780">
                  <c:v>44193</c:v>
                </c:pt>
                <c:pt idx="781">
                  <c:v>44194</c:v>
                </c:pt>
                <c:pt idx="782">
                  <c:v>44195</c:v>
                </c:pt>
                <c:pt idx="783">
                  <c:v>44196</c:v>
                </c:pt>
                <c:pt idx="784">
                  <c:v>44197</c:v>
                </c:pt>
                <c:pt idx="785">
                  <c:v>44200</c:v>
                </c:pt>
                <c:pt idx="786">
                  <c:v>44201</c:v>
                </c:pt>
                <c:pt idx="787">
                  <c:v>44202</c:v>
                </c:pt>
                <c:pt idx="788">
                  <c:v>44203</c:v>
                </c:pt>
                <c:pt idx="789">
                  <c:v>44204</c:v>
                </c:pt>
                <c:pt idx="790">
                  <c:v>44207</c:v>
                </c:pt>
                <c:pt idx="791">
                  <c:v>44208</c:v>
                </c:pt>
                <c:pt idx="792">
                  <c:v>44209</c:v>
                </c:pt>
                <c:pt idx="793">
                  <c:v>44210</c:v>
                </c:pt>
                <c:pt idx="794">
                  <c:v>44211</c:v>
                </c:pt>
                <c:pt idx="795">
                  <c:v>44214</c:v>
                </c:pt>
                <c:pt idx="796">
                  <c:v>44215</c:v>
                </c:pt>
                <c:pt idx="797">
                  <c:v>44216</c:v>
                </c:pt>
                <c:pt idx="798">
                  <c:v>44217</c:v>
                </c:pt>
                <c:pt idx="799">
                  <c:v>44218</c:v>
                </c:pt>
                <c:pt idx="800">
                  <c:v>44221</c:v>
                </c:pt>
                <c:pt idx="801">
                  <c:v>44222</c:v>
                </c:pt>
                <c:pt idx="802">
                  <c:v>44223</c:v>
                </c:pt>
                <c:pt idx="803">
                  <c:v>44224</c:v>
                </c:pt>
                <c:pt idx="804">
                  <c:v>44225</c:v>
                </c:pt>
                <c:pt idx="805">
                  <c:v>44228</c:v>
                </c:pt>
                <c:pt idx="806">
                  <c:v>44229</c:v>
                </c:pt>
                <c:pt idx="807">
                  <c:v>44230</c:v>
                </c:pt>
                <c:pt idx="808">
                  <c:v>44231</c:v>
                </c:pt>
                <c:pt idx="809">
                  <c:v>44232</c:v>
                </c:pt>
                <c:pt idx="810">
                  <c:v>44235</c:v>
                </c:pt>
                <c:pt idx="811">
                  <c:v>44236</c:v>
                </c:pt>
                <c:pt idx="812">
                  <c:v>44237</c:v>
                </c:pt>
                <c:pt idx="813">
                  <c:v>44238</c:v>
                </c:pt>
                <c:pt idx="814">
                  <c:v>44239</c:v>
                </c:pt>
                <c:pt idx="815">
                  <c:v>44242</c:v>
                </c:pt>
                <c:pt idx="816">
                  <c:v>44243</c:v>
                </c:pt>
                <c:pt idx="817">
                  <c:v>44244</c:v>
                </c:pt>
                <c:pt idx="818">
                  <c:v>44245</c:v>
                </c:pt>
                <c:pt idx="819">
                  <c:v>44246</c:v>
                </c:pt>
                <c:pt idx="820">
                  <c:v>44249</c:v>
                </c:pt>
                <c:pt idx="821">
                  <c:v>44250</c:v>
                </c:pt>
                <c:pt idx="822">
                  <c:v>44251</c:v>
                </c:pt>
                <c:pt idx="823">
                  <c:v>44252</c:v>
                </c:pt>
                <c:pt idx="824">
                  <c:v>44253</c:v>
                </c:pt>
                <c:pt idx="825">
                  <c:v>44256</c:v>
                </c:pt>
                <c:pt idx="826">
                  <c:v>44257</c:v>
                </c:pt>
                <c:pt idx="827">
                  <c:v>44258</c:v>
                </c:pt>
                <c:pt idx="828">
                  <c:v>44259</c:v>
                </c:pt>
                <c:pt idx="829">
                  <c:v>44260</c:v>
                </c:pt>
                <c:pt idx="830">
                  <c:v>44263</c:v>
                </c:pt>
                <c:pt idx="831">
                  <c:v>44264</c:v>
                </c:pt>
                <c:pt idx="832">
                  <c:v>44265</c:v>
                </c:pt>
                <c:pt idx="833">
                  <c:v>44266</c:v>
                </c:pt>
                <c:pt idx="834">
                  <c:v>44267</c:v>
                </c:pt>
                <c:pt idx="835">
                  <c:v>44270</c:v>
                </c:pt>
                <c:pt idx="836">
                  <c:v>44271</c:v>
                </c:pt>
                <c:pt idx="837">
                  <c:v>44272</c:v>
                </c:pt>
                <c:pt idx="838">
                  <c:v>44273</c:v>
                </c:pt>
                <c:pt idx="839">
                  <c:v>44274</c:v>
                </c:pt>
                <c:pt idx="840">
                  <c:v>44277</c:v>
                </c:pt>
                <c:pt idx="841">
                  <c:v>44278</c:v>
                </c:pt>
                <c:pt idx="842">
                  <c:v>44279</c:v>
                </c:pt>
                <c:pt idx="843">
                  <c:v>44280</c:v>
                </c:pt>
                <c:pt idx="844">
                  <c:v>44281</c:v>
                </c:pt>
                <c:pt idx="845">
                  <c:v>44284</c:v>
                </c:pt>
                <c:pt idx="846">
                  <c:v>44285</c:v>
                </c:pt>
                <c:pt idx="847">
                  <c:v>44286</c:v>
                </c:pt>
                <c:pt idx="848">
                  <c:v>44287</c:v>
                </c:pt>
                <c:pt idx="849">
                  <c:v>44288</c:v>
                </c:pt>
                <c:pt idx="850">
                  <c:v>44291</c:v>
                </c:pt>
                <c:pt idx="851">
                  <c:v>44292</c:v>
                </c:pt>
                <c:pt idx="852">
                  <c:v>44293</c:v>
                </c:pt>
                <c:pt idx="853">
                  <c:v>44294</c:v>
                </c:pt>
                <c:pt idx="854">
                  <c:v>44295</c:v>
                </c:pt>
                <c:pt idx="855">
                  <c:v>44298</c:v>
                </c:pt>
                <c:pt idx="856">
                  <c:v>44299</c:v>
                </c:pt>
                <c:pt idx="857">
                  <c:v>44300</c:v>
                </c:pt>
                <c:pt idx="858">
                  <c:v>44301</c:v>
                </c:pt>
                <c:pt idx="859">
                  <c:v>44302</c:v>
                </c:pt>
                <c:pt idx="860">
                  <c:v>44305</c:v>
                </c:pt>
                <c:pt idx="861">
                  <c:v>44306</c:v>
                </c:pt>
                <c:pt idx="862">
                  <c:v>44307</c:v>
                </c:pt>
                <c:pt idx="863">
                  <c:v>44308</c:v>
                </c:pt>
                <c:pt idx="864">
                  <c:v>44309</c:v>
                </c:pt>
                <c:pt idx="865">
                  <c:v>44312</c:v>
                </c:pt>
                <c:pt idx="866">
                  <c:v>44313</c:v>
                </c:pt>
                <c:pt idx="867">
                  <c:v>44314</c:v>
                </c:pt>
                <c:pt idx="868">
                  <c:v>44315</c:v>
                </c:pt>
                <c:pt idx="869">
                  <c:v>44316</c:v>
                </c:pt>
                <c:pt idx="870">
                  <c:v>44319</c:v>
                </c:pt>
                <c:pt idx="871">
                  <c:v>44320</c:v>
                </c:pt>
                <c:pt idx="872">
                  <c:v>44321</c:v>
                </c:pt>
                <c:pt idx="873">
                  <c:v>44322</c:v>
                </c:pt>
                <c:pt idx="874">
                  <c:v>44323</c:v>
                </c:pt>
                <c:pt idx="875">
                  <c:v>44326</c:v>
                </c:pt>
                <c:pt idx="876">
                  <c:v>44327</c:v>
                </c:pt>
                <c:pt idx="877">
                  <c:v>44328</c:v>
                </c:pt>
                <c:pt idx="878">
                  <c:v>44329</c:v>
                </c:pt>
                <c:pt idx="879">
                  <c:v>44330</c:v>
                </c:pt>
                <c:pt idx="880">
                  <c:v>44333</c:v>
                </c:pt>
                <c:pt idx="881">
                  <c:v>44334</c:v>
                </c:pt>
                <c:pt idx="882">
                  <c:v>44335</c:v>
                </c:pt>
                <c:pt idx="883">
                  <c:v>44336</c:v>
                </c:pt>
                <c:pt idx="884">
                  <c:v>44337</c:v>
                </c:pt>
                <c:pt idx="885">
                  <c:v>44340</c:v>
                </c:pt>
                <c:pt idx="886">
                  <c:v>44341</c:v>
                </c:pt>
                <c:pt idx="887">
                  <c:v>44342</c:v>
                </c:pt>
                <c:pt idx="888">
                  <c:v>44343</c:v>
                </c:pt>
                <c:pt idx="889">
                  <c:v>44344</c:v>
                </c:pt>
                <c:pt idx="890">
                  <c:v>44347</c:v>
                </c:pt>
                <c:pt idx="891">
                  <c:v>44348</c:v>
                </c:pt>
                <c:pt idx="892">
                  <c:v>44349</c:v>
                </c:pt>
                <c:pt idx="893">
                  <c:v>44350</c:v>
                </c:pt>
                <c:pt idx="894">
                  <c:v>44351</c:v>
                </c:pt>
                <c:pt idx="895">
                  <c:v>44354</c:v>
                </c:pt>
                <c:pt idx="896">
                  <c:v>44355</c:v>
                </c:pt>
                <c:pt idx="897">
                  <c:v>44356</c:v>
                </c:pt>
                <c:pt idx="898">
                  <c:v>44357</c:v>
                </c:pt>
                <c:pt idx="899">
                  <c:v>44358</c:v>
                </c:pt>
                <c:pt idx="900">
                  <c:v>44361</c:v>
                </c:pt>
                <c:pt idx="901">
                  <c:v>44362</c:v>
                </c:pt>
                <c:pt idx="902">
                  <c:v>44363</c:v>
                </c:pt>
                <c:pt idx="903">
                  <c:v>44364</c:v>
                </c:pt>
                <c:pt idx="904">
                  <c:v>44365</c:v>
                </c:pt>
                <c:pt idx="905">
                  <c:v>44368</c:v>
                </c:pt>
                <c:pt idx="906">
                  <c:v>44369</c:v>
                </c:pt>
                <c:pt idx="907">
                  <c:v>44370</c:v>
                </c:pt>
                <c:pt idx="908">
                  <c:v>44371</c:v>
                </c:pt>
                <c:pt idx="909">
                  <c:v>44372</c:v>
                </c:pt>
                <c:pt idx="910">
                  <c:v>44375</c:v>
                </c:pt>
                <c:pt idx="911">
                  <c:v>44376</c:v>
                </c:pt>
                <c:pt idx="912">
                  <c:v>44377</c:v>
                </c:pt>
                <c:pt idx="913">
                  <c:v>44378</c:v>
                </c:pt>
                <c:pt idx="914">
                  <c:v>44379</c:v>
                </c:pt>
                <c:pt idx="915">
                  <c:v>44382</c:v>
                </c:pt>
                <c:pt idx="916">
                  <c:v>44383</c:v>
                </c:pt>
                <c:pt idx="917">
                  <c:v>44384</c:v>
                </c:pt>
                <c:pt idx="918">
                  <c:v>44385</c:v>
                </c:pt>
                <c:pt idx="919">
                  <c:v>44386</c:v>
                </c:pt>
                <c:pt idx="920">
                  <c:v>44389</c:v>
                </c:pt>
                <c:pt idx="921">
                  <c:v>44390</c:v>
                </c:pt>
                <c:pt idx="922">
                  <c:v>44391</c:v>
                </c:pt>
                <c:pt idx="923">
                  <c:v>44392</c:v>
                </c:pt>
                <c:pt idx="924">
                  <c:v>44393</c:v>
                </c:pt>
                <c:pt idx="925">
                  <c:v>44396</c:v>
                </c:pt>
                <c:pt idx="926">
                  <c:v>44397</c:v>
                </c:pt>
                <c:pt idx="927">
                  <c:v>44398</c:v>
                </c:pt>
                <c:pt idx="928">
                  <c:v>44399</c:v>
                </c:pt>
                <c:pt idx="929">
                  <c:v>44400</c:v>
                </c:pt>
                <c:pt idx="930">
                  <c:v>44403</c:v>
                </c:pt>
                <c:pt idx="931">
                  <c:v>44404</c:v>
                </c:pt>
                <c:pt idx="932">
                  <c:v>44405</c:v>
                </c:pt>
                <c:pt idx="933">
                  <c:v>44406</c:v>
                </c:pt>
                <c:pt idx="934">
                  <c:v>44407</c:v>
                </c:pt>
                <c:pt idx="935">
                  <c:v>44410</c:v>
                </c:pt>
                <c:pt idx="936">
                  <c:v>44411</c:v>
                </c:pt>
                <c:pt idx="937">
                  <c:v>44412</c:v>
                </c:pt>
                <c:pt idx="938">
                  <c:v>44413</c:v>
                </c:pt>
                <c:pt idx="939">
                  <c:v>44414</c:v>
                </c:pt>
                <c:pt idx="940">
                  <c:v>44417</c:v>
                </c:pt>
                <c:pt idx="941">
                  <c:v>44418</c:v>
                </c:pt>
                <c:pt idx="942">
                  <c:v>44419</c:v>
                </c:pt>
                <c:pt idx="943">
                  <c:v>44420</c:v>
                </c:pt>
                <c:pt idx="944">
                  <c:v>44421</c:v>
                </c:pt>
                <c:pt idx="945">
                  <c:v>44424</c:v>
                </c:pt>
                <c:pt idx="946">
                  <c:v>44425</c:v>
                </c:pt>
                <c:pt idx="947">
                  <c:v>44426</c:v>
                </c:pt>
                <c:pt idx="948">
                  <c:v>44427</c:v>
                </c:pt>
                <c:pt idx="949">
                  <c:v>44428</c:v>
                </c:pt>
                <c:pt idx="950">
                  <c:v>44431</c:v>
                </c:pt>
                <c:pt idx="951">
                  <c:v>44432</c:v>
                </c:pt>
                <c:pt idx="952">
                  <c:v>44433</c:v>
                </c:pt>
                <c:pt idx="953">
                  <c:v>44434</c:v>
                </c:pt>
                <c:pt idx="954">
                  <c:v>44435</c:v>
                </c:pt>
                <c:pt idx="955">
                  <c:v>44438</c:v>
                </c:pt>
                <c:pt idx="956">
                  <c:v>44439</c:v>
                </c:pt>
                <c:pt idx="957">
                  <c:v>44440</c:v>
                </c:pt>
                <c:pt idx="958">
                  <c:v>44441</c:v>
                </c:pt>
                <c:pt idx="959">
                  <c:v>44442</c:v>
                </c:pt>
                <c:pt idx="960">
                  <c:v>44445</c:v>
                </c:pt>
                <c:pt idx="961">
                  <c:v>44446</c:v>
                </c:pt>
                <c:pt idx="962">
                  <c:v>44447</c:v>
                </c:pt>
                <c:pt idx="963">
                  <c:v>44448</c:v>
                </c:pt>
                <c:pt idx="964">
                  <c:v>44449</c:v>
                </c:pt>
                <c:pt idx="965">
                  <c:v>44452</c:v>
                </c:pt>
                <c:pt idx="966">
                  <c:v>44453</c:v>
                </c:pt>
                <c:pt idx="967">
                  <c:v>44454</c:v>
                </c:pt>
                <c:pt idx="968">
                  <c:v>44455</c:v>
                </c:pt>
                <c:pt idx="969">
                  <c:v>44456</c:v>
                </c:pt>
                <c:pt idx="970">
                  <c:v>44459</c:v>
                </c:pt>
                <c:pt idx="971">
                  <c:v>44460</c:v>
                </c:pt>
                <c:pt idx="972">
                  <c:v>44461</c:v>
                </c:pt>
                <c:pt idx="973">
                  <c:v>44462</c:v>
                </c:pt>
                <c:pt idx="974">
                  <c:v>44463</c:v>
                </c:pt>
                <c:pt idx="975">
                  <c:v>44466</c:v>
                </c:pt>
                <c:pt idx="976">
                  <c:v>44467</c:v>
                </c:pt>
                <c:pt idx="977">
                  <c:v>44468</c:v>
                </c:pt>
                <c:pt idx="978">
                  <c:v>44469</c:v>
                </c:pt>
                <c:pt idx="979">
                  <c:v>44470</c:v>
                </c:pt>
                <c:pt idx="980">
                  <c:v>44473</c:v>
                </c:pt>
                <c:pt idx="981">
                  <c:v>44474</c:v>
                </c:pt>
                <c:pt idx="982">
                  <c:v>44475</c:v>
                </c:pt>
                <c:pt idx="983">
                  <c:v>44476</c:v>
                </c:pt>
                <c:pt idx="984">
                  <c:v>44477</c:v>
                </c:pt>
                <c:pt idx="985">
                  <c:v>44480</c:v>
                </c:pt>
                <c:pt idx="986">
                  <c:v>44481</c:v>
                </c:pt>
                <c:pt idx="987">
                  <c:v>44482</c:v>
                </c:pt>
                <c:pt idx="988">
                  <c:v>44483</c:v>
                </c:pt>
                <c:pt idx="989">
                  <c:v>44484</c:v>
                </c:pt>
                <c:pt idx="990">
                  <c:v>44487</c:v>
                </c:pt>
                <c:pt idx="991">
                  <c:v>44488</c:v>
                </c:pt>
                <c:pt idx="992">
                  <c:v>44489</c:v>
                </c:pt>
                <c:pt idx="993">
                  <c:v>44490</c:v>
                </c:pt>
                <c:pt idx="994">
                  <c:v>44491</c:v>
                </c:pt>
                <c:pt idx="995">
                  <c:v>44494</c:v>
                </c:pt>
                <c:pt idx="996">
                  <c:v>44495</c:v>
                </c:pt>
                <c:pt idx="997">
                  <c:v>44496</c:v>
                </c:pt>
                <c:pt idx="998">
                  <c:v>44497</c:v>
                </c:pt>
                <c:pt idx="999">
                  <c:v>44498</c:v>
                </c:pt>
                <c:pt idx="1000">
                  <c:v>44501</c:v>
                </c:pt>
                <c:pt idx="1001">
                  <c:v>44502</c:v>
                </c:pt>
                <c:pt idx="1002">
                  <c:v>44503</c:v>
                </c:pt>
                <c:pt idx="1003">
                  <c:v>44504</c:v>
                </c:pt>
                <c:pt idx="1004">
                  <c:v>44505</c:v>
                </c:pt>
                <c:pt idx="1005">
                  <c:v>44508</c:v>
                </c:pt>
                <c:pt idx="1006">
                  <c:v>44509</c:v>
                </c:pt>
                <c:pt idx="1007">
                  <c:v>44510</c:v>
                </c:pt>
                <c:pt idx="1008">
                  <c:v>44511</c:v>
                </c:pt>
                <c:pt idx="1009">
                  <c:v>44512</c:v>
                </c:pt>
                <c:pt idx="1010">
                  <c:v>44515</c:v>
                </c:pt>
                <c:pt idx="1011">
                  <c:v>44516</c:v>
                </c:pt>
                <c:pt idx="1012">
                  <c:v>44517</c:v>
                </c:pt>
                <c:pt idx="1013">
                  <c:v>44518</c:v>
                </c:pt>
                <c:pt idx="1014">
                  <c:v>44519</c:v>
                </c:pt>
                <c:pt idx="1015">
                  <c:v>44522</c:v>
                </c:pt>
                <c:pt idx="1016">
                  <c:v>44523</c:v>
                </c:pt>
                <c:pt idx="1017">
                  <c:v>44524</c:v>
                </c:pt>
                <c:pt idx="1018">
                  <c:v>44525</c:v>
                </c:pt>
                <c:pt idx="1019">
                  <c:v>44526</c:v>
                </c:pt>
                <c:pt idx="1020">
                  <c:v>44529</c:v>
                </c:pt>
                <c:pt idx="1021">
                  <c:v>44530</c:v>
                </c:pt>
                <c:pt idx="1022">
                  <c:v>44531</c:v>
                </c:pt>
                <c:pt idx="1023">
                  <c:v>44532</c:v>
                </c:pt>
                <c:pt idx="1024">
                  <c:v>44533</c:v>
                </c:pt>
                <c:pt idx="1025">
                  <c:v>44536</c:v>
                </c:pt>
                <c:pt idx="1026">
                  <c:v>44537</c:v>
                </c:pt>
                <c:pt idx="1027">
                  <c:v>44538</c:v>
                </c:pt>
                <c:pt idx="1028">
                  <c:v>44539</c:v>
                </c:pt>
                <c:pt idx="1029">
                  <c:v>44540</c:v>
                </c:pt>
                <c:pt idx="1030">
                  <c:v>44543</c:v>
                </c:pt>
                <c:pt idx="1031">
                  <c:v>44544</c:v>
                </c:pt>
                <c:pt idx="1032">
                  <c:v>44545</c:v>
                </c:pt>
                <c:pt idx="1033">
                  <c:v>44546</c:v>
                </c:pt>
                <c:pt idx="1034">
                  <c:v>44547</c:v>
                </c:pt>
                <c:pt idx="1035">
                  <c:v>44550</c:v>
                </c:pt>
                <c:pt idx="1036">
                  <c:v>44551</c:v>
                </c:pt>
                <c:pt idx="1037">
                  <c:v>44552</c:v>
                </c:pt>
                <c:pt idx="1038">
                  <c:v>44553</c:v>
                </c:pt>
                <c:pt idx="1039">
                  <c:v>44554</c:v>
                </c:pt>
                <c:pt idx="1040">
                  <c:v>44557</c:v>
                </c:pt>
                <c:pt idx="1041">
                  <c:v>44558</c:v>
                </c:pt>
                <c:pt idx="1042">
                  <c:v>44559</c:v>
                </c:pt>
                <c:pt idx="1043">
                  <c:v>44560</c:v>
                </c:pt>
                <c:pt idx="1044">
                  <c:v>44561</c:v>
                </c:pt>
                <c:pt idx="1045">
                  <c:v>44564</c:v>
                </c:pt>
                <c:pt idx="1046">
                  <c:v>44565</c:v>
                </c:pt>
                <c:pt idx="1047">
                  <c:v>44566</c:v>
                </c:pt>
                <c:pt idx="1048">
                  <c:v>44567</c:v>
                </c:pt>
                <c:pt idx="1049">
                  <c:v>44568</c:v>
                </c:pt>
                <c:pt idx="1050">
                  <c:v>44571</c:v>
                </c:pt>
                <c:pt idx="1051">
                  <c:v>44572</c:v>
                </c:pt>
                <c:pt idx="1052">
                  <c:v>44573</c:v>
                </c:pt>
                <c:pt idx="1053">
                  <c:v>44574</c:v>
                </c:pt>
                <c:pt idx="1054">
                  <c:v>44575</c:v>
                </c:pt>
                <c:pt idx="1055">
                  <c:v>44578</c:v>
                </c:pt>
                <c:pt idx="1056">
                  <c:v>44579</c:v>
                </c:pt>
                <c:pt idx="1057">
                  <c:v>44580</c:v>
                </c:pt>
                <c:pt idx="1058">
                  <c:v>44581</c:v>
                </c:pt>
                <c:pt idx="1059">
                  <c:v>44582</c:v>
                </c:pt>
                <c:pt idx="1060">
                  <c:v>44585</c:v>
                </c:pt>
                <c:pt idx="1061">
                  <c:v>44586</c:v>
                </c:pt>
                <c:pt idx="1062">
                  <c:v>44587</c:v>
                </c:pt>
                <c:pt idx="1063">
                  <c:v>44588</c:v>
                </c:pt>
                <c:pt idx="1064">
                  <c:v>44589</c:v>
                </c:pt>
                <c:pt idx="1065">
                  <c:v>44592</c:v>
                </c:pt>
                <c:pt idx="1066">
                  <c:v>44593</c:v>
                </c:pt>
                <c:pt idx="1067">
                  <c:v>44594</c:v>
                </c:pt>
                <c:pt idx="1068">
                  <c:v>44595</c:v>
                </c:pt>
                <c:pt idx="1069">
                  <c:v>44596</c:v>
                </c:pt>
                <c:pt idx="1070">
                  <c:v>44599</c:v>
                </c:pt>
                <c:pt idx="1071">
                  <c:v>44600</c:v>
                </c:pt>
                <c:pt idx="1072">
                  <c:v>44601</c:v>
                </c:pt>
                <c:pt idx="1073">
                  <c:v>44602</c:v>
                </c:pt>
                <c:pt idx="1074">
                  <c:v>44603</c:v>
                </c:pt>
                <c:pt idx="1075">
                  <c:v>44606</c:v>
                </c:pt>
                <c:pt idx="1076">
                  <c:v>44607</c:v>
                </c:pt>
                <c:pt idx="1077">
                  <c:v>44608</c:v>
                </c:pt>
                <c:pt idx="1078">
                  <c:v>44609</c:v>
                </c:pt>
                <c:pt idx="1079">
                  <c:v>44610</c:v>
                </c:pt>
                <c:pt idx="1080">
                  <c:v>44613</c:v>
                </c:pt>
                <c:pt idx="1081">
                  <c:v>44614</c:v>
                </c:pt>
                <c:pt idx="1082">
                  <c:v>44615</c:v>
                </c:pt>
                <c:pt idx="1083">
                  <c:v>44616</c:v>
                </c:pt>
                <c:pt idx="1084">
                  <c:v>44617</c:v>
                </c:pt>
                <c:pt idx="1085">
                  <c:v>44620</c:v>
                </c:pt>
                <c:pt idx="1086">
                  <c:v>44621</c:v>
                </c:pt>
                <c:pt idx="1087">
                  <c:v>44622</c:v>
                </c:pt>
                <c:pt idx="1088">
                  <c:v>44623</c:v>
                </c:pt>
                <c:pt idx="1089">
                  <c:v>44624</c:v>
                </c:pt>
                <c:pt idx="1090">
                  <c:v>44627</c:v>
                </c:pt>
                <c:pt idx="1091">
                  <c:v>44628</c:v>
                </c:pt>
                <c:pt idx="1092">
                  <c:v>44629</c:v>
                </c:pt>
                <c:pt idx="1093">
                  <c:v>44630</c:v>
                </c:pt>
                <c:pt idx="1094">
                  <c:v>44631</c:v>
                </c:pt>
                <c:pt idx="1095">
                  <c:v>44634</c:v>
                </c:pt>
                <c:pt idx="1096">
                  <c:v>44635</c:v>
                </c:pt>
                <c:pt idx="1097">
                  <c:v>44636</c:v>
                </c:pt>
                <c:pt idx="1098">
                  <c:v>44637</c:v>
                </c:pt>
                <c:pt idx="1099">
                  <c:v>44638</c:v>
                </c:pt>
                <c:pt idx="1100">
                  <c:v>44641</c:v>
                </c:pt>
                <c:pt idx="1101">
                  <c:v>44642</c:v>
                </c:pt>
                <c:pt idx="1102">
                  <c:v>44643</c:v>
                </c:pt>
                <c:pt idx="1103">
                  <c:v>44644</c:v>
                </c:pt>
                <c:pt idx="1104">
                  <c:v>44645</c:v>
                </c:pt>
                <c:pt idx="1105">
                  <c:v>44648</c:v>
                </c:pt>
                <c:pt idx="1106">
                  <c:v>44649</c:v>
                </c:pt>
                <c:pt idx="1107">
                  <c:v>44650</c:v>
                </c:pt>
                <c:pt idx="1108">
                  <c:v>44651</c:v>
                </c:pt>
                <c:pt idx="1109">
                  <c:v>44652</c:v>
                </c:pt>
                <c:pt idx="1110">
                  <c:v>44655</c:v>
                </c:pt>
                <c:pt idx="1111">
                  <c:v>44656</c:v>
                </c:pt>
                <c:pt idx="1112">
                  <c:v>44657</c:v>
                </c:pt>
                <c:pt idx="1113">
                  <c:v>44658</c:v>
                </c:pt>
                <c:pt idx="1114">
                  <c:v>44659</c:v>
                </c:pt>
                <c:pt idx="1115">
                  <c:v>44662</c:v>
                </c:pt>
                <c:pt idx="1116">
                  <c:v>44663</c:v>
                </c:pt>
                <c:pt idx="1117">
                  <c:v>44664</c:v>
                </c:pt>
                <c:pt idx="1118">
                  <c:v>44665</c:v>
                </c:pt>
                <c:pt idx="1119">
                  <c:v>44666</c:v>
                </c:pt>
                <c:pt idx="1120">
                  <c:v>44669</c:v>
                </c:pt>
                <c:pt idx="1121">
                  <c:v>44670</c:v>
                </c:pt>
                <c:pt idx="1122">
                  <c:v>44671</c:v>
                </c:pt>
                <c:pt idx="1123">
                  <c:v>44672</c:v>
                </c:pt>
                <c:pt idx="1124">
                  <c:v>44673</c:v>
                </c:pt>
                <c:pt idx="1125">
                  <c:v>44676</c:v>
                </c:pt>
                <c:pt idx="1126">
                  <c:v>44677</c:v>
                </c:pt>
                <c:pt idx="1127">
                  <c:v>44678</c:v>
                </c:pt>
                <c:pt idx="1128">
                  <c:v>44679</c:v>
                </c:pt>
                <c:pt idx="1129">
                  <c:v>44680</c:v>
                </c:pt>
                <c:pt idx="1130">
                  <c:v>44683</c:v>
                </c:pt>
                <c:pt idx="1131">
                  <c:v>44684</c:v>
                </c:pt>
                <c:pt idx="1132">
                  <c:v>44685</c:v>
                </c:pt>
                <c:pt idx="1133">
                  <c:v>44686</c:v>
                </c:pt>
                <c:pt idx="1134">
                  <c:v>44687</c:v>
                </c:pt>
                <c:pt idx="1135">
                  <c:v>44690</c:v>
                </c:pt>
                <c:pt idx="1136">
                  <c:v>44691</c:v>
                </c:pt>
                <c:pt idx="1137">
                  <c:v>44692</c:v>
                </c:pt>
                <c:pt idx="1138">
                  <c:v>44693</c:v>
                </c:pt>
                <c:pt idx="1139">
                  <c:v>44694</c:v>
                </c:pt>
                <c:pt idx="1140">
                  <c:v>44697</c:v>
                </c:pt>
                <c:pt idx="1141">
                  <c:v>44698</c:v>
                </c:pt>
                <c:pt idx="1142">
                  <c:v>44699</c:v>
                </c:pt>
                <c:pt idx="1143">
                  <c:v>44700</c:v>
                </c:pt>
                <c:pt idx="1144">
                  <c:v>44701</c:v>
                </c:pt>
                <c:pt idx="1145">
                  <c:v>44704</c:v>
                </c:pt>
                <c:pt idx="1146">
                  <c:v>44705</c:v>
                </c:pt>
                <c:pt idx="1147">
                  <c:v>44706</c:v>
                </c:pt>
                <c:pt idx="1148">
                  <c:v>44707</c:v>
                </c:pt>
                <c:pt idx="1149">
                  <c:v>44708</c:v>
                </c:pt>
                <c:pt idx="1150">
                  <c:v>44711</c:v>
                </c:pt>
                <c:pt idx="1151">
                  <c:v>44712</c:v>
                </c:pt>
                <c:pt idx="1152">
                  <c:v>44713</c:v>
                </c:pt>
                <c:pt idx="1153">
                  <c:v>44714</c:v>
                </c:pt>
                <c:pt idx="1154">
                  <c:v>44715</c:v>
                </c:pt>
                <c:pt idx="1155">
                  <c:v>44718</c:v>
                </c:pt>
                <c:pt idx="1156">
                  <c:v>44719</c:v>
                </c:pt>
                <c:pt idx="1157">
                  <c:v>44720</c:v>
                </c:pt>
                <c:pt idx="1158">
                  <c:v>44721</c:v>
                </c:pt>
                <c:pt idx="1159">
                  <c:v>44722</c:v>
                </c:pt>
                <c:pt idx="1160">
                  <c:v>44725</c:v>
                </c:pt>
                <c:pt idx="1161">
                  <c:v>44726</c:v>
                </c:pt>
                <c:pt idx="1162">
                  <c:v>44727</c:v>
                </c:pt>
                <c:pt idx="1163">
                  <c:v>44728</c:v>
                </c:pt>
                <c:pt idx="1164">
                  <c:v>44729</c:v>
                </c:pt>
                <c:pt idx="1165">
                  <c:v>44732</c:v>
                </c:pt>
                <c:pt idx="1166">
                  <c:v>44733</c:v>
                </c:pt>
                <c:pt idx="1167">
                  <c:v>44734</c:v>
                </c:pt>
                <c:pt idx="1168">
                  <c:v>44735</c:v>
                </c:pt>
                <c:pt idx="1169">
                  <c:v>44736</c:v>
                </c:pt>
                <c:pt idx="1170">
                  <c:v>44739</c:v>
                </c:pt>
                <c:pt idx="1171">
                  <c:v>44740</c:v>
                </c:pt>
                <c:pt idx="1172">
                  <c:v>44741</c:v>
                </c:pt>
                <c:pt idx="1173">
                  <c:v>44742</c:v>
                </c:pt>
                <c:pt idx="1174">
                  <c:v>44743</c:v>
                </c:pt>
                <c:pt idx="1175">
                  <c:v>44746</c:v>
                </c:pt>
                <c:pt idx="1176">
                  <c:v>44747</c:v>
                </c:pt>
                <c:pt idx="1177">
                  <c:v>44748</c:v>
                </c:pt>
                <c:pt idx="1178">
                  <c:v>44749</c:v>
                </c:pt>
                <c:pt idx="1179">
                  <c:v>44750</c:v>
                </c:pt>
                <c:pt idx="1180">
                  <c:v>44753</c:v>
                </c:pt>
                <c:pt idx="1181">
                  <c:v>44754</c:v>
                </c:pt>
                <c:pt idx="1182">
                  <c:v>44755</c:v>
                </c:pt>
                <c:pt idx="1183">
                  <c:v>44756</c:v>
                </c:pt>
                <c:pt idx="1184">
                  <c:v>44757</c:v>
                </c:pt>
                <c:pt idx="1185">
                  <c:v>44760</c:v>
                </c:pt>
                <c:pt idx="1186">
                  <c:v>44761</c:v>
                </c:pt>
                <c:pt idx="1187">
                  <c:v>44762</c:v>
                </c:pt>
                <c:pt idx="1188">
                  <c:v>44763</c:v>
                </c:pt>
                <c:pt idx="1189">
                  <c:v>44764</c:v>
                </c:pt>
                <c:pt idx="1190">
                  <c:v>44767</c:v>
                </c:pt>
                <c:pt idx="1191">
                  <c:v>44768</c:v>
                </c:pt>
                <c:pt idx="1192">
                  <c:v>44769</c:v>
                </c:pt>
                <c:pt idx="1193">
                  <c:v>44770</c:v>
                </c:pt>
                <c:pt idx="1194">
                  <c:v>44771</c:v>
                </c:pt>
                <c:pt idx="1195">
                  <c:v>44774</c:v>
                </c:pt>
                <c:pt idx="1196">
                  <c:v>44775</c:v>
                </c:pt>
                <c:pt idx="1197">
                  <c:v>44776</c:v>
                </c:pt>
                <c:pt idx="1198">
                  <c:v>44777</c:v>
                </c:pt>
                <c:pt idx="1199">
                  <c:v>44778</c:v>
                </c:pt>
                <c:pt idx="1200">
                  <c:v>44781</c:v>
                </c:pt>
                <c:pt idx="1201">
                  <c:v>44782</c:v>
                </c:pt>
                <c:pt idx="1202">
                  <c:v>44783</c:v>
                </c:pt>
                <c:pt idx="1203">
                  <c:v>44784</c:v>
                </c:pt>
                <c:pt idx="1204">
                  <c:v>44785</c:v>
                </c:pt>
                <c:pt idx="1205">
                  <c:v>44788</c:v>
                </c:pt>
                <c:pt idx="1206">
                  <c:v>44789</c:v>
                </c:pt>
                <c:pt idx="1207">
                  <c:v>44790</c:v>
                </c:pt>
                <c:pt idx="1208">
                  <c:v>44791</c:v>
                </c:pt>
                <c:pt idx="1209">
                  <c:v>44792</c:v>
                </c:pt>
                <c:pt idx="1210">
                  <c:v>44795</c:v>
                </c:pt>
                <c:pt idx="1211">
                  <c:v>44796</c:v>
                </c:pt>
                <c:pt idx="1212">
                  <c:v>44797</c:v>
                </c:pt>
                <c:pt idx="1213">
                  <c:v>44798</c:v>
                </c:pt>
                <c:pt idx="1214">
                  <c:v>44799</c:v>
                </c:pt>
                <c:pt idx="1215">
                  <c:v>44802</c:v>
                </c:pt>
                <c:pt idx="1216">
                  <c:v>44803</c:v>
                </c:pt>
                <c:pt idx="1217">
                  <c:v>44804</c:v>
                </c:pt>
                <c:pt idx="1218">
                  <c:v>44805</c:v>
                </c:pt>
                <c:pt idx="1219">
                  <c:v>44806</c:v>
                </c:pt>
                <c:pt idx="1220">
                  <c:v>44809</c:v>
                </c:pt>
                <c:pt idx="1221">
                  <c:v>44810</c:v>
                </c:pt>
                <c:pt idx="1222">
                  <c:v>44811</c:v>
                </c:pt>
                <c:pt idx="1223">
                  <c:v>44812</c:v>
                </c:pt>
                <c:pt idx="1224">
                  <c:v>44813</c:v>
                </c:pt>
                <c:pt idx="1225">
                  <c:v>44816</c:v>
                </c:pt>
                <c:pt idx="1226">
                  <c:v>44817</c:v>
                </c:pt>
                <c:pt idx="1227">
                  <c:v>44818</c:v>
                </c:pt>
                <c:pt idx="1228">
                  <c:v>44819</c:v>
                </c:pt>
                <c:pt idx="1229">
                  <c:v>44820</c:v>
                </c:pt>
                <c:pt idx="1230">
                  <c:v>44823</c:v>
                </c:pt>
                <c:pt idx="1231">
                  <c:v>44824</c:v>
                </c:pt>
                <c:pt idx="1232">
                  <c:v>44825</c:v>
                </c:pt>
                <c:pt idx="1233">
                  <c:v>44826</c:v>
                </c:pt>
                <c:pt idx="1234">
                  <c:v>44827</c:v>
                </c:pt>
                <c:pt idx="1235">
                  <c:v>44830</c:v>
                </c:pt>
                <c:pt idx="1236">
                  <c:v>44831</c:v>
                </c:pt>
                <c:pt idx="1237">
                  <c:v>44832</c:v>
                </c:pt>
                <c:pt idx="1238">
                  <c:v>44833</c:v>
                </c:pt>
                <c:pt idx="1239">
                  <c:v>44834</c:v>
                </c:pt>
                <c:pt idx="1240">
                  <c:v>44837</c:v>
                </c:pt>
                <c:pt idx="1241">
                  <c:v>44838</c:v>
                </c:pt>
                <c:pt idx="1242">
                  <c:v>44839</c:v>
                </c:pt>
                <c:pt idx="1243">
                  <c:v>44840</c:v>
                </c:pt>
                <c:pt idx="1244">
                  <c:v>44841</c:v>
                </c:pt>
                <c:pt idx="1245">
                  <c:v>44844</c:v>
                </c:pt>
                <c:pt idx="1246">
                  <c:v>44845</c:v>
                </c:pt>
                <c:pt idx="1247">
                  <c:v>44846</c:v>
                </c:pt>
                <c:pt idx="1248">
                  <c:v>44847</c:v>
                </c:pt>
                <c:pt idx="1249">
                  <c:v>44848</c:v>
                </c:pt>
                <c:pt idx="1250">
                  <c:v>44851</c:v>
                </c:pt>
                <c:pt idx="1251">
                  <c:v>44852</c:v>
                </c:pt>
                <c:pt idx="1252">
                  <c:v>44853</c:v>
                </c:pt>
                <c:pt idx="1253">
                  <c:v>44854</c:v>
                </c:pt>
                <c:pt idx="1254">
                  <c:v>44855</c:v>
                </c:pt>
                <c:pt idx="1255">
                  <c:v>44858</c:v>
                </c:pt>
                <c:pt idx="1256">
                  <c:v>44859</c:v>
                </c:pt>
                <c:pt idx="1257">
                  <c:v>44860</c:v>
                </c:pt>
                <c:pt idx="1258">
                  <c:v>44861</c:v>
                </c:pt>
                <c:pt idx="1259">
                  <c:v>44862</c:v>
                </c:pt>
                <c:pt idx="1260">
                  <c:v>44865</c:v>
                </c:pt>
                <c:pt idx="1261">
                  <c:v>44866</c:v>
                </c:pt>
                <c:pt idx="1262">
                  <c:v>44867</c:v>
                </c:pt>
                <c:pt idx="1263">
                  <c:v>44868</c:v>
                </c:pt>
                <c:pt idx="1264">
                  <c:v>44869</c:v>
                </c:pt>
                <c:pt idx="1265">
                  <c:v>44872</c:v>
                </c:pt>
                <c:pt idx="1266">
                  <c:v>44873</c:v>
                </c:pt>
                <c:pt idx="1267">
                  <c:v>44874</c:v>
                </c:pt>
                <c:pt idx="1268">
                  <c:v>44875</c:v>
                </c:pt>
                <c:pt idx="1269">
                  <c:v>44876</c:v>
                </c:pt>
                <c:pt idx="1270">
                  <c:v>44879</c:v>
                </c:pt>
                <c:pt idx="1271">
                  <c:v>44880</c:v>
                </c:pt>
                <c:pt idx="1272">
                  <c:v>44881</c:v>
                </c:pt>
                <c:pt idx="1273">
                  <c:v>44882</c:v>
                </c:pt>
                <c:pt idx="1274">
                  <c:v>44883</c:v>
                </c:pt>
                <c:pt idx="1275">
                  <c:v>44886</c:v>
                </c:pt>
                <c:pt idx="1276">
                  <c:v>44887</c:v>
                </c:pt>
                <c:pt idx="1277">
                  <c:v>44888</c:v>
                </c:pt>
                <c:pt idx="1278">
                  <c:v>44889</c:v>
                </c:pt>
                <c:pt idx="1279">
                  <c:v>44890</c:v>
                </c:pt>
                <c:pt idx="1280">
                  <c:v>44893</c:v>
                </c:pt>
                <c:pt idx="1281">
                  <c:v>44894</c:v>
                </c:pt>
                <c:pt idx="1282">
                  <c:v>44895</c:v>
                </c:pt>
                <c:pt idx="1283">
                  <c:v>44896</c:v>
                </c:pt>
                <c:pt idx="1284">
                  <c:v>44897</c:v>
                </c:pt>
                <c:pt idx="1285">
                  <c:v>44900</c:v>
                </c:pt>
                <c:pt idx="1286">
                  <c:v>44901</c:v>
                </c:pt>
                <c:pt idx="1287">
                  <c:v>44902</c:v>
                </c:pt>
                <c:pt idx="1288">
                  <c:v>44903</c:v>
                </c:pt>
                <c:pt idx="1289">
                  <c:v>44904</c:v>
                </c:pt>
                <c:pt idx="1290">
                  <c:v>44907</c:v>
                </c:pt>
                <c:pt idx="1291">
                  <c:v>44908</c:v>
                </c:pt>
                <c:pt idx="1292">
                  <c:v>44909</c:v>
                </c:pt>
                <c:pt idx="1293">
                  <c:v>44910</c:v>
                </c:pt>
                <c:pt idx="1294">
                  <c:v>44911</c:v>
                </c:pt>
                <c:pt idx="1295">
                  <c:v>44914</c:v>
                </c:pt>
                <c:pt idx="1296">
                  <c:v>44915</c:v>
                </c:pt>
                <c:pt idx="1297">
                  <c:v>44916</c:v>
                </c:pt>
                <c:pt idx="1298">
                  <c:v>44917</c:v>
                </c:pt>
                <c:pt idx="1299">
                  <c:v>44918</c:v>
                </c:pt>
                <c:pt idx="1300">
                  <c:v>44921</c:v>
                </c:pt>
                <c:pt idx="1301">
                  <c:v>44922</c:v>
                </c:pt>
                <c:pt idx="1302">
                  <c:v>44923</c:v>
                </c:pt>
                <c:pt idx="1303">
                  <c:v>44924</c:v>
                </c:pt>
                <c:pt idx="1304">
                  <c:v>44925</c:v>
                </c:pt>
                <c:pt idx="1305">
                  <c:v>44928</c:v>
                </c:pt>
                <c:pt idx="1306">
                  <c:v>44929</c:v>
                </c:pt>
                <c:pt idx="1307">
                  <c:v>44930</c:v>
                </c:pt>
                <c:pt idx="1308">
                  <c:v>44931</c:v>
                </c:pt>
                <c:pt idx="1309">
                  <c:v>44932</c:v>
                </c:pt>
                <c:pt idx="1310">
                  <c:v>44935</c:v>
                </c:pt>
                <c:pt idx="1311">
                  <c:v>44936</c:v>
                </c:pt>
                <c:pt idx="1312">
                  <c:v>44937</c:v>
                </c:pt>
                <c:pt idx="1313">
                  <c:v>44938</c:v>
                </c:pt>
                <c:pt idx="1314">
                  <c:v>44939</c:v>
                </c:pt>
                <c:pt idx="1315">
                  <c:v>44940</c:v>
                </c:pt>
                <c:pt idx="1316">
                  <c:v>44941</c:v>
                </c:pt>
                <c:pt idx="1317">
                  <c:v>44942</c:v>
                </c:pt>
                <c:pt idx="1318">
                  <c:v>44943</c:v>
                </c:pt>
                <c:pt idx="1319">
                  <c:v>44944</c:v>
                </c:pt>
                <c:pt idx="1320">
                  <c:v>44945</c:v>
                </c:pt>
                <c:pt idx="1321">
                  <c:v>44946</c:v>
                </c:pt>
                <c:pt idx="1322">
                  <c:v>44947</c:v>
                </c:pt>
                <c:pt idx="1323">
                  <c:v>44948</c:v>
                </c:pt>
              </c:numCache>
            </c:numRef>
          </c:cat>
          <c:val>
            <c:numRef>
              <c:f>'HC Data (2)'!$X$9:$X$1332</c:f>
              <c:numCache>
                <c:formatCode>0.00</c:formatCode>
                <c:ptCount val="1324"/>
                <c:pt idx="0" formatCode="General">
                  <c:v>100</c:v>
                </c:pt>
                <c:pt idx="1">
                  <c:v>100.01670455876877</c:v>
                </c:pt>
                <c:pt idx="2">
                  <c:v>100.45699879030242</c:v>
                </c:pt>
                <c:pt idx="3">
                  <c:v>100.7831056312717</c:v>
                </c:pt>
                <c:pt idx="4">
                  <c:v>101.4807606267928</c:v>
                </c:pt>
                <c:pt idx="5">
                  <c:v>102.50100346960241</c:v>
                </c:pt>
                <c:pt idx="6">
                  <c:v>103.21204451152093</c:v>
                </c:pt>
                <c:pt idx="7">
                  <c:v>103.2342835100435</c:v>
                </c:pt>
                <c:pt idx="8">
                  <c:v>102.95252444956907</c:v>
                </c:pt>
                <c:pt idx="9">
                  <c:v>102.3036271509789</c:v>
                </c:pt>
                <c:pt idx="10">
                  <c:v>101.52028298857792</c:v>
                </c:pt>
                <c:pt idx="11">
                  <c:v>101.93449349699193</c:v>
                </c:pt>
                <c:pt idx="12">
                  <c:v>101.91076274715181</c:v>
                </c:pt>
                <c:pt idx="13">
                  <c:v>102.41181278703586</c:v>
                </c:pt>
                <c:pt idx="14">
                  <c:v>102.61566147065349</c:v>
                </c:pt>
                <c:pt idx="15">
                  <c:v>102.57426203844713</c:v>
                </c:pt>
                <c:pt idx="16">
                  <c:v>102.35724091376544</c:v>
                </c:pt>
                <c:pt idx="17">
                  <c:v>101.71990647688598</c:v>
                </c:pt>
                <c:pt idx="18">
                  <c:v>100.95797308616034</c:v>
                </c:pt>
                <c:pt idx="19">
                  <c:v>101.54845108276055</c:v>
                </c:pt>
                <c:pt idx="20">
                  <c:v>102.1977538869705</c:v>
                </c:pt>
                <c:pt idx="21">
                  <c:v>102.11455140110505</c:v>
                </c:pt>
                <c:pt idx="22">
                  <c:v>102.41678819586622</c:v>
                </c:pt>
                <c:pt idx="23">
                  <c:v>102.30940068050056</c:v>
                </c:pt>
                <c:pt idx="24">
                  <c:v>102.34920575103096</c:v>
                </c:pt>
                <c:pt idx="25">
                  <c:v>102.87827174783564</c:v>
                </c:pt>
                <c:pt idx="26">
                  <c:v>103.1685496026047</c:v>
                </c:pt>
                <c:pt idx="27">
                  <c:v>103.95132545993447</c:v>
                </c:pt>
                <c:pt idx="28">
                  <c:v>104.04915094896027</c:v>
                </c:pt>
                <c:pt idx="29">
                  <c:v>104.21920923543388</c:v>
                </c:pt>
                <c:pt idx="30">
                  <c:v>104.02560381370904</c:v>
                </c:pt>
                <c:pt idx="31">
                  <c:v>103.63623876132371</c:v>
                </c:pt>
                <c:pt idx="32">
                  <c:v>103.14572418135903</c:v>
                </c:pt>
                <c:pt idx="33">
                  <c:v>102.87516599807429</c:v>
                </c:pt>
                <c:pt idx="34">
                  <c:v>103.0323872993515</c:v>
                </c:pt>
                <c:pt idx="35">
                  <c:v>103.24828501511747</c:v>
                </c:pt>
                <c:pt idx="36">
                  <c:v>103.46441913849077</c:v>
                </c:pt>
                <c:pt idx="37">
                  <c:v>103.63524059202662</c:v>
                </c:pt>
                <c:pt idx="38">
                  <c:v>103.65795926164895</c:v>
                </c:pt>
                <c:pt idx="39">
                  <c:v>103.96839447307198</c:v>
                </c:pt>
                <c:pt idx="40">
                  <c:v>104.04246322527115</c:v>
                </c:pt>
                <c:pt idx="41">
                  <c:v>104.4806265812759</c:v>
                </c:pt>
                <c:pt idx="42">
                  <c:v>104.81819785835933</c:v>
                </c:pt>
                <c:pt idx="43">
                  <c:v>104.7465915723031</c:v>
                </c:pt>
                <c:pt idx="44">
                  <c:v>104.16159618708664</c:v>
                </c:pt>
                <c:pt idx="45">
                  <c:v>104.0813110197177</c:v>
                </c:pt>
                <c:pt idx="46">
                  <c:v>103.74218389127422</c:v>
                </c:pt>
                <c:pt idx="47">
                  <c:v>103.68369384650333</c:v>
                </c:pt>
                <c:pt idx="48">
                  <c:v>104.2549328056875</c:v>
                </c:pt>
                <c:pt idx="49">
                  <c:v>104.16278239890903</c:v>
                </c:pt>
                <c:pt idx="50">
                  <c:v>104.09658432058973</c:v>
                </c:pt>
                <c:pt idx="51">
                  <c:v>103.58746906690364</c:v>
                </c:pt>
                <c:pt idx="52">
                  <c:v>103.64977071979501</c:v>
                </c:pt>
                <c:pt idx="53">
                  <c:v>103.90867718007782</c:v>
                </c:pt>
                <c:pt idx="54">
                  <c:v>104.32878650731232</c:v>
                </c:pt>
                <c:pt idx="55">
                  <c:v>103.78074567413539</c:v>
                </c:pt>
                <c:pt idx="56">
                  <c:v>104.16374976022436</c:v>
                </c:pt>
                <c:pt idx="57">
                  <c:v>104.04712863218599</c:v>
                </c:pt>
                <c:pt idx="58">
                  <c:v>103.89857110071698</c:v>
                </c:pt>
                <c:pt idx="59">
                  <c:v>103.56041492467446</c:v>
                </c:pt>
                <c:pt idx="60">
                  <c:v>103.07375727733624</c:v>
                </c:pt>
                <c:pt idx="61">
                  <c:v>103.36422826802115</c:v>
                </c:pt>
                <c:pt idx="62">
                  <c:v>103.87569821722708</c:v>
                </c:pt>
                <c:pt idx="63">
                  <c:v>104.21717434192938</c:v>
                </c:pt>
                <c:pt idx="64">
                  <c:v>103.94850448744666</c:v>
                </c:pt>
                <c:pt idx="65">
                  <c:v>104.18305350490618</c:v>
                </c:pt>
                <c:pt idx="66">
                  <c:v>104.4922106008236</c:v>
                </c:pt>
                <c:pt idx="67">
                  <c:v>104.26669893664238</c:v>
                </c:pt>
                <c:pt idx="68">
                  <c:v>105.07469646493928</c:v>
                </c:pt>
                <c:pt idx="69">
                  <c:v>104.35272035212853</c:v>
                </c:pt>
                <c:pt idx="70">
                  <c:v>103.97527030316424</c:v>
                </c:pt>
                <c:pt idx="71">
                  <c:v>103.93609348328631</c:v>
                </c:pt>
                <c:pt idx="72">
                  <c:v>103.7165999918827</c:v>
                </c:pt>
                <c:pt idx="73">
                  <c:v>104.02543451878716</c:v>
                </c:pt>
                <c:pt idx="74">
                  <c:v>103.83537738454879</c:v>
                </c:pt>
                <c:pt idx="75">
                  <c:v>103.68098312017908</c:v>
                </c:pt>
                <c:pt idx="76">
                  <c:v>104.01746418825654</c:v>
                </c:pt>
                <c:pt idx="77">
                  <c:v>103.80368071374926</c:v>
                </c:pt>
                <c:pt idx="78">
                  <c:v>104.1589395965464</c:v>
                </c:pt>
                <c:pt idx="79">
                  <c:v>104.70239024550395</c:v>
                </c:pt>
                <c:pt idx="80">
                  <c:v>105.33858226499646</c:v>
                </c:pt>
                <c:pt idx="81">
                  <c:v>105.58491478259765</c:v>
                </c:pt>
                <c:pt idx="82">
                  <c:v>106.04708997333708</c:v>
                </c:pt>
                <c:pt idx="83">
                  <c:v>106.36388411996657</c:v>
                </c:pt>
                <c:pt idx="84">
                  <c:v>106.81250979283016</c:v>
                </c:pt>
                <c:pt idx="85">
                  <c:v>107.01934800531474</c:v>
                </c:pt>
                <c:pt idx="86">
                  <c:v>107.86042582961205</c:v>
                </c:pt>
                <c:pt idx="87">
                  <c:v>108.27424825636442</c:v>
                </c:pt>
                <c:pt idx="88">
                  <c:v>108.12019270460674</c:v>
                </c:pt>
                <c:pt idx="89">
                  <c:v>108.36800593341913</c:v>
                </c:pt>
                <c:pt idx="90">
                  <c:v>108.52100671377437</c:v>
                </c:pt>
                <c:pt idx="91">
                  <c:v>108.95811048019986</c:v>
                </c:pt>
                <c:pt idx="92">
                  <c:v>109.15600269617806</c:v>
                </c:pt>
                <c:pt idx="93">
                  <c:v>108.73732170000829</c:v>
                </c:pt>
                <c:pt idx="94">
                  <c:v>108.44381361125241</c:v>
                </c:pt>
                <c:pt idx="95">
                  <c:v>108.30975030889836</c:v>
                </c:pt>
                <c:pt idx="96">
                  <c:v>109.10303919257792</c:v>
                </c:pt>
                <c:pt idx="97">
                  <c:v>109.40861374470738</c:v>
                </c:pt>
                <c:pt idx="98">
                  <c:v>109.30584335369205</c:v>
                </c:pt>
                <c:pt idx="99">
                  <c:v>109.43214459052501</c:v>
                </c:pt>
                <c:pt idx="100">
                  <c:v>109.45031643888723</c:v>
                </c:pt>
                <c:pt idx="101">
                  <c:v>109.29736060722799</c:v>
                </c:pt>
                <c:pt idx="102">
                  <c:v>110.12748372788074</c:v>
                </c:pt>
                <c:pt idx="103">
                  <c:v>109.79443036790748</c:v>
                </c:pt>
                <c:pt idx="104">
                  <c:v>110.24734989972366</c:v>
                </c:pt>
                <c:pt idx="105">
                  <c:v>110.53738369755339</c:v>
                </c:pt>
                <c:pt idx="106">
                  <c:v>110.99207297061562</c:v>
                </c:pt>
                <c:pt idx="107">
                  <c:v>110.15811450859313</c:v>
                </c:pt>
                <c:pt idx="108">
                  <c:v>109.99788079438994</c:v>
                </c:pt>
                <c:pt idx="109">
                  <c:v>110.19564523539242</c:v>
                </c:pt>
                <c:pt idx="110">
                  <c:v>109.97075663805872</c:v>
                </c:pt>
                <c:pt idx="111">
                  <c:v>109.84683897999308</c:v>
                </c:pt>
                <c:pt idx="112">
                  <c:v>109.47485248666256</c:v>
                </c:pt>
                <c:pt idx="113">
                  <c:v>109.5199625972092</c:v>
                </c:pt>
                <c:pt idx="114">
                  <c:v>109.6665036615649</c:v>
                </c:pt>
                <c:pt idx="115">
                  <c:v>109.39435483763631</c:v>
                </c:pt>
                <c:pt idx="116">
                  <c:v>109.54448156142772</c:v>
                </c:pt>
                <c:pt idx="117">
                  <c:v>109.51470915253506</c:v>
                </c:pt>
                <c:pt idx="118">
                  <c:v>110.37700803302486</c:v>
                </c:pt>
                <c:pt idx="119">
                  <c:v>110.55887377350706</c:v>
                </c:pt>
                <c:pt idx="120">
                  <c:v>110.74445465899068</c:v>
                </c:pt>
                <c:pt idx="121">
                  <c:v>111.1351845964421</c:v>
                </c:pt>
                <c:pt idx="122">
                  <c:v>110.91471889781938</c:v>
                </c:pt>
                <c:pt idx="123">
                  <c:v>110.93339860962404</c:v>
                </c:pt>
                <c:pt idx="124">
                  <c:v>110.55642218367583</c:v>
                </c:pt>
                <c:pt idx="125">
                  <c:v>110.47576277589636</c:v>
                </c:pt>
                <c:pt idx="126">
                  <c:v>110.62527112291683</c:v>
                </c:pt>
                <c:pt idx="127">
                  <c:v>111.38416384551293</c:v>
                </c:pt>
                <c:pt idx="128">
                  <c:v>111.31373987553623</c:v>
                </c:pt>
                <c:pt idx="129">
                  <c:v>110.68044519073503</c:v>
                </c:pt>
                <c:pt idx="130">
                  <c:v>111.32004024955025</c:v>
                </c:pt>
                <c:pt idx="131">
                  <c:v>110.977320326537</c:v>
                </c:pt>
                <c:pt idx="132">
                  <c:v>110.74140577058702</c:v>
                </c:pt>
                <c:pt idx="133">
                  <c:v>110.58600444066649</c:v>
                </c:pt>
                <c:pt idx="134">
                  <c:v>110.24502057483005</c:v>
                </c:pt>
                <c:pt idx="135">
                  <c:v>110.40455216366854</c:v>
                </c:pt>
                <c:pt idx="136">
                  <c:v>110.4770261728915</c:v>
                </c:pt>
                <c:pt idx="137">
                  <c:v>110.71504988342122</c:v>
                </c:pt>
                <c:pt idx="138">
                  <c:v>110.93445735989168</c:v>
                </c:pt>
                <c:pt idx="139">
                  <c:v>111.0309790897866</c:v>
                </c:pt>
                <c:pt idx="140">
                  <c:v>110.74710142446135</c:v>
                </c:pt>
                <c:pt idx="141">
                  <c:v>111.200776141433</c:v>
                </c:pt>
                <c:pt idx="142">
                  <c:v>111.25291360264917</c:v>
                </c:pt>
                <c:pt idx="143">
                  <c:v>111.62603349044204</c:v>
                </c:pt>
                <c:pt idx="144">
                  <c:v>110.85873103256124</c:v>
                </c:pt>
                <c:pt idx="145">
                  <c:v>111.25126162516291</c:v>
                </c:pt>
                <c:pt idx="146">
                  <c:v>111.32354036346379</c:v>
                </c:pt>
                <c:pt idx="147">
                  <c:v>111.31898430824344</c:v>
                </c:pt>
                <c:pt idx="148">
                  <c:v>111.56352821020408</c:v>
                </c:pt>
                <c:pt idx="149">
                  <c:v>111.76220545823678</c:v>
                </c:pt>
                <c:pt idx="150">
                  <c:v>111.2845883653314</c:v>
                </c:pt>
                <c:pt idx="151">
                  <c:v>111.54233532280853</c:v>
                </c:pt>
                <c:pt idx="152">
                  <c:v>112.00860313071446</c:v>
                </c:pt>
                <c:pt idx="153">
                  <c:v>112.51085197289578</c:v>
                </c:pt>
                <c:pt idx="154">
                  <c:v>112.5298174689428</c:v>
                </c:pt>
                <c:pt idx="155">
                  <c:v>112.77013464133491</c:v>
                </c:pt>
                <c:pt idx="156">
                  <c:v>112.62211010875046</c:v>
                </c:pt>
                <c:pt idx="157">
                  <c:v>112.62694369337062</c:v>
                </c:pt>
                <c:pt idx="158">
                  <c:v>112.94048588101933</c:v>
                </c:pt>
                <c:pt idx="159">
                  <c:v>114.1637094211457</c:v>
                </c:pt>
                <c:pt idx="160">
                  <c:v>114.16514237896902</c:v>
                </c:pt>
                <c:pt idx="161">
                  <c:v>114.4891527841942</c:v>
                </c:pt>
                <c:pt idx="162">
                  <c:v>114.54230055275862</c:v>
                </c:pt>
                <c:pt idx="163">
                  <c:v>114.38928143853319</c:v>
                </c:pt>
                <c:pt idx="164">
                  <c:v>114.07879250667179</c:v>
                </c:pt>
                <c:pt idx="165">
                  <c:v>113.65450331628215</c:v>
                </c:pt>
                <c:pt idx="166">
                  <c:v>112.95306753963631</c:v>
                </c:pt>
                <c:pt idx="167">
                  <c:v>112.67226759970889</c:v>
                </c:pt>
                <c:pt idx="168">
                  <c:v>113.0878925086796</c:v>
                </c:pt>
                <c:pt idx="169">
                  <c:v>112.61501190720061</c:v>
                </c:pt>
                <c:pt idx="170">
                  <c:v>112.20900654093865</c:v>
                </c:pt>
                <c:pt idx="171">
                  <c:v>111.98762167145995</c:v>
                </c:pt>
                <c:pt idx="172">
                  <c:v>112.26812064277973</c:v>
                </c:pt>
                <c:pt idx="173">
                  <c:v>112.53311882382006</c:v>
                </c:pt>
                <c:pt idx="174">
                  <c:v>112.93420022645986</c:v>
                </c:pt>
                <c:pt idx="175">
                  <c:v>112.70233637564843</c:v>
                </c:pt>
                <c:pt idx="176">
                  <c:v>113.12102519722285</c:v>
                </c:pt>
                <c:pt idx="177">
                  <c:v>112.75155370665588</c:v>
                </c:pt>
                <c:pt idx="178">
                  <c:v>112.52026163144461</c:v>
                </c:pt>
                <c:pt idx="179">
                  <c:v>113.18818854339227</c:v>
                </c:pt>
                <c:pt idx="180">
                  <c:v>112.77704968653687</c:v>
                </c:pt>
                <c:pt idx="181">
                  <c:v>112.83687913929515</c:v>
                </c:pt>
                <c:pt idx="182">
                  <c:v>112.51171693219767</c:v>
                </c:pt>
                <c:pt idx="183">
                  <c:v>112.16394792226863</c:v>
                </c:pt>
                <c:pt idx="184">
                  <c:v>112.58341077813054</c:v>
                </c:pt>
                <c:pt idx="185">
                  <c:v>112.11434066820391</c:v>
                </c:pt>
                <c:pt idx="186">
                  <c:v>112.26467674623498</c:v>
                </c:pt>
                <c:pt idx="187">
                  <c:v>112.22049847159364</c:v>
                </c:pt>
                <c:pt idx="188">
                  <c:v>111.61327776435927</c:v>
                </c:pt>
                <c:pt idx="189">
                  <c:v>111.76636897050892</c:v>
                </c:pt>
                <c:pt idx="190">
                  <c:v>111.74022640640116</c:v>
                </c:pt>
                <c:pt idx="191">
                  <c:v>111.70217805895538</c:v>
                </c:pt>
                <c:pt idx="192">
                  <c:v>111.93068464634477</c:v>
                </c:pt>
                <c:pt idx="193">
                  <c:v>112.49322471198404</c:v>
                </c:pt>
                <c:pt idx="194">
                  <c:v>112.87413995627557</c:v>
                </c:pt>
                <c:pt idx="195">
                  <c:v>112.93354897609693</c:v>
                </c:pt>
                <c:pt idx="196">
                  <c:v>113.42982771203603</c:v>
                </c:pt>
                <c:pt idx="197">
                  <c:v>113.59235092476358</c:v>
                </c:pt>
                <c:pt idx="198">
                  <c:v>113.68134540136067</c:v>
                </c:pt>
                <c:pt idx="199">
                  <c:v>113.43218067624333</c:v>
                </c:pt>
                <c:pt idx="200">
                  <c:v>113.79917677349992</c:v>
                </c:pt>
                <c:pt idx="201">
                  <c:v>113.72102503138827</c:v>
                </c:pt>
                <c:pt idx="202">
                  <c:v>113.35347547956015</c:v>
                </c:pt>
                <c:pt idx="203">
                  <c:v>112.90191065340025</c:v>
                </c:pt>
                <c:pt idx="204">
                  <c:v>112.81938988372505</c:v>
                </c:pt>
                <c:pt idx="205">
                  <c:v>112.92906542790662</c:v>
                </c:pt>
                <c:pt idx="206">
                  <c:v>112.92635153752639</c:v>
                </c:pt>
                <c:pt idx="207">
                  <c:v>113.1808256581109</c:v>
                </c:pt>
                <c:pt idx="208">
                  <c:v>113.75308627763181</c:v>
                </c:pt>
                <c:pt idx="209">
                  <c:v>113.29394878306458</c:v>
                </c:pt>
                <c:pt idx="210">
                  <c:v>113.88024299864617</c:v>
                </c:pt>
                <c:pt idx="211">
                  <c:v>113.92233506455531</c:v>
                </c:pt>
                <c:pt idx="212">
                  <c:v>114.7100288076595</c:v>
                </c:pt>
                <c:pt idx="213">
                  <c:v>114.96824222875131</c:v>
                </c:pt>
                <c:pt idx="214">
                  <c:v>114.86550840471618</c:v>
                </c:pt>
                <c:pt idx="215">
                  <c:v>114.46285959218721</c:v>
                </c:pt>
                <c:pt idx="216">
                  <c:v>114.9447759959541</c:v>
                </c:pt>
                <c:pt idx="217">
                  <c:v>115.22670276762676</c:v>
                </c:pt>
                <c:pt idx="218">
                  <c:v>114.2429512831316</c:v>
                </c:pt>
                <c:pt idx="219">
                  <c:v>114.27259672850371</c:v>
                </c:pt>
                <c:pt idx="220">
                  <c:v>114.18619985887646</c:v>
                </c:pt>
                <c:pt idx="221">
                  <c:v>114.01385883724024</c:v>
                </c:pt>
                <c:pt idx="222">
                  <c:v>113.72654938256051</c:v>
                </c:pt>
                <c:pt idx="223">
                  <c:v>114.17869992046917</c:v>
                </c:pt>
                <c:pt idx="224">
                  <c:v>114.63688625448803</c:v>
                </c:pt>
                <c:pt idx="225">
                  <c:v>115.24845164156672</c:v>
                </c:pt>
                <c:pt idx="226">
                  <c:v>114.92940490814468</c:v>
                </c:pt>
                <c:pt idx="227">
                  <c:v>114.84185614728767</c:v>
                </c:pt>
                <c:pt idx="228">
                  <c:v>114.7507623618022</c:v>
                </c:pt>
                <c:pt idx="229">
                  <c:v>113.94442926036695</c:v>
                </c:pt>
                <c:pt idx="230">
                  <c:v>113.68198570003499</c:v>
                </c:pt>
                <c:pt idx="231">
                  <c:v>114.49843657233852</c:v>
                </c:pt>
                <c:pt idx="232">
                  <c:v>114.40002075785412</c:v>
                </c:pt>
                <c:pt idx="233">
                  <c:v>114.20815292838004</c:v>
                </c:pt>
                <c:pt idx="234">
                  <c:v>114.8407355507488</c:v>
                </c:pt>
                <c:pt idx="235">
                  <c:v>114.83721829810838</c:v>
                </c:pt>
                <c:pt idx="236">
                  <c:v>115.14531800231589</c:v>
                </c:pt>
                <c:pt idx="237">
                  <c:v>114.71006898100774</c:v>
                </c:pt>
                <c:pt idx="238">
                  <c:v>114.49650193239117</c:v>
                </c:pt>
                <c:pt idx="239">
                  <c:v>114.94773445546173</c:v>
                </c:pt>
                <c:pt idx="240">
                  <c:v>114.5011314017477</c:v>
                </c:pt>
                <c:pt idx="241">
                  <c:v>114.46234254905718</c:v>
                </c:pt>
                <c:pt idx="242">
                  <c:v>114.39970388280057</c:v>
                </c:pt>
                <c:pt idx="243">
                  <c:v>114.15644852920298</c:v>
                </c:pt>
                <c:pt idx="244">
                  <c:v>114.20843712546971</c:v>
                </c:pt>
                <c:pt idx="245">
                  <c:v>114.60942042282311</c:v>
                </c:pt>
                <c:pt idx="246">
                  <c:v>115.24870001924354</c:v>
                </c:pt>
                <c:pt idx="247">
                  <c:v>114.64221982675284</c:v>
                </c:pt>
                <c:pt idx="248">
                  <c:v>114.74542300588725</c:v>
                </c:pt>
                <c:pt idx="249">
                  <c:v>115.17094851506808</c:v>
                </c:pt>
                <c:pt idx="250">
                  <c:v>114.90324610178477</c:v>
                </c:pt>
                <c:pt idx="251">
                  <c:v>114.78764494160755</c:v>
                </c:pt>
                <c:pt idx="252">
                  <c:v>114.29142878368724</c:v>
                </c:pt>
                <c:pt idx="253">
                  <c:v>113.900711753598</c:v>
                </c:pt>
                <c:pt idx="254">
                  <c:v>114.61913862876487</c:v>
                </c:pt>
                <c:pt idx="255">
                  <c:v>114.10979251302092</c:v>
                </c:pt>
                <c:pt idx="256">
                  <c:v>114.18449056028273</c:v>
                </c:pt>
                <c:pt idx="257">
                  <c:v>114.51799023736881</c:v>
                </c:pt>
                <c:pt idx="258">
                  <c:v>113.97719294085552</c:v>
                </c:pt>
                <c:pt idx="259">
                  <c:v>113.70851405584327</c:v>
                </c:pt>
                <c:pt idx="260">
                  <c:v>113.86075126124844</c:v>
                </c:pt>
                <c:pt idx="261">
                  <c:v>113.94939200402222</c:v>
                </c:pt>
                <c:pt idx="262">
                  <c:v>115.03672448815556</c:v>
                </c:pt>
                <c:pt idx="263">
                  <c:v>114.17442279098685</c:v>
                </c:pt>
                <c:pt idx="264">
                  <c:v>114.06430821612686</c:v>
                </c:pt>
                <c:pt idx="265">
                  <c:v>113.36752444918153</c:v>
                </c:pt>
                <c:pt idx="266">
                  <c:v>113.66597195874984</c:v>
                </c:pt>
                <c:pt idx="267">
                  <c:v>112.96695781272916</c:v>
                </c:pt>
                <c:pt idx="268">
                  <c:v>113.26817191505559</c:v>
                </c:pt>
                <c:pt idx="269">
                  <c:v>113.34126624831639</c:v>
                </c:pt>
                <c:pt idx="270">
                  <c:v>113.5787279040898</c:v>
                </c:pt>
                <c:pt idx="271">
                  <c:v>114.25372248508997</c:v>
                </c:pt>
                <c:pt idx="272">
                  <c:v>113.98748572570059</c:v>
                </c:pt>
                <c:pt idx="273">
                  <c:v>114.2100048434707</c:v>
                </c:pt>
                <c:pt idx="274">
                  <c:v>114.39576971171142</c:v>
                </c:pt>
                <c:pt idx="275">
                  <c:v>114.39488057797961</c:v>
                </c:pt>
                <c:pt idx="276">
                  <c:v>114.4662120866177</c:v>
                </c:pt>
                <c:pt idx="277">
                  <c:v>114.14460144779197</c:v>
                </c:pt>
                <c:pt idx="278">
                  <c:v>114.91420121665885</c:v>
                </c:pt>
                <c:pt idx="279">
                  <c:v>114.15678622826745</c:v>
                </c:pt>
                <c:pt idx="280">
                  <c:v>114.05776158288731</c:v>
                </c:pt>
                <c:pt idx="281">
                  <c:v>114.17699385862883</c:v>
                </c:pt>
                <c:pt idx="282">
                  <c:v>114.04906719069953</c:v>
                </c:pt>
                <c:pt idx="283">
                  <c:v>113.94525513122235</c:v>
                </c:pt>
                <c:pt idx="284">
                  <c:v>113.85325396836772</c:v>
                </c:pt>
                <c:pt idx="285">
                  <c:v>114.1812777833005</c:v>
                </c:pt>
                <c:pt idx="286">
                  <c:v>114.37363531098659</c:v>
                </c:pt>
                <c:pt idx="287">
                  <c:v>114.639903334895</c:v>
                </c:pt>
                <c:pt idx="288">
                  <c:v>114.88373784249991</c:v>
                </c:pt>
                <c:pt idx="289">
                  <c:v>115.09588490756474</c:v>
                </c:pt>
                <c:pt idx="290">
                  <c:v>115.64912246298974</c:v>
                </c:pt>
                <c:pt idx="291">
                  <c:v>115.27848873251017</c:v>
                </c:pt>
                <c:pt idx="292">
                  <c:v>115.65107114796302</c:v>
                </c:pt>
                <c:pt idx="293">
                  <c:v>115.54158075734436</c:v>
                </c:pt>
                <c:pt idx="294">
                  <c:v>115.63056164124029</c:v>
                </c:pt>
                <c:pt idx="295">
                  <c:v>115.31705688064493</c:v>
                </c:pt>
                <c:pt idx="296">
                  <c:v>114.91430717972443</c:v>
                </c:pt>
                <c:pt idx="297">
                  <c:v>114.83909651541093</c:v>
                </c:pt>
                <c:pt idx="298">
                  <c:v>114.95108643444213</c:v>
                </c:pt>
                <c:pt idx="299">
                  <c:v>114.71749038733131</c:v>
                </c:pt>
                <c:pt idx="300">
                  <c:v>114.84992005143428</c:v>
                </c:pt>
                <c:pt idx="301">
                  <c:v>114.51469792152943</c:v>
                </c:pt>
                <c:pt idx="302">
                  <c:v>114.53295433647837</c:v>
                </c:pt>
                <c:pt idx="303">
                  <c:v>114.44352984420114</c:v>
                </c:pt>
                <c:pt idx="304">
                  <c:v>113.72542591955734</c:v>
                </c:pt>
                <c:pt idx="305">
                  <c:v>114.00256599570589</c:v>
                </c:pt>
                <c:pt idx="306">
                  <c:v>114.37430166841618</c:v>
                </c:pt>
                <c:pt idx="307">
                  <c:v>114.40832576797546</c:v>
                </c:pt>
                <c:pt idx="308">
                  <c:v>114.90076770415733</c:v>
                </c:pt>
                <c:pt idx="309">
                  <c:v>114.90634078955777</c:v>
                </c:pt>
                <c:pt idx="310">
                  <c:v>115.00065284595836</c:v>
                </c:pt>
                <c:pt idx="311">
                  <c:v>114.63133124708509</c:v>
                </c:pt>
                <c:pt idx="312">
                  <c:v>114.39088639409836</c:v>
                </c:pt>
                <c:pt idx="313">
                  <c:v>114.46136291681375</c:v>
                </c:pt>
                <c:pt idx="314">
                  <c:v>115.05154721379355</c:v>
                </c:pt>
                <c:pt idx="315">
                  <c:v>115.14712671952593</c:v>
                </c:pt>
                <c:pt idx="316">
                  <c:v>115.00443788594646</c:v>
                </c:pt>
                <c:pt idx="317">
                  <c:v>115.17434981870315</c:v>
                </c:pt>
                <c:pt idx="318">
                  <c:v>115.06065181073303</c:v>
                </c:pt>
                <c:pt idx="319">
                  <c:v>115.66606474887298</c:v>
                </c:pt>
                <c:pt idx="320">
                  <c:v>115.30285157836065</c:v>
                </c:pt>
                <c:pt idx="321">
                  <c:v>115.56086035740638</c:v>
                </c:pt>
                <c:pt idx="322">
                  <c:v>115.75627959567316</c:v>
                </c:pt>
                <c:pt idx="323">
                  <c:v>115.96810745541505</c:v>
                </c:pt>
                <c:pt idx="324">
                  <c:v>115.99423991639897</c:v>
                </c:pt>
                <c:pt idx="325">
                  <c:v>116.00002674286323</c:v>
                </c:pt>
                <c:pt idx="326">
                  <c:v>116.12608354446823</c:v>
                </c:pt>
                <c:pt idx="327">
                  <c:v>115.78736848707632</c:v>
                </c:pt>
                <c:pt idx="328">
                  <c:v>115.96807689910825</c:v>
                </c:pt>
                <c:pt idx="329">
                  <c:v>116.02231249827695</c:v>
                </c:pt>
                <c:pt idx="330">
                  <c:v>115.73249817026321</c:v>
                </c:pt>
                <c:pt idx="331">
                  <c:v>115.46615918209287</c:v>
                </c:pt>
                <c:pt idx="332">
                  <c:v>115.40689631846905</c:v>
                </c:pt>
                <c:pt idx="333">
                  <c:v>115.5072278064234</c:v>
                </c:pt>
                <c:pt idx="334">
                  <c:v>115.30468233055167</c:v>
                </c:pt>
                <c:pt idx="335">
                  <c:v>115.36300764129912</c:v>
                </c:pt>
                <c:pt idx="336">
                  <c:v>115.69230679251189</c:v>
                </c:pt>
                <c:pt idx="337">
                  <c:v>115.75726575133343</c:v>
                </c:pt>
                <c:pt idx="338">
                  <c:v>116.1252428701081</c:v>
                </c:pt>
                <c:pt idx="339">
                  <c:v>115.87496243145432</c:v>
                </c:pt>
                <c:pt idx="340">
                  <c:v>115.93212395259846</c:v>
                </c:pt>
                <c:pt idx="341">
                  <c:v>116.46363995014192</c:v>
                </c:pt>
                <c:pt idx="342">
                  <c:v>116.8280086024143</c:v>
                </c:pt>
                <c:pt idx="343">
                  <c:v>117.17061345686318</c:v>
                </c:pt>
                <c:pt idx="344">
                  <c:v>116.86338350885416</c:v>
                </c:pt>
                <c:pt idx="345">
                  <c:v>116.76114334271703</c:v>
                </c:pt>
                <c:pt idx="346">
                  <c:v>116.40992560600718</c:v>
                </c:pt>
                <c:pt idx="347">
                  <c:v>116.30021085905389</c:v>
                </c:pt>
                <c:pt idx="348">
                  <c:v>116.91399106925984</c:v>
                </c:pt>
                <c:pt idx="349">
                  <c:v>116.63670072961028</c:v>
                </c:pt>
                <c:pt idx="350">
                  <c:v>116.78984652525583</c:v>
                </c:pt>
                <c:pt idx="351">
                  <c:v>117.07031681807966</c:v>
                </c:pt>
                <c:pt idx="352">
                  <c:v>117.04047296510238</c:v>
                </c:pt>
                <c:pt idx="353">
                  <c:v>116.79756898895212</c:v>
                </c:pt>
                <c:pt idx="354">
                  <c:v>116.71851519577275</c:v>
                </c:pt>
                <c:pt idx="355">
                  <c:v>116.68066622658144</c:v>
                </c:pt>
                <c:pt idx="356">
                  <c:v>116.8476406929359</c:v>
                </c:pt>
                <c:pt idx="357">
                  <c:v>117.05541416658477</c:v>
                </c:pt>
                <c:pt idx="358">
                  <c:v>117.32499920697032</c:v>
                </c:pt>
                <c:pt idx="359">
                  <c:v>117.37967365562697</c:v>
                </c:pt>
                <c:pt idx="360">
                  <c:v>117.40564128662791</c:v>
                </c:pt>
                <c:pt idx="361">
                  <c:v>117.53169828765385</c:v>
                </c:pt>
                <c:pt idx="362">
                  <c:v>117.47047530656054</c:v>
                </c:pt>
                <c:pt idx="363">
                  <c:v>117.46709906613965</c:v>
                </c:pt>
                <c:pt idx="364">
                  <c:v>117.11754277297179</c:v>
                </c:pt>
                <c:pt idx="365">
                  <c:v>117.48454546183174</c:v>
                </c:pt>
                <c:pt idx="366">
                  <c:v>117.66102010860683</c:v>
                </c:pt>
                <c:pt idx="367">
                  <c:v>117.51488228178333</c:v>
                </c:pt>
                <c:pt idx="368">
                  <c:v>117.5187191073025</c:v>
                </c:pt>
                <c:pt idx="369">
                  <c:v>117.28133846151292</c:v>
                </c:pt>
                <c:pt idx="370">
                  <c:v>116.87662513098212</c:v>
                </c:pt>
                <c:pt idx="371">
                  <c:v>116.52528058084869</c:v>
                </c:pt>
                <c:pt idx="372">
                  <c:v>116.60080368892056</c:v>
                </c:pt>
                <c:pt idx="373">
                  <c:v>116.01069656166122</c:v>
                </c:pt>
                <c:pt idx="374">
                  <c:v>115.74096589728012</c:v>
                </c:pt>
                <c:pt idx="375">
                  <c:v>115.93793357641627</c:v>
                </c:pt>
                <c:pt idx="376">
                  <c:v>115.93521022687187</c:v>
                </c:pt>
                <c:pt idx="377">
                  <c:v>116.18505926306311</c:v>
                </c:pt>
                <c:pt idx="378">
                  <c:v>116.40965139715924</c:v>
                </c:pt>
                <c:pt idx="379">
                  <c:v>116.83343494856791</c:v>
                </c:pt>
                <c:pt idx="380">
                  <c:v>116.78173016203245</c:v>
                </c:pt>
                <c:pt idx="381">
                  <c:v>117.0971896574318</c:v>
                </c:pt>
                <c:pt idx="382">
                  <c:v>116.85139065385614</c:v>
                </c:pt>
                <c:pt idx="383">
                  <c:v>116.33699088183967</c:v>
                </c:pt>
                <c:pt idx="384">
                  <c:v>115.927712515777</c:v>
                </c:pt>
                <c:pt idx="385">
                  <c:v>115.47661756886016</c:v>
                </c:pt>
                <c:pt idx="386">
                  <c:v>115.73710101525361</c:v>
                </c:pt>
                <c:pt idx="387">
                  <c:v>115.48452337308825</c:v>
                </c:pt>
                <c:pt idx="388">
                  <c:v>115.63323731193327</c:v>
                </c:pt>
                <c:pt idx="389">
                  <c:v>115.86657312885113</c:v>
                </c:pt>
                <c:pt idx="390">
                  <c:v>116.17414364340394</c:v>
                </c:pt>
                <c:pt idx="391">
                  <c:v>116.17081492441628</c:v>
                </c:pt>
                <c:pt idx="392">
                  <c:v>116.45036206872385</c:v>
                </c:pt>
                <c:pt idx="393">
                  <c:v>116.49037730961381</c:v>
                </c:pt>
                <c:pt idx="394">
                  <c:v>116.90969285285729</c:v>
                </c:pt>
                <c:pt idx="395">
                  <c:v>116.96974994086932</c:v>
                </c:pt>
                <c:pt idx="396">
                  <c:v>117.13459986691757</c:v>
                </c:pt>
                <c:pt idx="397">
                  <c:v>116.880714005611</c:v>
                </c:pt>
                <c:pt idx="398">
                  <c:v>116.92048308153565</c:v>
                </c:pt>
                <c:pt idx="399">
                  <c:v>116.84052883472694</c:v>
                </c:pt>
                <c:pt idx="400">
                  <c:v>117.0450715145632</c:v>
                </c:pt>
                <c:pt idx="401">
                  <c:v>117.4824833387776</c:v>
                </c:pt>
                <c:pt idx="402">
                  <c:v>117.38261823353444</c:v>
                </c:pt>
                <c:pt idx="403">
                  <c:v>117.53277257422397</c:v>
                </c:pt>
                <c:pt idx="404">
                  <c:v>117.41361776094128</c:v>
                </c:pt>
                <c:pt idx="405">
                  <c:v>117.59492895030907</c:v>
                </c:pt>
                <c:pt idx="406">
                  <c:v>118.04892537957848</c:v>
                </c:pt>
                <c:pt idx="407">
                  <c:v>118.10762932066835</c:v>
                </c:pt>
                <c:pt idx="408">
                  <c:v>118.04669830416741</c:v>
                </c:pt>
                <c:pt idx="409">
                  <c:v>118.3371454236794</c:v>
                </c:pt>
                <c:pt idx="410">
                  <c:v>118.34868101862553</c:v>
                </c:pt>
                <c:pt idx="411">
                  <c:v>118.35588324090159</c:v>
                </c:pt>
                <c:pt idx="412">
                  <c:v>118.64609328688324</c:v>
                </c:pt>
                <c:pt idx="413">
                  <c:v>119.27265188321716</c:v>
                </c:pt>
                <c:pt idx="414">
                  <c:v>118.96907563909994</c:v>
                </c:pt>
                <c:pt idx="415">
                  <c:v>118.32011416238038</c:v>
                </c:pt>
                <c:pt idx="416">
                  <c:v>118.44613054234038</c:v>
                </c:pt>
                <c:pt idx="417">
                  <c:v>118.28250447458656</c:v>
                </c:pt>
                <c:pt idx="418">
                  <c:v>118.64352423894583</c:v>
                </c:pt>
                <c:pt idx="419">
                  <c:v>118.76200526753729</c:v>
                </c:pt>
                <c:pt idx="420">
                  <c:v>118.68152337507759</c:v>
                </c:pt>
                <c:pt idx="421">
                  <c:v>119.05547711378958</c:v>
                </c:pt>
                <c:pt idx="422">
                  <c:v>119.27998155596305</c:v>
                </c:pt>
                <c:pt idx="423">
                  <c:v>119.51976035714874</c:v>
                </c:pt>
                <c:pt idx="424">
                  <c:v>119.48655748133028</c:v>
                </c:pt>
                <c:pt idx="425">
                  <c:v>119.63408116829044</c:v>
                </c:pt>
                <c:pt idx="426">
                  <c:v>119.53337246469593</c:v>
                </c:pt>
                <c:pt idx="427">
                  <c:v>119.64307700949384</c:v>
                </c:pt>
                <c:pt idx="428">
                  <c:v>119.63798762829174</c:v>
                </c:pt>
                <c:pt idx="429">
                  <c:v>119.19232247613277</c:v>
                </c:pt>
                <c:pt idx="430">
                  <c:v>119.46355197901426</c:v>
                </c:pt>
                <c:pt idx="431">
                  <c:v>119.6297438561778</c:v>
                </c:pt>
                <c:pt idx="432">
                  <c:v>119.43842733761541</c:v>
                </c:pt>
                <c:pt idx="433">
                  <c:v>119.59345343092573</c:v>
                </c:pt>
                <c:pt idx="434">
                  <c:v>120.23455072432047</c:v>
                </c:pt>
                <c:pt idx="435">
                  <c:v>120.36686960080131</c:v>
                </c:pt>
                <c:pt idx="436">
                  <c:v>120.26190568823702</c:v>
                </c:pt>
                <c:pt idx="437">
                  <c:v>119.64520256200822</c:v>
                </c:pt>
                <c:pt idx="438">
                  <c:v>119.62425212388706</c:v>
                </c:pt>
                <c:pt idx="439">
                  <c:v>119.59306924177561</c:v>
                </c:pt>
                <c:pt idx="440">
                  <c:v>119.34836557230609</c:v>
                </c:pt>
                <c:pt idx="441">
                  <c:v>119.58346681604235</c:v>
                </c:pt>
                <c:pt idx="442">
                  <c:v>119.69479170801594</c:v>
                </c:pt>
                <c:pt idx="443">
                  <c:v>119.05719717076471</c:v>
                </c:pt>
                <c:pt idx="444">
                  <c:v>118.96474564345914</c:v>
                </c:pt>
                <c:pt idx="445">
                  <c:v>119.61921442780353</c:v>
                </c:pt>
                <c:pt idx="446">
                  <c:v>119.1616423233953</c:v>
                </c:pt>
                <c:pt idx="447">
                  <c:v>119.47657842244043</c:v>
                </c:pt>
                <c:pt idx="448">
                  <c:v>119.55401321560932</c:v>
                </c:pt>
                <c:pt idx="449">
                  <c:v>119.89523377386705</c:v>
                </c:pt>
                <c:pt idx="450">
                  <c:v>119.99657633496675</c:v>
                </c:pt>
                <c:pt idx="451">
                  <c:v>119.85513047573056</c:v>
                </c:pt>
                <c:pt idx="452">
                  <c:v>120.40976564034787</c:v>
                </c:pt>
                <c:pt idx="453">
                  <c:v>120.61041714048943</c:v>
                </c:pt>
                <c:pt idx="454">
                  <c:v>120.55486987766537</c:v>
                </c:pt>
                <c:pt idx="455">
                  <c:v>121.10545792879509</c:v>
                </c:pt>
                <c:pt idx="456">
                  <c:v>120.5859476395002</c:v>
                </c:pt>
                <c:pt idx="457">
                  <c:v>120.80136005538454</c:v>
                </c:pt>
                <c:pt idx="458">
                  <c:v>120.50654541005821</c:v>
                </c:pt>
                <c:pt idx="459">
                  <c:v>120.36797585117498</c:v>
                </c:pt>
                <c:pt idx="460">
                  <c:v>120.55549733479056</c:v>
                </c:pt>
                <c:pt idx="461">
                  <c:v>120.80328647828796</c:v>
                </c:pt>
                <c:pt idx="462">
                  <c:v>120.66646597337571</c:v>
                </c:pt>
                <c:pt idx="463">
                  <c:v>120.16768014265382</c:v>
                </c:pt>
                <c:pt idx="464">
                  <c:v>120.04401963597911</c:v>
                </c:pt>
                <c:pt idx="465">
                  <c:v>119.92080893249256</c:v>
                </c:pt>
                <c:pt idx="466">
                  <c:v>119.82456560866974</c:v>
                </c:pt>
                <c:pt idx="467">
                  <c:v>119.11761246318081</c:v>
                </c:pt>
                <c:pt idx="468">
                  <c:v>118.70180160626228</c:v>
                </c:pt>
                <c:pt idx="469">
                  <c:v>118.4740499148822</c:v>
                </c:pt>
                <c:pt idx="470">
                  <c:v>118.58754663421742</c:v>
                </c:pt>
                <c:pt idx="471">
                  <c:v>118.33666136437171</c:v>
                </c:pt>
                <c:pt idx="472">
                  <c:v>118.58956277821846</c:v>
                </c:pt>
                <c:pt idx="473">
                  <c:v>118.69908111929584</c:v>
                </c:pt>
                <c:pt idx="474">
                  <c:v>119.3463381670839</c:v>
                </c:pt>
                <c:pt idx="475">
                  <c:v>119.05888363464948</c:v>
                </c:pt>
                <c:pt idx="476">
                  <c:v>119.10575300099937</c:v>
                </c:pt>
                <c:pt idx="477">
                  <c:v>119.0967801662698</c:v>
                </c:pt>
                <c:pt idx="478">
                  <c:v>119.00965988536343</c:v>
                </c:pt>
                <c:pt idx="479">
                  <c:v>119.13934129123543</c:v>
                </c:pt>
                <c:pt idx="480">
                  <c:v>119.56973973810307</c:v>
                </c:pt>
                <c:pt idx="481">
                  <c:v>120.2225705642427</c:v>
                </c:pt>
                <c:pt idx="482">
                  <c:v>119.99888404345884</c:v>
                </c:pt>
                <c:pt idx="483">
                  <c:v>120.39568421039421</c:v>
                </c:pt>
                <c:pt idx="484">
                  <c:v>120.48264420323707</c:v>
                </c:pt>
                <c:pt idx="485">
                  <c:v>120.13620168070754</c:v>
                </c:pt>
                <c:pt idx="486">
                  <c:v>120.32818211343096</c:v>
                </c:pt>
                <c:pt idx="487">
                  <c:v>120.49754206380884</c:v>
                </c:pt>
                <c:pt idx="488">
                  <c:v>120.36630272090616</c:v>
                </c:pt>
                <c:pt idx="489">
                  <c:v>120.01805867594194</c:v>
                </c:pt>
                <c:pt idx="490">
                  <c:v>119.77748792488018</c:v>
                </c:pt>
                <c:pt idx="491">
                  <c:v>119.93193537874041</c:v>
                </c:pt>
                <c:pt idx="492">
                  <c:v>119.99693430485115</c:v>
                </c:pt>
                <c:pt idx="493">
                  <c:v>120.01432746450367</c:v>
                </c:pt>
                <c:pt idx="494">
                  <c:v>120.32108698040354</c:v>
                </c:pt>
                <c:pt idx="495">
                  <c:v>120.35208222609113</c:v>
                </c:pt>
                <c:pt idx="496">
                  <c:v>120.07278051854919</c:v>
                </c:pt>
                <c:pt idx="497">
                  <c:v>119.84659203933464</c:v>
                </c:pt>
                <c:pt idx="498">
                  <c:v>119.79033630781574</c:v>
                </c:pt>
                <c:pt idx="499">
                  <c:v>119.60240713851979</c:v>
                </c:pt>
                <c:pt idx="500">
                  <c:v>119.25823506106866</c:v>
                </c:pt>
                <c:pt idx="501">
                  <c:v>119.14052173324902</c:v>
                </c:pt>
                <c:pt idx="502">
                  <c:v>119.15856273517925</c:v>
                </c:pt>
                <c:pt idx="503">
                  <c:v>118.74712394952924</c:v>
                </c:pt>
                <c:pt idx="504">
                  <c:v>119.31435740106792</c:v>
                </c:pt>
                <c:pt idx="505">
                  <c:v>119.41364405983515</c:v>
                </c:pt>
                <c:pt idx="506">
                  <c:v>119.13101155868127</c:v>
                </c:pt>
                <c:pt idx="507">
                  <c:v>119.23510032804026</c:v>
                </c:pt>
                <c:pt idx="508">
                  <c:v>118.93145401653138</c:v>
                </c:pt>
                <c:pt idx="509">
                  <c:v>118.88680382666023</c:v>
                </c:pt>
                <c:pt idx="510">
                  <c:v>118.6473491793674</c:v>
                </c:pt>
                <c:pt idx="511">
                  <c:v>118.71214550987968</c:v>
                </c:pt>
                <c:pt idx="512">
                  <c:v>119.07525651165707</c:v>
                </c:pt>
                <c:pt idx="513">
                  <c:v>119.12601605136719</c:v>
                </c:pt>
                <c:pt idx="514">
                  <c:v>119.62070401016871</c:v>
                </c:pt>
                <c:pt idx="515">
                  <c:v>119.33397787876763</c:v>
                </c:pt>
                <c:pt idx="516">
                  <c:v>119.39439966796422</c:v>
                </c:pt>
                <c:pt idx="517">
                  <c:v>119.34932538130757</c:v>
                </c:pt>
                <c:pt idx="518">
                  <c:v>119.29320857457523</c:v>
                </c:pt>
                <c:pt idx="519">
                  <c:v>118.57811060236071</c:v>
                </c:pt>
                <c:pt idx="520">
                  <c:v>118.42728628671652</c:v>
                </c:pt>
                <c:pt idx="521">
                  <c:v>118.70333555633364</c:v>
                </c:pt>
                <c:pt idx="522">
                  <c:v>118.73642832967433</c:v>
                </c:pt>
                <c:pt idx="523">
                  <c:v>119.48559273227828</c:v>
                </c:pt>
                <c:pt idx="524">
                  <c:v>119.10405305375832</c:v>
                </c:pt>
                <c:pt idx="525">
                  <c:v>119.02677762186474</c:v>
                </c:pt>
                <c:pt idx="526">
                  <c:v>119.45941034508762</c:v>
                </c:pt>
                <c:pt idx="527">
                  <c:v>119.69111378947257</c:v>
                </c:pt>
                <c:pt idx="528">
                  <c:v>119.93113984599592</c:v>
                </c:pt>
                <c:pt idx="529">
                  <c:v>119.90165707316504</c:v>
                </c:pt>
                <c:pt idx="530">
                  <c:v>119.8331139174292</c:v>
                </c:pt>
                <c:pt idx="531">
                  <c:v>120.09557718342994</c:v>
                </c:pt>
                <c:pt idx="532">
                  <c:v>119.79684278908496</c:v>
                </c:pt>
                <c:pt idx="533">
                  <c:v>119.99291697670147</c:v>
                </c:pt>
                <c:pt idx="534">
                  <c:v>120.45120511191097</c:v>
                </c:pt>
                <c:pt idx="535">
                  <c:v>120.52007479522887</c:v>
                </c:pt>
                <c:pt idx="536">
                  <c:v>120.4869605713788</c:v>
                </c:pt>
                <c:pt idx="537">
                  <c:v>120.46357875729598</c:v>
                </c:pt>
                <c:pt idx="538">
                  <c:v>120.69149799569774</c:v>
                </c:pt>
                <c:pt idx="539">
                  <c:v>121.10155429661945</c:v>
                </c:pt>
                <c:pt idx="540">
                  <c:v>121.34469124870694</c:v>
                </c:pt>
                <c:pt idx="541">
                  <c:v>121.64302483937101</c:v>
                </c:pt>
                <c:pt idx="542">
                  <c:v>121.7115444766231</c:v>
                </c:pt>
                <c:pt idx="543">
                  <c:v>121.61366431722506</c:v>
                </c:pt>
                <c:pt idx="544">
                  <c:v>121.20667930676967</c:v>
                </c:pt>
                <c:pt idx="545">
                  <c:v>121.517685287558</c:v>
                </c:pt>
                <c:pt idx="546">
                  <c:v>121.50274768909088</c:v>
                </c:pt>
                <c:pt idx="547">
                  <c:v>121.68920624184668</c:v>
                </c:pt>
                <c:pt idx="548">
                  <c:v>122.2433821540904</c:v>
                </c:pt>
                <c:pt idx="549">
                  <c:v>122.56479487258459</c:v>
                </c:pt>
                <c:pt idx="550">
                  <c:v>122.77453498345925</c:v>
                </c:pt>
                <c:pt idx="551">
                  <c:v>122.73372773163483</c:v>
                </c:pt>
                <c:pt idx="552">
                  <c:v>123.1755415309995</c:v>
                </c:pt>
                <c:pt idx="553">
                  <c:v>123.50302944346772</c:v>
                </c:pt>
                <c:pt idx="554">
                  <c:v>123.4853433462355</c:v>
                </c:pt>
                <c:pt idx="555">
                  <c:v>123.67482002626092</c:v>
                </c:pt>
                <c:pt idx="556">
                  <c:v>123.94762466098797</c:v>
                </c:pt>
                <c:pt idx="557">
                  <c:v>124.12358565925756</c:v>
                </c:pt>
                <c:pt idx="558">
                  <c:v>124.06790780022888</c:v>
                </c:pt>
                <c:pt idx="559">
                  <c:v>123.69375775162518</c:v>
                </c:pt>
                <c:pt idx="560">
                  <c:v>123.76089202615086</c:v>
                </c:pt>
                <c:pt idx="561">
                  <c:v>123.63915670464922</c:v>
                </c:pt>
                <c:pt idx="562">
                  <c:v>123.59989895977944</c:v>
                </c:pt>
                <c:pt idx="563">
                  <c:v>122.91238690090856</c:v>
                </c:pt>
                <c:pt idx="564">
                  <c:v>123.26621012423513</c:v>
                </c:pt>
                <c:pt idx="565">
                  <c:v>121.42842432670695</c:v>
                </c:pt>
                <c:pt idx="566">
                  <c:v>121.94120249332198</c:v>
                </c:pt>
                <c:pt idx="567">
                  <c:v>122.20015266275904</c:v>
                </c:pt>
                <c:pt idx="568">
                  <c:v>121.54934894382632</c:v>
                </c:pt>
                <c:pt idx="569">
                  <c:v>120.72336339886211</c:v>
                </c:pt>
                <c:pt idx="570">
                  <c:v>119.54837289401729</c:v>
                </c:pt>
                <c:pt idx="571">
                  <c:v>121.42718647251215</c:v>
                </c:pt>
                <c:pt idx="572">
                  <c:v>121.93782535429796</c:v>
                </c:pt>
                <c:pt idx="573">
                  <c:v>123.05428928560005</c:v>
                </c:pt>
                <c:pt idx="574">
                  <c:v>124.34843150048576</c:v>
                </c:pt>
                <c:pt idx="575">
                  <c:v>124.28518678166067</c:v>
                </c:pt>
                <c:pt idx="576">
                  <c:v>126.35044700688273</c:v>
                </c:pt>
                <c:pt idx="577">
                  <c:v>129.02508937748595</c:v>
                </c:pt>
                <c:pt idx="578">
                  <c:v>130.53966286168972</c:v>
                </c:pt>
                <c:pt idx="579">
                  <c:v>131.01819387120591</c:v>
                </c:pt>
                <c:pt idx="580">
                  <c:v>130.34437872712138</c:v>
                </c:pt>
                <c:pt idx="581">
                  <c:v>130.71497521914151</c:v>
                </c:pt>
                <c:pt idx="582">
                  <c:v>129.71131813565995</c:v>
                </c:pt>
                <c:pt idx="583">
                  <c:v>128.02186044476971</c:v>
                </c:pt>
                <c:pt idx="584">
                  <c:v>127.65482163314081</c:v>
                </c:pt>
                <c:pt idx="585">
                  <c:v>129.30967616803511</c:v>
                </c:pt>
                <c:pt idx="586">
                  <c:v>129.96982852765458</c:v>
                </c:pt>
                <c:pt idx="587">
                  <c:v>133.23263188918688</c:v>
                </c:pt>
                <c:pt idx="588">
                  <c:v>133.74651008756618</c:v>
                </c:pt>
                <c:pt idx="589">
                  <c:v>134.64967389475979</c:v>
                </c:pt>
                <c:pt idx="590">
                  <c:v>135.55704663030028</c:v>
                </c:pt>
                <c:pt idx="591">
                  <c:v>134.18802816689251</c:v>
                </c:pt>
                <c:pt idx="592">
                  <c:v>134.22011343317962</c:v>
                </c:pt>
                <c:pt idx="593">
                  <c:v>133.58561658325408</c:v>
                </c:pt>
                <c:pt idx="594">
                  <c:v>133.63359591639019</c:v>
                </c:pt>
                <c:pt idx="595">
                  <c:v>133.76311377186016</c:v>
                </c:pt>
                <c:pt idx="596">
                  <c:v>132.87866879192723</c:v>
                </c:pt>
                <c:pt idx="597">
                  <c:v>132.28266503173643</c:v>
                </c:pt>
                <c:pt idx="598">
                  <c:v>132.79077305559193</c:v>
                </c:pt>
                <c:pt idx="599">
                  <c:v>132.59817669052214</c:v>
                </c:pt>
                <c:pt idx="600">
                  <c:v>132.8841329210002</c:v>
                </c:pt>
                <c:pt idx="601">
                  <c:v>133.23234340063297</c:v>
                </c:pt>
                <c:pt idx="602">
                  <c:v>133.94967141402529</c:v>
                </c:pt>
                <c:pt idx="603">
                  <c:v>133.8741436243462</c:v>
                </c:pt>
                <c:pt idx="604">
                  <c:v>134.18035482712361</c:v>
                </c:pt>
                <c:pt idx="605">
                  <c:v>133.75966091184824</c:v>
                </c:pt>
                <c:pt idx="606">
                  <c:v>134.00678458341719</c:v>
                </c:pt>
                <c:pt idx="607">
                  <c:v>133.58042217808961</c:v>
                </c:pt>
                <c:pt idx="608">
                  <c:v>132.9122783045238</c:v>
                </c:pt>
                <c:pt idx="609">
                  <c:v>132.43249906928565</c:v>
                </c:pt>
                <c:pt idx="610">
                  <c:v>134.02589841663041</c:v>
                </c:pt>
                <c:pt idx="611">
                  <c:v>134.20718274022576</c:v>
                </c:pt>
                <c:pt idx="612">
                  <c:v>134.7778640721051</c:v>
                </c:pt>
                <c:pt idx="613">
                  <c:v>134.95607776806131</c:v>
                </c:pt>
                <c:pt idx="614">
                  <c:v>134.53058915656314</c:v>
                </c:pt>
                <c:pt idx="615">
                  <c:v>135.02267681379158</c:v>
                </c:pt>
                <c:pt idx="616">
                  <c:v>134.92329307599522</c:v>
                </c:pt>
                <c:pt idx="617">
                  <c:v>135.88502604314905</c:v>
                </c:pt>
                <c:pt idx="618">
                  <c:v>136.28008205617783</c:v>
                </c:pt>
                <c:pt idx="619">
                  <c:v>136.12773114916541</c:v>
                </c:pt>
                <c:pt idx="620">
                  <c:v>134.87941683726712</c:v>
                </c:pt>
                <c:pt idx="621">
                  <c:v>134.66100693474291</c:v>
                </c:pt>
                <c:pt idx="622">
                  <c:v>134.5553390266179</c:v>
                </c:pt>
                <c:pt idx="623">
                  <c:v>134.85255432507404</c:v>
                </c:pt>
                <c:pt idx="624">
                  <c:v>135.75276733689356</c:v>
                </c:pt>
                <c:pt idx="625">
                  <c:v>135.95095212907927</c:v>
                </c:pt>
                <c:pt idx="626">
                  <c:v>135.18936841998007</c:v>
                </c:pt>
                <c:pt idx="627">
                  <c:v>135.60106213564029</c:v>
                </c:pt>
                <c:pt idx="628">
                  <c:v>134.99484705410441</c:v>
                </c:pt>
                <c:pt idx="629">
                  <c:v>134.88596900995219</c:v>
                </c:pt>
                <c:pt idx="630">
                  <c:v>135.14343941893426</c:v>
                </c:pt>
                <c:pt idx="631">
                  <c:v>135.07154923109795</c:v>
                </c:pt>
                <c:pt idx="632">
                  <c:v>134.4209707737412</c:v>
                </c:pt>
                <c:pt idx="633">
                  <c:v>133.65658495477808</c:v>
                </c:pt>
                <c:pt idx="634">
                  <c:v>134.20394416852565</c:v>
                </c:pt>
                <c:pt idx="635">
                  <c:v>133.9124969009807</c:v>
                </c:pt>
                <c:pt idx="636">
                  <c:v>133.65737375341169</c:v>
                </c:pt>
                <c:pt idx="637">
                  <c:v>133.67232892937955</c:v>
                </c:pt>
                <c:pt idx="638">
                  <c:v>133.64794327530328</c:v>
                </c:pt>
                <c:pt idx="639">
                  <c:v>135.02628108393807</c:v>
                </c:pt>
                <c:pt idx="640">
                  <c:v>134.30570151554483</c:v>
                </c:pt>
                <c:pt idx="641">
                  <c:v>134.66042270445212</c:v>
                </c:pt>
                <c:pt idx="642">
                  <c:v>135.062366199937</c:v>
                </c:pt>
                <c:pt idx="643">
                  <c:v>135.57161696973154</c:v>
                </c:pt>
                <c:pt idx="644">
                  <c:v>135.82685940501179</c:v>
                </c:pt>
                <c:pt idx="645">
                  <c:v>135.02951457897231</c:v>
                </c:pt>
                <c:pt idx="646">
                  <c:v>134.60212838296914</c:v>
                </c:pt>
                <c:pt idx="647">
                  <c:v>135.02124258808192</c:v>
                </c:pt>
                <c:pt idx="648">
                  <c:v>135.70064877321212</c:v>
                </c:pt>
                <c:pt idx="649">
                  <c:v>135.47145476202098</c:v>
                </c:pt>
                <c:pt idx="650">
                  <c:v>135.73057730960076</c:v>
                </c:pt>
                <c:pt idx="651">
                  <c:v>135.91723988162769</c:v>
                </c:pt>
                <c:pt idx="652">
                  <c:v>135.79810070398744</c:v>
                </c:pt>
                <c:pt idx="653">
                  <c:v>135.78553134660876</c:v>
                </c:pt>
                <c:pt idx="654">
                  <c:v>135.9070586405079</c:v>
                </c:pt>
                <c:pt idx="655">
                  <c:v>135.41563054179892</c:v>
                </c:pt>
                <c:pt idx="656">
                  <c:v>135.60706055378432</c:v>
                </c:pt>
                <c:pt idx="657">
                  <c:v>134.90899267438004</c:v>
                </c:pt>
                <c:pt idx="658">
                  <c:v>135.17693171065648</c:v>
                </c:pt>
                <c:pt idx="659">
                  <c:v>134.98133343379217</c:v>
                </c:pt>
                <c:pt idx="660">
                  <c:v>134.76060190236598</c:v>
                </c:pt>
                <c:pt idx="661">
                  <c:v>134.59334277576815</c:v>
                </c:pt>
                <c:pt idx="662">
                  <c:v>134.74076242216367</c:v>
                </c:pt>
                <c:pt idx="663">
                  <c:v>134.79211762685065</c:v>
                </c:pt>
                <c:pt idx="664">
                  <c:v>134.96369742327781</c:v>
                </c:pt>
                <c:pt idx="665">
                  <c:v>135.19826009529004</c:v>
                </c:pt>
                <c:pt idx="666">
                  <c:v>134.50925002665548</c:v>
                </c:pt>
                <c:pt idx="667">
                  <c:v>134.1773320523105</c:v>
                </c:pt>
                <c:pt idx="668">
                  <c:v>134.45387049512249</c:v>
                </c:pt>
                <c:pt idx="669">
                  <c:v>134.07369299762306</c:v>
                </c:pt>
                <c:pt idx="670">
                  <c:v>133.25953958161949</c:v>
                </c:pt>
                <c:pt idx="671">
                  <c:v>133.64830631304824</c:v>
                </c:pt>
                <c:pt idx="672">
                  <c:v>133.41905399408617</c:v>
                </c:pt>
                <c:pt idx="673">
                  <c:v>133.60101312364085</c:v>
                </c:pt>
                <c:pt idx="674">
                  <c:v>134.83760723283885</c:v>
                </c:pt>
                <c:pt idx="675">
                  <c:v>135.54054824853705</c:v>
                </c:pt>
                <c:pt idx="676">
                  <c:v>135.35558891182606</c:v>
                </c:pt>
                <c:pt idx="677">
                  <c:v>134.05205359238087</c:v>
                </c:pt>
                <c:pt idx="678">
                  <c:v>134.27666353536293</c:v>
                </c:pt>
                <c:pt idx="679">
                  <c:v>135.02151673563648</c:v>
                </c:pt>
                <c:pt idx="680">
                  <c:v>135.59376817388099</c:v>
                </c:pt>
                <c:pt idx="681">
                  <c:v>135.51891027381174</c:v>
                </c:pt>
                <c:pt idx="682">
                  <c:v>135.13416426972051</c:v>
                </c:pt>
                <c:pt idx="683">
                  <c:v>134.92719202814229</c:v>
                </c:pt>
                <c:pt idx="684">
                  <c:v>134.31681528640934</c:v>
                </c:pt>
                <c:pt idx="685">
                  <c:v>133.57142314409103</c:v>
                </c:pt>
                <c:pt idx="686">
                  <c:v>133.16532893312038</c:v>
                </c:pt>
                <c:pt idx="687">
                  <c:v>133.96661836271795</c:v>
                </c:pt>
                <c:pt idx="688">
                  <c:v>134.19403031205883</c:v>
                </c:pt>
                <c:pt idx="689">
                  <c:v>135.27786779058033</c:v>
                </c:pt>
                <c:pt idx="690">
                  <c:v>135.07829620017114</c:v>
                </c:pt>
                <c:pt idx="691">
                  <c:v>134.82022108868961</c:v>
                </c:pt>
                <c:pt idx="692">
                  <c:v>134.69391790461682</c:v>
                </c:pt>
                <c:pt idx="693">
                  <c:v>134.76523564773601</c:v>
                </c:pt>
                <c:pt idx="694">
                  <c:v>133.85513354362118</c:v>
                </c:pt>
                <c:pt idx="695">
                  <c:v>133.28105785190846</c:v>
                </c:pt>
                <c:pt idx="696">
                  <c:v>133.41840465933072</c:v>
                </c:pt>
                <c:pt idx="697">
                  <c:v>134.29550411480392</c:v>
                </c:pt>
                <c:pt idx="698">
                  <c:v>134.32458287741892</c:v>
                </c:pt>
                <c:pt idx="699">
                  <c:v>134.41348110234594</c:v>
                </c:pt>
                <c:pt idx="700">
                  <c:v>134.48789263894935</c:v>
                </c:pt>
                <c:pt idx="701">
                  <c:v>134.79452307394965</c:v>
                </c:pt>
                <c:pt idx="702">
                  <c:v>134.76710012989096</c:v>
                </c:pt>
                <c:pt idx="703">
                  <c:v>134.32014544213169</c:v>
                </c:pt>
                <c:pt idx="704">
                  <c:v>134.86213158031629</c:v>
                </c:pt>
                <c:pt idx="705">
                  <c:v>134.34504206332244</c:v>
                </c:pt>
                <c:pt idx="706">
                  <c:v>134.44501156962826</c:v>
                </c:pt>
                <c:pt idx="707">
                  <c:v>134.66190993250069</c:v>
                </c:pt>
                <c:pt idx="708">
                  <c:v>134.90641312882187</c:v>
                </c:pt>
                <c:pt idx="709">
                  <c:v>134.50856415423621</c:v>
                </c:pt>
                <c:pt idx="710">
                  <c:v>135.5674496022217</c:v>
                </c:pt>
                <c:pt idx="711">
                  <c:v>136.16717496750647</c:v>
                </c:pt>
                <c:pt idx="712">
                  <c:v>136.12198589903306</c:v>
                </c:pt>
                <c:pt idx="713">
                  <c:v>136.45338717970213</c:v>
                </c:pt>
                <c:pt idx="714">
                  <c:v>137.10853720365122</c:v>
                </c:pt>
                <c:pt idx="715">
                  <c:v>136.32874458642047</c:v>
                </c:pt>
                <c:pt idx="716">
                  <c:v>135.65027616092272</c:v>
                </c:pt>
                <c:pt idx="717">
                  <c:v>135.68494646612851</c:v>
                </c:pt>
                <c:pt idx="718">
                  <c:v>135.49355893477559</c:v>
                </c:pt>
                <c:pt idx="719">
                  <c:v>135.64038654820601</c:v>
                </c:pt>
                <c:pt idx="720">
                  <c:v>134.91213879207211</c:v>
                </c:pt>
                <c:pt idx="721">
                  <c:v>135.06049365878894</c:v>
                </c:pt>
                <c:pt idx="722">
                  <c:v>135.08095682916368</c:v>
                </c:pt>
                <c:pt idx="723">
                  <c:v>135.18391497023495</c:v>
                </c:pt>
                <c:pt idx="724">
                  <c:v>134.54002055493478</c:v>
                </c:pt>
                <c:pt idx="725">
                  <c:v>134.70124500750643</c:v>
                </c:pt>
                <c:pt idx="726">
                  <c:v>135.05925818287011</c:v>
                </c:pt>
                <c:pt idx="727">
                  <c:v>134.95849131981589</c:v>
                </c:pt>
                <c:pt idx="728">
                  <c:v>135.5433108796642</c:v>
                </c:pt>
                <c:pt idx="729">
                  <c:v>135.43556228975203</c:v>
                </c:pt>
                <c:pt idx="730">
                  <c:v>134.5377288755152</c:v>
                </c:pt>
                <c:pt idx="731">
                  <c:v>134.15533473739052</c:v>
                </c:pt>
                <c:pt idx="732">
                  <c:v>133.88845582591182</c:v>
                </c:pt>
                <c:pt idx="733">
                  <c:v>134.67784197839862</c:v>
                </c:pt>
                <c:pt idx="734">
                  <c:v>134.29258866200453</c:v>
                </c:pt>
                <c:pt idx="735">
                  <c:v>134.63744156835216</c:v>
                </c:pt>
                <c:pt idx="736">
                  <c:v>134.51141931609362</c:v>
                </c:pt>
                <c:pt idx="737">
                  <c:v>135.42979308255869</c:v>
                </c:pt>
                <c:pt idx="738">
                  <c:v>136.39826374361232</c:v>
                </c:pt>
                <c:pt idx="739">
                  <c:v>136.60438040522004</c:v>
                </c:pt>
                <c:pt idx="740">
                  <c:v>136.82737789468118</c:v>
                </c:pt>
                <c:pt idx="741">
                  <c:v>135.979885521928</c:v>
                </c:pt>
                <c:pt idx="742">
                  <c:v>135.71275029922035</c:v>
                </c:pt>
                <c:pt idx="743">
                  <c:v>135.17967761850375</c:v>
                </c:pt>
                <c:pt idx="744">
                  <c:v>134.61147049599231</c:v>
                </c:pt>
                <c:pt idx="745">
                  <c:v>134.78951351920014</c:v>
                </c:pt>
                <c:pt idx="746">
                  <c:v>134.66070730889393</c:v>
                </c:pt>
                <c:pt idx="747">
                  <c:v>135.10864268429876</c:v>
                </c:pt>
                <c:pt idx="748">
                  <c:v>134.88906162395958</c:v>
                </c:pt>
                <c:pt idx="749">
                  <c:v>134.5090569607238</c:v>
                </c:pt>
                <c:pt idx="750">
                  <c:v>134.23860770990584</c:v>
                </c:pt>
                <c:pt idx="751">
                  <c:v>134.45492994545793</c:v>
                </c:pt>
                <c:pt idx="752">
                  <c:v>133.73280573842004</c:v>
                </c:pt>
                <c:pt idx="753">
                  <c:v>133.71664305569777</c:v>
                </c:pt>
                <c:pt idx="754">
                  <c:v>133.51205783349775</c:v>
                </c:pt>
                <c:pt idx="755">
                  <c:v>133.90363350081324</c:v>
                </c:pt>
                <c:pt idx="756">
                  <c:v>133.49556382473946</c:v>
                </c:pt>
                <c:pt idx="757">
                  <c:v>133.25993488364341</c:v>
                </c:pt>
                <c:pt idx="758">
                  <c:v>132.76650676161572</c:v>
                </c:pt>
                <c:pt idx="759">
                  <c:v>132.5199261663721</c:v>
                </c:pt>
                <c:pt idx="760">
                  <c:v>132.3393048004215</c:v>
                </c:pt>
                <c:pt idx="761">
                  <c:v>131.18673934610337</c:v>
                </c:pt>
                <c:pt idx="762">
                  <c:v>131.26268620982378</c:v>
                </c:pt>
                <c:pt idx="763">
                  <c:v>130.41993022148949</c:v>
                </c:pt>
                <c:pt idx="764">
                  <c:v>130.35068811755238</c:v>
                </c:pt>
                <c:pt idx="765">
                  <c:v>130.40024330965858</c:v>
                </c:pt>
                <c:pt idx="766">
                  <c:v>130.54253197878856</c:v>
                </c:pt>
                <c:pt idx="767">
                  <c:v>130.09057277590696</c:v>
                </c:pt>
                <c:pt idx="768">
                  <c:v>129.5639316845147</c:v>
                </c:pt>
                <c:pt idx="769">
                  <c:v>129.69646597318282</c:v>
                </c:pt>
                <c:pt idx="770">
                  <c:v>128.99807785110116</c:v>
                </c:pt>
                <c:pt idx="771">
                  <c:v>128.56432990442875</c:v>
                </c:pt>
                <c:pt idx="772">
                  <c:v>128.39750231669387</c:v>
                </c:pt>
                <c:pt idx="773">
                  <c:v>127.46213167402414</c:v>
                </c:pt>
                <c:pt idx="774">
                  <c:v>127.64639429636077</c:v>
                </c:pt>
                <c:pt idx="775">
                  <c:v>128.55167454695791</c:v>
                </c:pt>
                <c:pt idx="776">
                  <c:v>129.12485227799084</c:v>
                </c:pt>
                <c:pt idx="777">
                  <c:v>128.87522229161829</c:v>
                </c:pt>
                <c:pt idx="778">
                  <c:v>128.64298611626634</c:v>
                </c:pt>
                <c:pt idx="779">
                  <c:v>128.43072184596153</c:v>
                </c:pt>
                <c:pt idx="780">
                  <c:v>128.32504111065344</c:v>
                </c:pt>
                <c:pt idx="781">
                  <c:v>127.99839867988329</c:v>
                </c:pt>
                <c:pt idx="782">
                  <c:v>127.54548411147471</c:v>
                </c:pt>
                <c:pt idx="783">
                  <c:v>128.30337463554531</c:v>
                </c:pt>
                <c:pt idx="784">
                  <c:v>128.46690399181662</c:v>
                </c:pt>
                <c:pt idx="785">
                  <c:v>128.09181195829245</c:v>
                </c:pt>
                <c:pt idx="786">
                  <c:v>127.77445715262967</c:v>
                </c:pt>
                <c:pt idx="787">
                  <c:v>127.80823693273111</c:v>
                </c:pt>
                <c:pt idx="788">
                  <c:v>128.51754676697706</c:v>
                </c:pt>
                <c:pt idx="789">
                  <c:v>128.5550425684257</c:v>
                </c:pt>
                <c:pt idx="790">
                  <c:v>129.3295624309776</c:v>
                </c:pt>
                <c:pt idx="791">
                  <c:v>129.28540815992653</c:v>
                </c:pt>
                <c:pt idx="792">
                  <c:v>129.18215534324352</c:v>
                </c:pt>
                <c:pt idx="793">
                  <c:v>128.64561534760844</c:v>
                </c:pt>
                <c:pt idx="794">
                  <c:v>128.91259427076352</c:v>
                </c:pt>
                <c:pt idx="795">
                  <c:v>129.34955310033496</c:v>
                </c:pt>
                <c:pt idx="796">
                  <c:v>129.28007037383585</c:v>
                </c:pt>
                <c:pt idx="797">
                  <c:v>128.70370881396371</c:v>
                </c:pt>
                <c:pt idx="798">
                  <c:v>128.32114758996477</c:v>
                </c:pt>
                <c:pt idx="799">
                  <c:v>128.55540880796846</c:v>
                </c:pt>
                <c:pt idx="800">
                  <c:v>128.94680694519519</c:v>
                </c:pt>
                <c:pt idx="801">
                  <c:v>128.92458426750107</c:v>
                </c:pt>
                <c:pt idx="802">
                  <c:v>129.93317821589667</c:v>
                </c:pt>
                <c:pt idx="803">
                  <c:v>130.49233998937996</c:v>
                </c:pt>
                <c:pt idx="804">
                  <c:v>130.51496761566943</c:v>
                </c:pt>
                <c:pt idx="805">
                  <c:v>131.1942073354048</c:v>
                </c:pt>
                <c:pt idx="806">
                  <c:v>131.86710878511479</c:v>
                </c:pt>
                <c:pt idx="807">
                  <c:v>132.32346418254866</c:v>
                </c:pt>
                <c:pt idx="808">
                  <c:v>132.72846121978736</c:v>
                </c:pt>
                <c:pt idx="809">
                  <c:v>132.0885722232324</c:v>
                </c:pt>
                <c:pt idx="810">
                  <c:v>131.91792620449377</c:v>
                </c:pt>
                <c:pt idx="811">
                  <c:v>131.5649118854773</c:v>
                </c:pt>
                <c:pt idx="812">
                  <c:v>131.13635141455157</c:v>
                </c:pt>
                <c:pt idx="813">
                  <c:v>131.28988876473346</c:v>
                </c:pt>
                <c:pt idx="814">
                  <c:v>131.23530036839605</c:v>
                </c:pt>
                <c:pt idx="815">
                  <c:v>129.79625893358732</c:v>
                </c:pt>
                <c:pt idx="816">
                  <c:v>129.83415596074195</c:v>
                </c:pt>
                <c:pt idx="817">
                  <c:v>130.45353779529154</c:v>
                </c:pt>
                <c:pt idx="818">
                  <c:v>130.12532582617607</c:v>
                </c:pt>
                <c:pt idx="819">
                  <c:v>129.9600249308061</c:v>
                </c:pt>
                <c:pt idx="820">
                  <c:v>129.41677825251546</c:v>
                </c:pt>
                <c:pt idx="821">
                  <c:v>129.40621378716389</c:v>
                </c:pt>
                <c:pt idx="822">
                  <c:v>129.32711782714603</c:v>
                </c:pt>
                <c:pt idx="823">
                  <c:v>128.98233434723159</c:v>
                </c:pt>
                <c:pt idx="824">
                  <c:v>130.05162248267007</c:v>
                </c:pt>
                <c:pt idx="825">
                  <c:v>130.23071194591748</c:v>
                </c:pt>
                <c:pt idx="826">
                  <c:v>129.58226436861233</c:v>
                </c:pt>
                <c:pt idx="827">
                  <c:v>129.98157243231151</c:v>
                </c:pt>
                <c:pt idx="828">
                  <c:v>130.48350819445787</c:v>
                </c:pt>
                <c:pt idx="829">
                  <c:v>131.14761915225878</c:v>
                </c:pt>
                <c:pt idx="830">
                  <c:v>131.56097133707232</c:v>
                </c:pt>
                <c:pt idx="831">
                  <c:v>131.11364866633318</c:v>
                </c:pt>
                <c:pt idx="832">
                  <c:v>130.91591739450811</c:v>
                </c:pt>
                <c:pt idx="833">
                  <c:v>130.86258209124318</c:v>
                </c:pt>
                <c:pt idx="834">
                  <c:v>130.92756077326698</c:v>
                </c:pt>
                <c:pt idx="835">
                  <c:v>131.07008380030987</c:v>
                </c:pt>
                <c:pt idx="836">
                  <c:v>131.25124479490796</c:v>
                </c:pt>
                <c:pt idx="837">
                  <c:v>131.43225803310159</c:v>
                </c:pt>
                <c:pt idx="838">
                  <c:v>130.92637413376019</c:v>
                </c:pt>
                <c:pt idx="839">
                  <c:v>131.05574466806752</c:v>
                </c:pt>
                <c:pt idx="840">
                  <c:v>130.59687609560052</c:v>
                </c:pt>
                <c:pt idx="841">
                  <c:v>131.58447359043788</c:v>
                </c:pt>
                <c:pt idx="842">
                  <c:v>131.74304808173855</c:v>
                </c:pt>
                <c:pt idx="843">
                  <c:v>132.11104076505899</c:v>
                </c:pt>
                <c:pt idx="844">
                  <c:v>132.10819437406832</c:v>
                </c:pt>
                <c:pt idx="845">
                  <c:v>132.12839385912673</c:v>
                </c:pt>
                <c:pt idx="846">
                  <c:v>132.54766404114034</c:v>
                </c:pt>
                <c:pt idx="847">
                  <c:v>132.60300084787002</c:v>
                </c:pt>
                <c:pt idx="848">
                  <c:v>132.49976555387667</c:v>
                </c:pt>
                <c:pt idx="849">
                  <c:v>132.69899222476687</c:v>
                </c:pt>
                <c:pt idx="850">
                  <c:v>132.12575316180377</c:v>
                </c:pt>
                <c:pt idx="851">
                  <c:v>131.96212781521987</c:v>
                </c:pt>
                <c:pt idx="852">
                  <c:v>131.87087799412652</c:v>
                </c:pt>
                <c:pt idx="853">
                  <c:v>131.63121670747535</c:v>
                </c:pt>
                <c:pt idx="854">
                  <c:v>131.83836223822172</c:v>
                </c:pt>
                <c:pt idx="855">
                  <c:v>131.35690381601407</c:v>
                </c:pt>
                <c:pt idx="856">
                  <c:v>130.82483807804292</c:v>
                </c:pt>
                <c:pt idx="857">
                  <c:v>130.76310389555104</c:v>
                </c:pt>
                <c:pt idx="858">
                  <c:v>131.34067582158295</c:v>
                </c:pt>
                <c:pt idx="859">
                  <c:v>131.25995071234041</c:v>
                </c:pt>
                <c:pt idx="860">
                  <c:v>130.74541194589932</c:v>
                </c:pt>
                <c:pt idx="861">
                  <c:v>130.75265617170407</c:v>
                </c:pt>
                <c:pt idx="862">
                  <c:v>130.93380973634305</c:v>
                </c:pt>
                <c:pt idx="863">
                  <c:v>131.03054868831953</c:v>
                </c:pt>
                <c:pt idx="864">
                  <c:v>130.53211748777662</c:v>
                </c:pt>
                <c:pt idx="865">
                  <c:v>130.16115432465676</c:v>
                </c:pt>
                <c:pt idx="866">
                  <c:v>130.66154043414716</c:v>
                </c:pt>
                <c:pt idx="867">
                  <c:v>131.41698360239494</c:v>
                </c:pt>
                <c:pt idx="868">
                  <c:v>132.04309613304031</c:v>
                </c:pt>
                <c:pt idx="869">
                  <c:v>132.84752285809759</c:v>
                </c:pt>
                <c:pt idx="870">
                  <c:v>132.80016102888948</c:v>
                </c:pt>
                <c:pt idx="871">
                  <c:v>133.25228010496284</c:v>
                </c:pt>
                <c:pt idx="872">
                  <c:v>133.29852692955529</c:v>
                </c:pt>
                <c:pt idx="873">
                  <c:v>132.65861784677583</c:v>
                </c:pt>
                <c:pt idx="874">
                  <c:v>131.70581166848331</c:v>
                </c:pt>
                <c:pt idx="875">
                  <c:v>131.20546885282747</c:v>
                </c:pt>
                <c:pt idx="876">
                  <c:v>131.10831076330007</c:v>
                </c:pt>
                <c:pt idx="877">
                  <c:v>131.66818878320419</c:v>
                </c:pt>
                <c:pt idx="878">
                  <c:v>131.34865773612555</c:v>
                </c:pt>
                <c:pt idx="879">
                  <c:v>130.88880555852896</c:v>
                </c:pt>
                <c:pt idx="880">
                  <c:v>130.65527909111603</c:v>
                </c:pt>
                <c:pt idx="881">
                  <c:v>130.044988732657</c:v>
                </c:pt>
                <c:pt idx="882">
                  <c:v>130.36995410729253</c:v>
                </c:pt>
                <c:pt idx="883">
                  <c:v>130.57087550505742</c:v>
                </c:pt>
                <c:pt idx="884">
                  <c:v>131.03081620555076</c:v>
                </c:pt>
                <c:pt idx="885">
                  <c:v>130.61633042127758</c:v>
                </c:pt>
                <c:pt idx="886">
                  <c:v>130.41883379390509</c:v>
                </c:pt>
                <c:pt idx="887">
                  <c:v>130.86379675075361</c:v>
                </c:pt>
                <c:pt idx="888">
                  <c:v>130.99768942291101</c:v>
                </c:pt>
                <c:pt idx="889">
                  <c:v>130.81578842960124</c:v>
                </c:pt>
                <c:pt idx="890">
                  <c:v>130.53084231917782</c:v>
                </c:pt>
                <c:pt idx="891">
                  <c:v>130.4420674755753</c:v>
                </c:pt>
                <c:pt idx="892">
                  <c:v>130.63685847254467</c:v>
                </c:pt>
                <c:pt idx="893">
                  <c:v>131.30543516788674</c:v>
                </c:pt>
                <c:pt idx="894">
                  <c:v>130.91899090896899</c:v>
                </c:pt>
                <c:pt idx="895">
                  <c:v>130.54868614229486</c:v>
                </c:pt>
                <c:pt idx="896">
                  <c:v>130.58775740418045</c:v>
                </c:pt>
                <c:pt idx="897">
                  <c:v>130.7259406927985</c:v>
                </c:pt>
                <c:pt idx="898">
                  <c:v>130.65252086787467</c:v>
                </c:pt>
                <c:pt idx="899">
                  <c:v>131.42743731556604</c:v>
                </c:pt>
                <c:pt idx="900">
                  <c:v>130.93203893734221</c:v>
                </c:pt>
                <c:pt idx="901">
                  <c:v>131.0416405033707</c:v>
                </c:pt>
                <c:pt idx="902">
                  <c:v>131.01687913450837</c:v>
                </c:pt>
                <c:pt idx="903">
                  <c:v>133.0947346482495</c:v>
                </c:pt>
                <c:pt idx="904">
                  <c:v>133.1292633126366</c:v>
                </c:pt>
                <c:pt idx="905">
                  <c:v>132.74330263655025</c:v>
                </c:pt>
                <c:pt idx="906">
                  <c:v>132.67967138287756</c:v>
                </c:pt>
                <c:pt idx="907">
                  <c:v>132.34440162757599</c:v>
                </c:pt>
                <c:pt idx="908">
                  <c:v>132.54101266449689</c:v>
                </c:pt>
                <c:pt idx="909">
                  <c:v>132.50001607716459</c:v>
                </c:pt>
                <c:pt idx="910">
                  <c:v>132.61532153034341</c:v>
                </c:pt>
                <c:pt idx="911">
                  <c:v>132.80472707530106</c:v>
                </c:pt>
                <c:pt idx="912">
                  <c:v>133.23452399761314</c:v>
                </c:pt>
                <c:pt idx="913">
                  <c:v>133.18729609131475</c:v>
                </c:pt>
                <c:pt idx="914">
                  <c:v>133.14772113224575</c:v>
                </c:pt>
                <c:pt idx="915">
                  <c:v>132.71893326595682</c:v>
                </c:pt>
                <c:pt idx="916">
                  <c:v>133.04553379973382</c:v>
                </c:pt>
                <c:pt idx="917">
                  <c:v>132.83637813966871</c:v>
                </c:pt>
                <c:pt idx="918">
                  <c:v>132.31535985181705</c:v>
                </c:pt>
                <c:pt idx="919">
                  <c:v>131.95752877250342</c:v>
                </c:pt>
                <c:pt idx="920">
                  <c:v>132.08467675127747</c:v>
                </c:pt>
                <c:pt idx="921">
                  <c:v>132.53733423997426</c:v>
                </c:pt>
                <c:pt idx="922">
                  <c:v>132.28399654427955</c:v>
                </c:pt>
                <c:pt idx="923">
                  <c:v>132.50121967627766</c:v>
                </c:pt>
                <c:pt idx="924">
                  <c:v>132.44908635827196</c:v>
                </c:pt>
                <c:pt idx="925">
                  <c:v>132.15037924599596</c:v>
                </c:pt>
                <c:pt idx="926">
                  <c:v>132.59656681136826</c:v>
                </c:pt>
                <c:pt idx="927">
                  <c:v>132.41968249607672</c:v>
                </c:pt>
                <c:pt idx="928">
                  <c:v>132.83158995457015</c:v>
                </c:pt>
                <c:pt idx="929">
                  <c:v>132.73954895388187</c:v>
                </c:pt>
                <c:pt idx="930">
                  <c:v>132.02132933065337</c:v>
                </c:pt>
                <c:pt idx="931">
                  <c:v>132.29166533517798</c:v>
                </c:pt>
                <c:pt idx="932">
                  <c:v>133.34741914670261</c:v>
                </c:pt>
                <c:pt idx="933">
                  <c:v>132.58202099758788</c:v>
                </c:pt>
                <c:pt idx="934">
                  <c:v>132.4094954706371</c:v>
                </c:pt>
                <c:pt idx="935">
                  <c:v>132.05515163233537</c:v>
                </c:pt>
                <c:pt idx="936">
                  <c:v>131.9894426702686</c:v>
                </c:pt>
                <c:pt idx="937">
                  <c:v>131.91215194793338</c:v>
                </c:pt>
                <c:pt idx="938">
                  <c:v>131.56787469333241</c:v>
                </c:pt>
                <c:pt idx="939">
                  <c:v>132.39427145102937</c:v>
                </c:pt>
                <c:pt idx="940">
                  <c:v>132.39095112834326</c:v>
                </c:pt>
                <c:pt idx="941">
                  <c:v>132.49305961845639</c:v>
                </c:pt>
                <c:pt idx="942">
                  <c:v>132.21004438218307</c:v>
                </c:pt>
                <c:pt idx="943">
                  <c:v>132.35705513881302</c:v>
                </c:pt>
                <c:pt idx="944">
                  <c:v>131.55212012642292</c:v>
                </c:pt>
                <c:pt idx="945">
                  <c:v>131.99895738983972</c:v>
                </c:pt>
                <c:pt idx="946">
                  <c:v>132.69024647284786</c:v>
                </c:pt>
                <c:pt idx="947">
                  <c:v>132.91733749048637</c:v>
                </c:pt>
                <c:pt idx="948">
                  <c:v>133.11950407250441</c:v>
                </c:pt>
                <c:pt idx="949">
                  <c:v>132.8989341748439</c:v>
                </c:pt>
                <c:pt idx="950">
                  <c:v>132.62856603466739</c:v>
                </c:pt>
                <c:pt idx="951">
                  <c:v>132.5959941612972</c:v>
                </c:pt>
                <c:pt idx="952">
                  <c:v>132.68987734270866</c:v>
                </c:pt>
                <c:pt idx="953">
                  <c:v>132.62366174691562</c:v>
                </c:pt>
                <c:pt idx="954">
                  <c:v>132.12867568547955</c:v>
                </c:pt>
                <c:pt idx="955">
                  <c:v>132.41459564582917</c:v>
                </c:pt>
                <c:pt idx="956">
                  <c:v>132.34069457843043</c:v>
                </c:pt>
                <c:pt idx="957">
                  <c:v>131.14475876787898</c:v>
                </c:pt>
                <c:pt idx="958">
                  <c:v>130.76464188782037</c:v>
                </c:pt>
                <c:pt idx="959">
                  <c:v>130.65863113515039</c:v>
                </c:pt>
                <c:pt idx="960">
                  <c:v>130.82433093952184</c:v>
                </c:pt>
                <c:pt idx="961">
                  <c:v>131.15013657758567</c:v>
                </c:pt>
                <c:pt idx="962">
                  <c:v>131.32516855689488</c:v>
                </c:pt>
                <c:pt idx="963">
                  <c:v>131.2308740677218</c:v>
                </c:pt>
                <c:pt idx="964">
                  <c:v>131.25788700834838</c:v>
                </c:pt>
                <c:pt idx="965">
                  <c:v>131.57344245391062</c:v>
                </c:pt>
                <c:pt idx="966">
                  <c:v>131.1464940703097</c:v>
                </c:pt>
                <c:pt idx="967">
                  <c:v>131.33662189146702</c:v>
                </c:pt>
                <c:pt idx="968">
                  <c:v>131.62459300027763</c:v>
                </c:pt>
                <c:pt idx="969">
                  <c:v>131.95713558515999</c:v>
                </c:pt>
                <c:pt idx="970">
                  <c:v>131.90471859765864</c:v>
                </c:pt>
                <c:pt idx="971">
                  <c:v>131.72607307305893</c:v>
                </c:pt>
                <c:pt idx="972">
                  <c:v>131.54389989234969</c:v>
                </c:pt>
                <c:pt idx="973">
                  <c:v>131.61502226768218</c:v>
                </c:pt>
                <c:pt idx="974">
                  <c:v>131.85120224019806</c:v>
                </c:pt>
                <c:pt idx="975">
                  <c:v>132.03663266279227</c:v>
                </c:pt>
                <c:pt idx="976">
                  <c:v>132.21899315806283</c:v>
                </c:pt>
                <c:pt idx="977">
                  <c:v>132.8336996062464</c:v>
                </c:pt>
                <c:pt idx="978">
                  <c:v>133.15564802008583</c:v>
                </c:pt>
                <c:pt idx="979">
                  <c:v>132.79651067028774</c:v>
                </c:pt>
                <c:pt idx="980">
                  <c:v>132.61558666431969</c:v>
                </c:pt>
                <c:pt idx="981">
                  <c:v>132.62478565578303</c:v>
                </c:pt>
                <c:pt idx="982">
                  <c:v>133.41824960232793</c:v>
                </c:pt>
                <c:pt idx="983">
                  <c:v>133.08899233262426</c:v>
                </c:pt>
                <c:pt idx="984">
                  <c:v>133.00659505757329</c:v>
                </c:pt>
                <c:pt idx="985">
                  <c:v>132.98470336011096</c:v>
                </c:pt>
                <c:pt idx="986">
                  <c:v>133.09402265088517</c:v>
                </c:pt>
                <c:pt idx="987">
                  <c:v>132.59971530757065</c:v>
                </c:pt>
                <c:pt idx="988">
                  <c:v>132.73796191796364</c:v>
                </c:pt>
                <c:pt idx="989">
                  <c:v>132.61042246656584</c:v>
                </c:pt>
                <c:pt idx="990">
                  <c:v>132.69929968217428</c:v>
                </c:pt>
                <c:pt idx="991">
                  <c:v>132.45160709198052</c:v>
                </c:pt>
                <c:pt idx="992">
                  <c:v>132.35083725678456</c:v>
                </c:pt>
                <c:pt idx="993">
                  <c:v>132.10735581363494</c:v>
                </c:pt>
                <c:pt idx="994">
                  <c:v>132.16762480418097</c:v>
                </c:pt>
                <c:pt idx="995">
                  <c:v>132.09500620374854</c:v>
                </c:pt>
                <c:pt idx="996">
                  <c:v>132.4656270364415</c:v>
                </c:pt>
                <c:pt idx="997">
                  <c:v>132.1655951171056</c:v>
                </c:pt>
                <c:pt idx="998">
                  <c:v>131.51655843237725</c:v>
                </c:pt>
                <c:pt idx="999">
                  <c:v>132.01023323109857</c:v>
                </c:pt>
                <c:pt idx="1000">
                  <c:v>131.39092663022004</c:v>
                </c:pt>
                <c:pt idx="1001">
                  <c:v>131.48801624163076</c:v>
                </c:pt>
                <c:pt idx="1002">
                  <c:v>131.49220807205839</c:v>
                </c:pt>
                <c:pt idx="1003">
                  <c:v>131.71047028698615</c:v>
                </c:pt>
                <c:pt idx="1004">
                  <c:v>131.53718352639675</c:v>
                </c:pt>
                <c:pt idx="1005">
                  <c:v>131.33016927604393</c:v>
                </c:pt>
                <c:pt idx="1006">
                  <c:v>131.28199820528332</c:v>
                </c:pt>
                <c:pt idx="1007">
                  <c:v>132.16285438250523</c:v>
                </c:pt>
                <c:pt idx="1008">
                  <c:v>132.45775675294792</c:v>
                </c:pt>
                <c:pt idx="1009">
                  <c:v>132.31561262159471</c:v>
                </c:pt>
                <c:pt idx="1010">
                  <c:v>132.73302246032108</c:v>
                </c:pt>
                <c:pt idx="1011">
                  <c:v>133.23704133451949</c:v>
                </c:pt>
                <c:pt idx="1012">
                  <c:v>133.21895358412763</c:v>
                </c:pt>
                <c:pt idx="1013">
                  <c:v>133.15089494293076</c:v>
                </c:pt>
                <c:pt idx="1014">
                  <c:v>133.93622549858571</c:v>
                </c:pt>
                <c:pt idx="1015">
                  <c:v>133.83354088467988</c:v>
                </c:pt>
                <c:pt idx="1016">
                  <c:v>133.91209276759594</c:v>
                </c:pt>
                <c:pt idx="1017">
                  <c:v>134.3827506035509</c:v>
                </c:pt>
                <c:pt idx="1018">
                  <c:v>134.36818290026827</c:v>
                </c:pt>
                <c:pt idx="1019">
                  <c:v>133.55933849632078</c:v>
                </c:pt>
                <c:pt idx="1020">
                  <c:v>133.89272251287335</c:v>
                </c:pt>
                <c:pt idx="1021">
                  <c:v>133.4137330474652</c:v>
                </c:pt>
                <c:pt idx="1022">
                  <c:v>132.97129094509594</c:v>
                </c:pt>
                <c:pt idx="1023">
                  <c:v>133.23469733006016</c:v>
                </c:pt>
                <c:pt idx="1024">
                  <c:v>133.16434360693702</c:v>
                </c:pt>
                <c:pt idx="1025">
                  <c:v>133.6652251810572</c:v>
                </c:pt>
                <c:pt idx="1026">
                  <c:v>134.03176306671622</c:v>
                </c:pt>
                <c:pt idx="1027">
                  <c:v>133.02435942326485</c:v>
                </c:pt>
                <c:pt idx="1028">
                  <c:v>133.21631315150739</c:v>
                </c:pt>
                <c:pt idx="1029">
                  <c:v>133.19547323897771</c:v>
                </c:pt>
                <c:pt idx="1030">
                  <c:v>133.61218527730838</c:v>
                </c:pt>
                <c:pt idx="1031">
                  <c:v>133.91487555710475</c:v>
                </c:pt>
                <c:pt idx="1032">
                  <c:v>134.2062835820482</c:v>
                </c:pt>
                <c:pt idx="1033">
                  <c:v>133.62834752770297</c:v>
                </c:pt>
                <c:pt idx="1034">
                  <c:v>134.32605041852887</c:v>
                </c:pt>
                <c:pt idx="1035">
                  <c:v>134.16183719883128</c:v>
                </c:pt>
                <c:pt idx="1036">
                  <c:v>134.25624226795222</c:v>
                </c:pt>
                <c:pt idx="1037">
                  <c:v>133.67917619962091</c:v>
                </c:pt>
                <c:pt idx="1038">
                  <c:v>133.62609194006333</c:v>
                </c:pt>
                <c:pt idx="1039">
                  <c:v>133.77380077678788</c:v>
                </c:pt>
                <c:pt idx="1040">
                  <c:v>133.71465367849567</c:v>
                </c:pt>
                <c:pt idx="1041">
                  <c:v>133.95062345429588</c:v>
                </c:pt>
                <c:pt idx="1042">
                  <c:v>133.67043345341588</c:v>
                </c:pt>
                <c:pt idx="1043">
                  <c:v>133.85280183983798</c:v>
                </c:pt>
                <c:pt idx="1044">
                  <c:v>131.52664906153205</c:v>
                </c:pt>
                <c:pt idx="1045">
                  <c:v>132.51589788372959</c:v>
                </c:pt>
                <c:pt idx="1046">
                  <c:v>132.32203210755421</c:v>
                </c:pt>
                <c:pt idx="1047">
                  <c:v>131.90609062275698</c:v>
                </c:pt>
                <c:pt idx="1048">
                  <c:v>132.27769447890813</c:v>
                </c:pt>
                <c:pt idx="1049">
                  <c:v>131.66908025277016</c:v>
                </c:pt>
                <c:pt idx="1050">
                  <c:v>132.04619753169055</c:v>
                </c:pt>
                <c:pt idx="1051">
                  <c:v>131.63351772317998</c:v>
                </c:pt>
                <c:pt idx="1052">
                  <c:v>130.97569931577459</c:v>
                </c:pt>
                <c:pt idx="1053">
                  <c:v>130.91204673682682</c:v>
                </c:pt>
                <c:pt idx="1054">
                  <c:v>131.24043821526854</c:v>
                </c:pt>
                <c:pt idx="1055">
                  <c:v>131.07523434982858</c:v>
                </c:pt>
                <c:pt idx="1056">
                  <c:v>131.68151642687823</c:v>
                </c:pt>
                <c:pt idx="1057">
                  <c:v>131.55691196788848</c:v>
                </c:pt>
                <c:pt idx="1058">
                  <c:v>132.98248155115573</c:v>
                </c:pt>
                <c:pt idx="1059">
                  <c:v>132.82656416724626</c:v>
                </c:pt>
                <c:pt idx="1060">
                  <c:v>133.38720776846444</c:v>
                </c:pt>
                <c:pt idx="1061">
                  <c:v>133.97330605928525</c:v>
                </c:pt>
                <c:pt idx="1062">
                  <c:v>133.55231449714495</c:v>
                </c:pt>
                <c:pt idx="1063">
                  <c:v>134.95749602058098</c:v>
                </c:pt>
                <c:pt idx="1064">
                  <c:v>134.99873582320993</c:v>
                </c:pt>
                <c:pt idx="1065">
                  <c:v>133.55281346889845</c:v>
                </c:pt>
                <c:pt idx="1066">
                  <c:v>133.31388529269844</c:v>
                </c:pt>
                <c:pt idx="1067">
                  <c:v>132.85636326570048</c:v>
                </c:pt>
                <c:pt idx="1068">
                  <c:v>131.36331230903357</c:v>
                </c:pt>
                <c:pt idx="1069">
                  <c:v>131.24303630036462</c:v>
                </c:pt>
                <c:pt idx="1070">
                  <c:v>131.32442748233223</c:v>
                </c:pt>
                <c:pt idx="1071">
                  <c:v>131.09090608108454</c:v>
                </c:pt>
                <c:pt idx="1072">
                  <c:v>130.84383302011605</c:v>
                </c:pt>
                <c:pt idx="1073">
                  <c:v>130.72072873446925</c:v>
                </c:pt>
                <c:pt idx="1074">
                  <c:v>131.02626830278177</c:v>
                </c:pt>
                <c:pt idx="1075">
                  <c:v>131.70645703271595</c:v>
                </c:pt>
                <c:pt idx="1076">
                  <c:v>131.3430762276771</c:v>
                </c:pt>
                <c:pt idx="1077">
                  <c:v>131.16022265711766</c:v>
                </c:pt>
                <c:pt idx="1078">
                  <c:v>131.19029204025284</c:v>
                </c:pt>
                <c:pt idx="1079">
                  <c:v>131.57188708937716</c:v>
                </c:pt>
                <c:pt idx="1080">
                  <c:v>131.39828282082763</c:v>
                </c:pt>
                <c:pt idx="1081">
                  <c:v>131.22699645912138</c:v>
                </c:pt>
                <c:pt idx="1082">
                  <c:v>131.38590729923351</c:v>
                </c:pt>
                <c:pt idx="1083">
                  <c:v>132.597132477061</c:v>
                </c:pt>
                <c:pt idx="1084">
                  <c:v>131.6548350121893</c:v>
                </c:pt>
                <c:pt idx="1085">
                  <c:v>131.9411087466398</c:v>
                </c:pt>
                <c:pt idx="1086">
                  <c:v>132.51542697874473</c:v>
                </c:pt>
                <c:pt idx="1087">
                  <c:v>132.57182447576264</c:v>
                </c:pt>
                <c:pt idx="1088">
                  <c:v>133.03479799650216</c:v>
                </c:pt>
                <c:pt idx="1089">
                  <c:v>134.17590239868838</c:v>
                </c:pt>
                <c:pt idx="1090">
                  <c:v>134.69813475520033</c:v>
                </c:pt>
                <c:pt idx="1091">
                  <c:v>133.8205501818274</c:v>
                </c:pt>
                <c:pt idx="1092">
                  <c:v>132.48241804980054</c:v>
                </c:pt>
                <c:pt idx="1093">
                  <c:v>133.61287747538526</c:v>
                </c:pt>
                <c:pt idx="1094">
                  <c:v>134.42340937339418</c:v>
                </c:pt>
                <c:pt idx="1095">
                  <c:v>134.06877714233548</c:v>
                </c:pt>
                <c:pt idx="1096">
                  <c:v>134.58201925885061</c:v>
                </c:pt>
                <c:pt idx="1097">
                  <c:v>134.15281088392055</c:v>
                </c:pt>
                <c:pt idx="1098">
                  <c:v>132.94078821741974</c:v>
                </c:pt>
                <c:pt idx="1099">
                  <c:v>133.61459004479178</c:v>
                </c:pt>
                <c:pt idx="1100">
                  <c:v>133.50273559576891</c:v>
                </c:pt>
                <c:pt idx="1101">
                  <c:v>133.65696420951906</c:v>
                </c:pt>
                <c:pt idx="1102">
                  <c:v>133.63987624162843</c:v>
                </c:pt>
                <c:pt idx="1103">
                  <c:v>132.02400822573213</c:v>
                </c:pt>
                <c:pt idx="1104">
                  <c:v>132.03699393793278</c:v>
                </c:pt>
                <c:pt idx="1105">
                  <c:v>132.30377501509247</c:v>
                </c:pt>
                <c:pt idx="1106">
                  <c:v>131.3930097069198</c:v>
                </c:pt>
                <c:pt idx="1107">
                  <c:v>130.75416411214016</c:v>
                </c:pt>
                <c:pt idx="1108">
                  <c:v>131.24434518658188</c:v>
                </c:pt>
                <c:pt idx="1109">
                  <c:v>131.55386373066736</c:v>
                </c:pt>
                <c:pt idx="1110">
                  <c:v>132.08536298678052</c:v>
                </c:pt>
                <c:pt idx="1111">
                  <c:v>132.71993693063769</c:v>
                </c:pt>
                <c:pt idx="1112">
                  <c:v>132.62100179673084</c:v>
                </c:pt>
                <c:pt idx="1113">
                  <c:v>132.90794354866256</c:v>
                </c:pt>
                <c:pt idx="1114">
                  <c:v>132.98448008043033</c:v>
                </c:pt>
                <c:pt idx="1115">
                  <c:v>133.07091449009613</c:v>
                </c:pt>
                <c:pt idx="1116">
                  <c:v>133.31005835664942</c:v>
                </c:pt>
                <c:pt idx="1117">
                  <c:v>132.72813111746007</c:v>
                </c:pt>
                <c:pt idx="1118">
                  <c:v>133.26158222932293</c:v>
                </c:pt>
                <c:pt idx="1119">
                  <c:v>133.43609175365944</c:v>
                </c:pt>
                <c:pt idx="1120">
                  <c:v>133.97318751185617</c:v>
                </c:pt>
                <c:pt idx="1121">
                  <c:v>133.78065107633546</c:v>
                </c:pt>
                <c:pt idx="1122">
                  <c:v>133.54366557916364</c:v>
                </c:pt>
                <c:pt idx="1123">
                  <c:v>134.82294988685848</c:v>
                </c:pt>
                <c:pt idx="1124">
                  <c:v>135.60008433823378</c:v>
                </c:pt>
                <c:pt idx="1125">
                  <c:v>136.2927305318573</c:v>
                </c:pt>
                <c:pt idx="1126">
                  <c:v>136.92774163294339</c:v>
                </c:pt>
                <c:pt idx="1127">
                  <c:v>137.62487882179789</c:v>
                </c:pt>
                <c:pt idx="1128">
                  <c:v>137.67386954363243</c:v>
                </c:pt>
                <c:pt idx="1129">
                  <c:v>136.62230893373444</c:v>
                </c:pt>
                <c:pt idx="1130">
                  <c:v>137.25352734851072</c:v>
                </c:pt>
                <c:pt idx="1131">
                  <c:v>136.91250756026892</c:v>
                </c:pt>
                <c:pt idx="1132">
                  <c:v>136.39193813202516</c:v>
                </c:pt>
                <c:pt idx="1133">
                  <c:v>136.30277731913799</c:v>
                </c:pt>
                <c:pt idx="1134">
                  <c:v>135.44557669179557</c:v>
                </c:pt>
                <c:pt idx="1135">
                  <c:v>135.58730695849289</c:v>
                </c:pt>
                <c:pt idx="1136">
                  <c:v>135.74936167220179</c:v>
                </c:pt>
                <c:pt idx="1137">
                  <c:v>135.60142443046476</c:v>
                </c:pt>
                <c:pt idx="1138">
                  <c:v>136.91409439440611</c:v>
                </c:pt>
                <c:pt idx="1139">
                  <c:v>136.87096583969051</c:v>
                </c:pt>
                <c:pt idx="1140">
                  <c:v>136.81325838906852</c:v>
                </c:pt>
                <c:pt idx="1141">
                  <c:v>135.57872050495024</c:v>
                </c:pt>
                <c:pt idx="1142">
                  <c:v>135.78304668254168</c:v>
                </c:pt>
                <c:pt idx="1143">
                  <c:v>134.79896590642909</c:v>
                </c:pt>
                <c:pt idx="1144">
                  <c:v>135.06668865356986</c:v>
                </c:pt>
                <c:pt idx="1145">
                  <c:v>133.51904187530653</c:v>
                </c:pt>
                <c:pt idx="1146">
                  <c:v>133.20969122715007</c:v>
                </c:pt>
                <c:pt idx="1147">
                  <c:v>134.0913350265547</c:v>
                </c:pt>
                <c:pt idx="1148">
                  <c:v>133.57628158930763</c:v>
                </c:pt>
                <c:pt idx="1149">
                  <c:v>133.56357767484735</c:v>
                </c:pt>
                <c:pt idx="1150">
                  <c:v>132.80991248139549</c:v>
                </c:pt>
                <c:pt idx="1151">
                  <c:v>133.33254150298416</c:v>
                </c:pt>
                <c:pt idx="1152">
                  <c:v>134.89909151703077</c:v>
                </c:pt>
                <c:pt idx="1153">
                  <c:v>133.79532838343567</c:v>
                </c:pt>
                <c:pt idx="1154">
                  <c:v>133.89297121434512</c:v>
                </c:pt>
                <c:pt idx="1155">
                  <c:v>134.55379253702975</c:v>
                </c:pt>
                <c:pt idx="1156">
                  <c:v>134.5582821673465</c:v>
                </c:pt>
                <c:pt idx="1157">
                  <c:v>134.1342312399992</c:v>
                </c:pt>
                <c:pt idx="1158">
                  <c:v>134.93792786033461</c:v>
                </c:pt>
                <c:pt idx="1159">
                  <c:v>136.13279938321753</c:v>
                </c:pt>
                <c:pt idx="1160">
                  <c:v>137.08520649789912</c:v>
                </c:pt>
                <c:pt idx="1161">
                  <c:v>137.39181378266775</c:v>
                </c:pt>
                <c:pt idx="1162">
                  <c:v>137.76166445300274</c:v>
                </c:pt>
                <c:pt idx="1163">
                  <c:v>136.16608829271635</c:v>
                </c:pt>
                <c:pt idx="1164">
                  <c:v>136.88320474026455</c:v>
                </c:pt>
                <c:pt idx="1165">
                  <c:v>136.12230819610613</c:v>
                </c:pt>
                <c:pt idx="1166">
                  <c:v>136.07388907887997</c:v>
                </c:pt>
                <c:pt idx="1167">
                  <c:v>135.54613354438197</c:v>
                </c:pt>
                <c:pt idx="1168">
                  <c:v>136.11470504658956</c:v>
                </c:pt>
                <c:pt idx="1169">
                  <c:v>135.74950536439985</c:v>
                </c:pt>
                <c:pt idx="1170">
                  <c:v>135.22882778571099</c:v>
                </c:pt>
                <c:pt idx="1171">
                  <c:v>135.96009925225243</c:v>
                </c:pt>
                <c:pt idx="1172">
                  <c:v>136.62666355597884</c:v>
                </c:pt>
                <c:pt idx="1173">
                  <c:v>136.19294167631176</c:v>
                </c:pt>
                <c:pt idx="1174">
                  <c:v>136.66239544518407</c:v>
                </c:pt>
                <c:pt idx="1175">
                  <c:v>136.73456248713339</c:v>
                </c:pt>
                <c:pt idx="1176">
                  <c:v>138.38845821247043</c:v>
                </c:pt>
                <c:pt idx="1177">
                  <c:v>138.52124814795511</c:v>
                </c:pt>
                <c:pt idx="1178">
                  <c:v>138.06669021105452</c:v>
                </c:pt>
                <c:pt idx="1179">
                  <c:v>138.01366023500808</c:v>
                </c:pt>
                <c:pt idx="1180">
                  <c:v>138.68399805250496</c:v>
                </c:pt>
                <c:pt idx="1181">
                  <c:v>138.36246682103041</c:v>
                </c:pt>
                <c:pt idx="1182">
                  <c:v>138.19464346816488</c:v>
                </c:pt>
                <c:pt idx="1183">
                  <c:v>139.37134686694546</c:v>
                </c:pt>
                <c:pt idx="1184">
                  <c:v>138.62932937625052</c:v>
                </c:pt>
                <c:pt idx="1185">
                  <c:v>138.06418331766912</c:v>
                </c:pt>
                <c:pt idx="1186">
                  <c:v>137.07589806884667</c:v>
                </c:pt>
                <c:pt idx="1187">
                  <c:v>137.67024260011942</c:v>
                </c:pt>
                <c:pt idx="1188">
                  <c:v>137.51931624546714</c:v>
                </c:pt>
                <c:pt idx="1189">
                  <c:v>136.89972745073518</c:v>
                </c:pt>
                <c:pt idx="1190">
                  <c:v>136.85155024224105</c:v>
                </c:pt>
                <c:pt idx="1191">
                  <c:v>137.66616231440668</c:v>
                </c:pt>
                <c:pt idx="1192">
                  <c:v>137.26875996843998</c:v>
                </c:pt>
                <c:pt idx="1193">
                  <c:v>136.46547190870842</c:v>
                </c:pt>
                <c:pt idx="1194">
                  <c:v>135.21530211084291</c:v>
                </c:pt>
                <c:pt idx="1195">
                  <c:v>134.14226056161678</c:v>
                </c:pt>
                <c:pt idx="1196">
                  <c:v>134.65928711586869</c:v>
                </c:pt>
                <c:pt idx="1197">
                  <c:v>134.76735890712965</c:v>
                </c:pt>
                <c:pt idx="1198">
                  <c:v>134.05021041649195</c:v>
                </c:pt>
                <c:pt idx="1199">
                  <c:v>134.60743125936798</c:v>
                </c:pt>
                <c:pt idx="1200">
                  <c:v>134.09760222701905</c:v>
                </c:pt>
                <c:pt idx="1201">
                  <c:v>133.67416153279331</c:v>
                </c:pt>
                <c:pt idx="1202">
                  <c:v>132.57514983496907</c:v>
                </c:pt>
                <c:pt idx="1203">
                  <c:v>132.85945400233518</c:v>
                </c:pt>
                <c:pt idx="1204">
                  <c:v>133.60402334959744</c:v>
                </c:pt>
                <c:pt idx="1205">
                  <c:v>134.09545443550294</c:v>
                </c:pt>
                <c:pt idx="1206">
                  <c:v>134.05563019459254</c:v>
                </c:pt>
                <c:pt idx="1207">
                  <c:v>134.08525199112776</c:v>
                </c:pt>
                <c:pt idx="1208">
                  <c:v>134.71377353870216</c:v>
                </c:pt>
                <c:pt idx="1209">
                  <c:v>135.34906168583828</c:v>
                </c:pt>
                <c:pt idx="1210">
                  <c:v>136.45992323494229</c:v>
                </c:pt>
                <c:pt idx="1211">
                  <c:v>135.86306313458914</c:v>
                </c:pt>
                <c:pt idx="1212">
                  <c:v>136.14734828599603</c:v>
                </c:pt>
                <c:pt idx="1213">
                  <c:v>135.87952989652604</c:v>
                </c:pt>
                <c:pt idx="1214">
                  <c:v>135.62646919066694</c:v>
                </c:pt>
                <c:pt idx="1215">
                  <c:v>135.36050460896257</c:v>
                </c:pt>
                <c:pt idx="1216">
                  <c:v>135.4704658665834</c:v>
                </c:pt>
                <c:pt idx="1217">
                  <c:v>135.05403382063599</c:v>
                </c:pt>
                <c:pt idx="1218">
                  <c:v>136.71651546708677</c:v>
                </c:pt>
                <c:pt idx="1219">
                  <c:v>136.5061671955844</c:v>
                </c:pt>
                <c:pt idx="1220">
                  <c:v>137.13248094857988</c:v>
                </c:pt>
                <c:pt idx="1221">
                  <c:v>137.20917895882403</c:v>
                </c:pt>
                <c:pt idx="1222">
                  <c:v>136.54048286389835</c:v>
                </c:pt>
                <c:pt idx="1223">
                  <c:v>136.61734981790326</c:v>
                </c:pt>
                <c:pt idx="1224">
                  <c:v>135.77811790014979</c:v>
                </c:pt>
                <c:pt idx="1225">
                  <c:v>134.96188588530006</c:v>
                </c:pt>
                <c:pt idx="1226">
                  <c:v>136.48534650721828</c:v>
                </c:pt>
                <c:pt idx="1227">
                  <c:v>136.4105098166884</c:v>
                </c:pt>
                <c:pt idx="1228">
                  <c:v>136.42873345809929</c:v>
                </c:pt>
                <c:pt idx="1229">
                  <c:v>136.23808988712065</c:v>
                </c:pt>
                <c:pt idx="1230">
                  <c:v>136.43553626932191</c:v>
                </c:pt>
                <c:pt idx="1231">
                  <c:v>136.54276738203779</c:v>
                </c:pt>
                <c:pt idx="1232">
                  <c:v>137.48988331124477</c:v>
                </c:pt>
                <c:pt idx="1233">
                  <c:v>137.56800865234729</c:v>
                </c:pt>
                <c:pt idx="1234">
                  <c:v>139.00793339182908</c:v>
                </c:pt>
                <c:pt idx="1235">
                  <c:v>139.9715834479137</c:v>
                </c:pt>
                <c:pt idx="1236">
                  <c:v>140.096778538281</c:v>
                </c:pt>
                <c:pt idx="1237">
                  <c:v>138.62146064746457</c:v>
                </c:pt>
                <c:pt idx="1238">
                  <c:v>137.8628183635515</c:v>
                </c:pt>
                <c:pt idx="1239">
                  <c:v>137.49633178863616</c:v>
                </c:pt>
                <c:pt idx="1240">
                  <c:v>136.61200921159232</c:v>
                </c:pt>
                <c:pt idx="1241">
                  <c:v>135.97660192936019</c:v>
                </c:pt>
                <c:pt idx="1242">
                  <c:v>136.9622355914864</c:v>
                </c:pt>
                <c:pt idx="1243">
                  <c:v>137.68166871080817</c:v>
                </c:pt>
                <c:pt idx="1244">
                  <c:v>138.41123181510054</c:v>
                </c:pt>
                <c:pt idx="1245">
                  <c:v>139.20050056052193</c:v>
                </c:pt>
                <c:pt idx="1246">
                  <c:v>138.18348943109069</c:v>
                </c:pt>
                <c:pt idx="1247">
                  <c:v>138.92026775058014</c:v>
                </c:pt>
                <c:pt idx="1248">
                  <c:v>137.83890508874717</c:v>
                </c:pt>
                <c:pt idx="1249">
                  <c:v>138.39258376749007</c:v>
                </c:pt>
                <c:pt idx="1250">
                  <c:v>136.90293043011721</c:v>
                </c:pt>
                <c:pt idx="1251">
                  <c:v>136.63434521445305</c:v>
                </c:pt>
                <c:pt idx="1252">
                  <c:v>137.71095271124346</c:v>
                </c:pt>
                <c:pt idx="1253">
                  <c:v>137.10218839548531</c:v>
                </c:pt>
                <c:pt idx="1254">
                  <c:v>136.81802449571683</c:v>
                </c:pt>
                <c:pt idx="1255">
                  <c:v>136.5320062072966</c:v>
                </c:pt>
                <c:pt idx="1256">
                  <c:v>135.6087968960893</c:v>
                </c:pt>
                <c:pt idx="1257">
                  <c:v>133.88546490987227</c:v>
                </c:pt>
                <c:pt idx="1258">
                  <c:v>134.46964000863622</c:v>
                </c:pt>
                <c:pt idx="1259">
                  <c:v>134.57454877898857</c:v>
                </c:pt>
                <c:pt idx="1260">
                  <c:v>134.85419497933927</c:v>
                </c:pt>
                <c:pt idx="1261">
                  <c:v>134.82491573353158</c:v>
                </c:pt>
                <c:pt idx="1262">
                  <c:v>134.57501523208128</c:v>
                </c:pt>
                <c:pt idx="1263">
                  <c:v>135.99680982349875</c:v>
                </c:pt>
                <c:pt idx="1264">
                  <c:v>134.18813445191975</c:v>
                </c:pt>
                <c:pt idx="1265">
                  <c:v>133.27179766161493</c:v>
                </c:pt>
                <c:pt idx="1266">
                  <c:v>132.54611742070045</c:v>
                </c:pt>
                <c:pt idx="1267">
                  <c:v>133.2977605996974</c:v>
                </c:pt>
                <c:pt idx="1268">
                  <c:v>132.04320115181065</c:v>
                </c:pt>
                <c:pt idx="1269">
                  <c:v>129.77250807528142</c:v>
                </c:pt>
                <c:pt idx="1270">
                  <c:v>129.90321784966167</c:v>
                </c:pt>
                <c:pt idx="1271">
                  <c:v>129.54220480159239</c:v>
                </c:pt>
                <c:pt idx="1272">
                  <c:v>129.49179434631898</c:v>
                </c:pt>
                <c:pt idx="1273">
                  <c:v>129.90431071851035</c:v>
                </c:pt>
                <c:pt idx="1274">
                  <c:v>130.04099653599903</c:v>
                </c:pt>
                <c:pt idx="1275">
                  <c:v>130.79513605209547</c:v>
                </c:pt>
                <c:pt idx="1276">
                  <c:v>130.06103621887749</c:v>
                </c:pt>
                <c:pt idx="1277">
                  <c:v>129.32256185422722</c:v>
                </c:pt>
                <c:pt idx="1278">
                  <c:v>128.8564977202129</c:v>
                </c:pt>
                <c:pt idx="1279">
                  <c:v>129.00394467056495</c:v>
                </c:pt>
                <c:pt idx="1280">
                  <c:v>129.81326888647297</c:v>
                </c:pt>
                <c:pt idx="1281">
                  <c:v>130.03658908837096</c:v>
                </c:pt>
                <c:pt idx="1282">
                  <c:v>130.22111715423068</c:v>
                </c:pt>
                <c:pt idx="1283">
                  <c:v>129.65247649643553</c:v>
                </c:pt>
                <c:pt idx="1284">
                  <c:v>129.51748930595681</c:v>
                </c:pt>
                <c:pt idx="1285">
                  <c:v>129.91525220087121</c:v>
                </c:pt>
                <c:pt idx="1286">
                  <c:v>130.10449923106077</c:v>
                </c:pt>
                <c:pt idx="1287">
                  <c:v>129.82172933760816</c:v>
                </c:pt>
                <c:pt idx="1288">
                  <c:v>129.65094425555097</c:v>
                </c:pt>
                <c:pt idx="1289">
                  <c:v>129.528023541897</c:v>
                </c:pt>
                <c:pt idx="1290">
                  <c:v>129.49582636559768</c:v>
                </c:pt>
                <c:pt idx="1291">
                  <c:v>128.50899317593257</c:v>
                </c:pt>
                <c:pt idx="1292">
                  <c:v>128.25386204821871</c:v>
                </c:pt>
                <c:pt idx="1293">
                  <c:v>128.8542348363824</c:v>
                </c:pt>
                <c:pt idx="1294">
                  <c:v>128.72210005553637</c:v>
                </c:pt>
                <c:pt idx="1295">
                  <c:v>128.64576913326275</c:v>
                </c:pt>
                <c:pt idx="1296">
                  <c:v>128.8499413036748</c:v>
                </c:pt>
                <c:pt idx="1297">
                  <c:v>129.08619373204223</c:v>
                </c:pt>
                <c:pt idx="1298">
                  <c:v>129.20205376124059</c:v>
                </c:pt>
                <c:pt idx="1299">
                  <c:v>127.57333090832708</c:v>
                </c:pt>
                <c:pt idx="1300">
                  <c:v>127.49858569175385</c:v>
                </c:pt>
                <c:pt idx="1301">
                  <c:v>127.43143173693981</c:v>
                </c:pt>
                <c:pt idx="1302">
                  <c:v>127.4513469672906</c:v>
                </c:pt>
                <c:pt idx="1303">
                  <c:v>127.03002464551959</c:v>
                </c:pt>
                <c:pt idx="1304">
                  <c:v>126.71719983796319</c:v>
                </c:pt>
                <c:pt idx="1305">
                  <c:v>127.29682147123016</c:v>
                </c:pt>
                <c:pt idx="1306">
                  <c:v>128.31944018182642</c:v>
                </c:pt>
                <c:pt idx="1307">
                  <c:v>127.50416122877563</c:v>
                </c:pt>
                <c:pt idx="1308">
                  <c:v>128.26151506828654</c:v>
                </c:pt>
                <c:pt idx="1309">
                  <c:v>126.87676187724239</c:v>
                </c:pt>
                <c:pt idx="1310">
                  <c:v>125.85484719582344</c:v>
                </c:pt>
                <c:pt idx="1311">
                  <c:v>125.88608937119314</c:v>
                </c:pt>
                <c:pt idx="1312">
                  <c:v>125.8096433631997</c:v>
                </c:pt>
                <c:pt idx="1313">
                  <c:v>125.13629704623496</c:v>
                </c:pt>
                <c:pt idx="1314">
                  <c:v>125.32993439913089</c:v>
                </c:pt>
                <c:pt idx="1315">
                  <c:v>125.30908943290474</c:v>
                </c:pt>
                <c:pt idx="1316">
                  <c:v>125.4848432076712</c:v>
                </c:pt>
                <c:pt idx="1317">
                  <c:v>125.33474992702533</c:v>
                </c:pt>
                <c:pt idx="1318">
                  <c:v>125.13184659525945</c:v>
                </c:pt>
                <c:pt idx="1319">
                  <c:v>124.9264369759665</c:v>
                </c:pt>
                <c:pt idx="1320">
                  <c:v>124.70143712250012</c:v>
                </c:pt>
                <c:pt idx="1321">
                  <c:v>124.51401035261839</c:v>
                </c:pt>
                <c:pt idx="1322">
                  <c:v>124.17275117410352</c:v>
                </c:pt>
                <c:pt idx="1323">
                  <c:v>124.48535587114849</c:v>
                </c:pt>
              </c:numCache>
            </c:numRef>
          </c:val>
          <c:smooth val="0"/>
          <c:extLst>
            <c:ext xmlns:c16="http://schemas.microsoft.com/office/drawing/2014/chart" uri="{C3380CC4-5D6E-409C-BE32-E72D297353CC}">
              <c16:uniqueId val="{00000000-3BB0-49B5-B2D9-E9DFA641F2F2}"/>
            </c:ext>
          </c:extLst>
        </c:ser>
        <c:ser>
          <c:idx val="2"/>
          <c:order val="2"/>
          <c:tx>
            <c:strRef>
              <c:f>'HC Data (2)'!$Y$8</c:f>
              <c:strCache>
                <c:ptCount val="1"/>
                <c:pt idx="0">
                  <c:v>P/E-Ratio - USA/Europe </c:v>
                </c:pt>
              </c:strCache>
            </c:strRef>
          </c:tx>
          <c:spPr>
            <a:ln w="22225">
              <a:solidFill>
                <a:schemeClr val="accent6"/>
              </a:solidFill>
              <a:prstDash val="solid"/>
            </a:ln>
          </c:spPr>
          <c:marker>
            <c:symbol val="none"/>
          </c:marker>
          <c:cat>
            <c:numRef>
              <c:f>'HC Data (2)'!$V$9:$V$1332</c:f>
              <c:numCache>
                <c:formatCode>m/d/yyyy</c:formatCode>
                <c:ptCount val="1324"/>
                <c:pt idx="0">
                  <c:v>43101</c:v>
                </c:pt>
                <c:pt idx="1">
                  <c:v>43102</c:v>
                </c:pt>
                <c:pt idx="2">
                  <c:v>43103</c:v>
                </c:pt>
                <c:pt idx="3">
                  <c:v>43104</c:v>
                </c:pt>
                <c:pt idx="4">
                  <c:v>43105</c:v>
                </c:pt>
                <c:pt idx="5">
                  <c:v>43108</c:v>
                </c:pt>
                <c:pt idx="6">
                  <c:v>43109</c:v>
                </c:pt>
                <c:pt idx="7">
                  <c:v>43110</c:v>
                </c:pt>
                <c:pt idx="8">
                  <c:v>43111</c:v>
                </c:pt>
                <c:pt idx="9">
                  <c:v>43112</c:v>
                </c:pt>
                <c:pt idx="10">
                  <c:v>43115</c:v>
                </c:pt>
                <c:pt idx="11">
                  <c:v>43116</c:v>
                </c:pt>
                <c:pt idx="12">
                  <c:v>43117</c:v>
                </c:pt>
                <c:pt idx="13">
                  <c:v>43118</c:v>
                </c:pt>
                <c:pt idx="14">
                  <c:v>43119</c:v>
                </c:pt>
                <c:pt idx="15">
                  <c:v>43122</c:v>
                </c:pt>
                <c:pt idx="16">
                  <c:v>43123</c:v>
                </c:pt>
                <c:pt idx="17">
                  <c:v>43124</c:v>
                </c:pt>
                <c:pt idx="18">
                  <c:v>43125</c:v>
                </c:pt>
                <c:pt idx="19">
                  <c:v>43126</c:v>
                </c:pt>
                <c:pt idx="20">
                  <c:v>43129</c:v>
                </c:pt>
                <c:pt idx="21">
                  <c:v>43130</c:v>
                </c:pt>
                <c:pt idx="22">
                  <c:v>43131</c:v>
                </c:pt>
                <c:pt idx="23">
                  <c:v>43132</c:v>
                </c:pt>
                <c:pt idx="24">
                  <c:v>43133</c:v>
                </c:pt>
                <c:pt idx="25">
                  <c:v>43136</c:v>
                </c:pt>
                <c:pt idx="26">
                  <c:v>43137</c:v>
                </c:pt>
                <c:pt idx="27">
                  <c:v>43138</c:v>
                </c:pt>
                <c:pt idx="28">
                  <c:v>43139</c:v>
                </c:pt>
                <c:pt idx="29">
                  <c:v>43140</c:v>
                </c:pt>
                <c:pt idx="30">
                  <c:v>43143</c:v>
                </c:pt>
                <c:pt idx="31">
                  <c:v>43144</c:v>
                </c:pt>
                <c:pt idx="32">
                  <c:v>43145</c:v>
                </c:pt>
                <c:pt idx="33">
                  <c:v>43146</c:v>
                </c:pt>
                <c:pt idx="34">
                  <c:v>43147</c:v>
                </c:pt>
                <c:pt idx="35">
                  <c:v>43150</c:v>
                </c:pt>
                <c:pt idx="36">
                  <c:v>43151</c:v>
                </c:pt>
                <c:pt idx="37">
                  <c:v>43152</c:v>
                </c:pt>
                <c:pt idx="38">
                  <c:v>43153</c:v>
                </c:pt>
                <c:pt idx="39">
                  <c:v>43154</c:v>
                </c:pt>
                <c:pt idx="40">
                  <c:v>43157</c:v>
                </c:pt>
                <c:pt idx="41">
                  <c:v>43158</c:v>
                </c:pt>
                <c:pt idx="42">
                  <c:v>43159</c:v>
                </c:pt>
                <c:pt idx="43">
                  <c:v>43160</c:v>
                </c:pt>
                <c:pt idx="44">
                  <c:v>43161</c:v>
                </c:pt>
                <c:pt idx="45">
                  <c:v>43164</c:v>
                </c:pt>
                <c:pt idx="46">
                  <c:v>43165</c:v>
                </c:pt>
                <c:pt idx="47">
                  <c:v>43166</c:v>
                </c:pt>
                <c:pt idx="48">
                  <c:v>43167</c:v>
                </c:pt>
                <c:pt idx="49">
                  <c:v>43168</c:v>
                </c:pt>
                <c:pt idx="50">
                  <c:v>43171</c:v>
                </c:pt>
                <c:pt idx="51">
                  <c:v>43172</c:v>
                </c:pt>
                <c:pt idx="52">
                  <c:v>43173</c:v>
                </c:pt>
                <c:pt idx="53">
                  <c:v>43174</c:v>
                </c:pt>
                <c:pt idx="54">
                  <c:v>43175</c:v>
                </c:pt>
                <c:pt idx="55">
                  <c:v>43178</c:v>
                </c:pt>
                <c:pt idx="56">
                  <c:v>43179</c:v>
                </c:pt>
                <c:pt idx="57">
                  <c:v>43180</c:v>
                </c:pt>
                <c:pt idx="58">
                  <c:v>43181</c:v>
                </c:pt>
                <c:pt idx="59">
                  <c:v>43182</c:v>
                </c:pt>
                <c:pt idx="60">
                  <c:v>43185</c:v>
                </c:pt>
                <c:pt idx="61">
                  <c:v>43186</c:v>
                </c:pt>
                <c:pt idx="62">
                  <c:v>43187</c:v>
                </c:pt>
                <c:pt idx="63">
                  <c:v>43188</c:v>
                </c:pt>
                <c:pt idx="64">
                  <c:v>43189</c:v>
                </c:pt>
                <c:pt idx="65">
                  <c:v>43192</c:v>
                </c:pt>
                <c:pt idx="66">
                  <c:v>43193</c:v>
                </c:pt>
                <c:pt idx="67">
                  <c:v>43194</c:v>
                </c:pt>
                <c:pt idx="68">
                  <c:v>43195</c:v>
                </c:pt>
                <c:pt idx="69">
                  <c:v>43196</c:v>
                </c:pt>
                <c:pt idx="70">
                  <c:v>43199</c:v>
                </c:pt>
                <c:pt idx="71">
                  <c:v>43200</c:v>
                </c:pt>
                <c:pt idx="72">
                  <c:v>43201</c:v>
                </c:pt>
                <c:pt idx="73">
                  <c:v>43202</c:v>
                </c:pt>
                <c:pt idx="74">
                  <c:v>43203</c:v>
                </c:pt>
                <c:pt idx="75">
                  <c:v>43206</c:v>
                </c:pt>
                <c:pt idx="76">
                  <c:v>43207</c:v>
                </c:pt>
                <c:pt idx="77">
                  <c:v>43208</c:v>
                </c:pt>
                <c:pt idx="78">
                  <c:v>43209</c:v>
                </c:pt>
                <c:pt idx="79">
                  <c:v>43210</c:v>
                </c:pt>
                <c:pt idx="80">
                  <c:v>43213</c:v>
                </c:pt>
                <c:pt idx="81">
                  <c:v>43214</c:v>
                </c:pt>
                <c:pt idx="82">
                  <c:v>43215</c:v>
                </c:pt>
                <c:pt idx="83">
                  <c:v>43216</c:v>
                </c:pt>
                <c:pt idx="84">
                  <c:v>43217</c:v>
                </c:pt>
                <c:pt idx="85">
                  <c:v>43220</c:v>
                </c:pt>
                <c:pt idx="86">
                  <c:v>43221</c:v>
                </c:pt>
                <c:pt idx="87">
                  <c:v>43222</c:v>
                </c:pt>
                <c:pt idx="88">
                  <c:v>43223</c:v>
                </c:pt>
                <c:pt idx="89">
                  <c:v>43224</c:v>
                </c:pt>
                <c:pt idx="90">
                  <c:v>43227</c:v>
                </c:pt>
                <c:pt idx="91">
                  <c:v>43228</c:v>
                </c:pt>
                <c:pt idx="92">
                  <c:v>43229</c:v>
                </c:pt>
                <c:pt idx="93">
                  <c:v>43230</c:v>
                </c:pt>
                <c:pt idx="94">
                  <c:v>43231</c:v>
                </c:pt>
                <c:pt idx="95">
                  <c:v>43234</c:v>
                </c:pt>
                <c:pt idx="96">
                  <c:v>43235</c:v>
                </c:pt>
                <c:pt idx="97">
                  <c:v>43236</c:v>
                </c:pt>
                <c:pt idx="98">
                  <c:v>43237</c:v>
                </c:pt>
                <c:pt idx="99">
                  <c:v>43238</c:v>
                </c:pt>
                <c:pt idx="100">
                  <c:v>43241</c:v>
                </c:pt>
                <c:pt idx="101">
                  <c:v>43242</c:v>
                </c:pt>
                <c:pt idx="102">
                  <c:v>43243</c:v>
                </c:pt>
                <c:pt idx="103">
                  <c:v>43244</c:v>
                </c:pt>
                <c:pt idx="104">
                  <c:v>43245</c:v>
                </c:pt>
                <c:pt idx="105">
                  <c:v>43248</c:v>
                </c:pt>
                <c:pt idx="106">
                  <c:v>43249</c:v>
                </c:pt>
                <c:pt idx="107">
                  <c:v>43250</c:v>
                </c:pt>
                <c:pt idx="108">
                  <c:v>43251</c:v>
                </c:pt>
                <c:pt idx="109">
                  <c:v>43252</c:v>
                </c:pt>
                <c:pt idx="110">
                  <c:v>43255</c:v>
                </c:pt>
                <c:pt idx="111">
                  <c:v>43256</c:v>
                </c:pt>
                <c:pt idx="112">
                  <c:v>43257</c:v>
                </c:pt>
                <c:pt idx="113">
                  <c:v>43258</c:v>
                </c:pt>
                <c:pt idx="114">
                  <c:v>43259</c:v>
                </c:pt>
                <c:pt idx="115">
                  <c:v>43262</c:v>
                </c:pt>
                <c:pt idx="116">
                  <c:v>43263</c:v>
                </c:pt>
                <c:pt idx="117">
                  <c:v>43264</c:v>
                </c:pt>
                <c:pt idx="118">
                  <c:v>43265</c:v>
                </c:pt>
                <c:pt idx="119">
                  <c:v>43266</c:v>
                </c:pt>
                <c:pt idx="120">
                  <c:v>43269</c:v>
                </c:pt>
                <c:pt idx="121">
                  <c:v>43270</c:v>
                </c:pt>
                <c:pt idx="122">
                  <c:v>43271</c:v>
                </c:pt>
                <c:pt idx="123">
                  <c:v>43272</c:v>
                </c:pt>
                <c:pt idx="124">
                  <c:v>43273</c:v>
                </c:pt>
                <c:pt idx="125">
                  <c:v>43276</c:v>
                </c:pt>
                <c:pt idx="126">
                  <c:v>43277</c:v>
                </c:pt>
                <c:pt idx="127">
                  <c:v>43278</c:v>
                </c:pt>
                <c:pt idx="128">
                  <c:v>43279</c:v>
                </c:pt>
                <c:pt idx="129">
                  <c:v>43280</c:v>
                </c:pt>
                <c:pt idx="130">
                  <c:v>43283</c:v>
                </c:pt>
                <c:pt idx="131">
                  <c:v>43284</c:v>
                </c:pt>
                <c:pt idx="132">
                  <c:v>43285</c:v>
                </c:pt>
                <c:pt idx="133">
                  <c:v>43286</c:v>
                </c:pt>
                <c:pt idx="134">
                  <c:v>43287</c:v>
                </c:pt>
                <c:pt idx="135">
                  <c:v>43290</c:v>
                </c:pt>
                <c:pt idx="136">
                  <c:v>43291</c:v>
                </c:pt>
                <c:pt idx="137">
                  <c:v>43292</c:v>
                </c:pt>
                <c:pt idx="138">
                  <c:v>43293</c:v>
                </c:pt>
                <c:pt idx="139">
                  <c:v>43294</c:v>
                </c:pt>
                <c:pt idx="140">
                  <c:v>43297</c:v>
                </c:pt>
                <c:pt idx="141">
                  <c:v>43298</c:v>
                </c:pt>
                <c:pt idx="142">
                  <c:v>43299</c:v>
                </c:pt>
                <c:pt idx="143">
                  <c:v>43300</c:v>
                </c:pt>
                <c:pt idx="144">
                  <c:v>43301</c:v>
                </c:pt>
                <c:pt idx="145">
                  <c:v>43304</c:v>
                </c:pt>
                <c:pt idx="146">
                  <c:v>43305</c:v>
                </c:pt>
                <c:pt idx="147">
                  <c:v>43306</c:v>
                </c:pt>
                <c:pt idx="148">
                  <c:v>43307</c:v>
                </c:pt>
                <c:pt idx="149">
                  <c:v>43308</c:v>
                </c:pt>
                <c:pt idx="150">
                  <c:v>43311</c:v>
                </c:pt>
                <c:pt idx="151">
                  <c:v>43312</c:v>
                </c:pt>
                <c:pt idx="152">
                  <c:v>43313</c:v>
                </c:pt>
                <c:pt idx="153">
                  <c:v>43314</c:v>
                </c:pt>
                <c:pt idx="154">
                  <c:v>43315</c:v>
                </c:pt>
                <c:pt idx="155">
                  <c:v>43318</c:v>
                </c:pt>
                <c:pt idx="156">
                  <c:v>43319</c:v>
                </c:pt>
                <c:pt idx="157">
                  <c:v>43320</c:v>
                </c:pt>
                <c:pt idx="158">
                  <c:v>43321</c:v>
                </c:pt>
                <c:pt idx="159">
                  <c:v>43322</c:v>
                </c:pt>
                <c:pt idx="160">
                  <c:v>43325</c:v>
                </c:pt>
                <c:pt idx="161">
                  <c:v>43326</c:v>
                </c:pt>
                <c:pt idx="162">
                  <c:v>43327</c:v>
                </c:pt>
                <c:pt idx="163">
                  <c:v>43328</c:v>
                </c:pt>
                <c:pt idx="164">
                  <c:v>43329</c:v>
                </c:pt>
                <c:pt idx="165">
                  <c:v>43332</c:v>
                </c:pt>
                <c:pt idx="166">
                  <c:v>43333</c:v>
                </c:pt>
                <c:pt idx="167">
                  <c:v>43334</c:v>
                </c:pt>
                <c:pt idx="168">
                  <c:v>43335</c:v>
                </c:pt>
                <c:pt idx="169">
                  <c:v>43336</c:v>
                </c:pt>
                <c:pt idx="170">
                  <c:v>43339</c:v>
                </c:pt>
                <c:pt idx="171">
                  <c:v>43340</c:v>
                </c:pt>
                <c:pt idx="172">
                  <c:v>43341</c:v>
                </c:pt>
                <c:pt idx="173">
                  <c:v>43342</c:v>
                </c:pt>
                <c:pt idx="174">
                  <c:v>43343</c:v>
                </c:pt>
                <c:pt idx="175">
                  <c:v>43346</c:v>
                </c:pt>
                <c:pt idx="176">
                  <c:v>43347</c:v>
                </c:pt>
                <c:pt idx="177">
                  <c:v>43348</c:v>
                </c:pt>
                <c:pt idx="178">
                  <c:v>43349</c:v>
                </c:pt>
                <c:pt idx="179">
                  <c:v>43350</c:v>
                </c:pt>
                <c:pt idx="180">
                  <c:v>43353</c:v>
                </c:pt>
                <c:pt idx="181">
                  <c:v>43354</c:v>
                </c:pt>
                <c:pt idx="182">
                  <c:v>43355</c:v>
                </c:pt>
                <c:pt idx="183">
                  <c:v>43356</c:v>
                </c:pt>
                <c:pt idx="184">
                  <c:v>43357</c:v>
                </c:pt>
                <c:pt idx="185">
                  <c:v>43360</c:v>
                </c:pt>
                <c:pt idx="186">
                  <c:v>43361</c:v>
                </c:pt>
                <c:pt idx="187">
                  <c:v>43362</c:v>
                </c:pt>
                <c:pt idx="188">
                  <c:v>43363</c:v>
                </c:pt>
                <c:pt idx="189">
                  <c:v>43364</c:v>
                </c:pt>
                <c:pt idx="190">
                  <c:v>43367</c:v>
                </c:pt>
                <c:pt idx="191">
                  <c:v>43368</c:v>
                </c:pt>
                <c:pt idx="192">
                  <c:v>43369</c:v>
                </c:pt>
                <c:pt idx="193">
                  <c:v>43370</c:v>
                </c:pt>
                <c:pt idx="194">
                  <c:v>43371</c:v>
                </c:pt>
                <c:pt idx="195">
                  <c:v>43374</c:v>
                </c:pt>
                <c:pt idx="196">
                  <c:v>43375</c:v>
                </c:pt>
                <c:pt idx="197">
                  <c:v>43376</c:v>
                </c:pt>
                <c:pt idx="198">
                  <c:v>43377</c:v>
                </c:pt>
                <c:pt idx="199">
                  <c:v>43378</c:v>
                </c:pt>
                <c:pt idx="200">
                  <c:v>43381</c:v>
                </c:pt>
                <c:pt idx="201">
                  <c:v>43382</c:v>
                </c:pt>
                <c:pt idx="202">
                  <c:v>43383</c:v>
                </c:pt>
                <c:pt idx="203">
                  <c:v>43384</c:v>
                </c:pt>
                <c:pt idx="204">
                  <c:v>43385</c:v>
                </c:pt>
                <c:pt idx="205">
                  <c:v>43388</c:v>
                </c:pt>
                <c:pt idx="206">
                  <c:v>43389</c:v>
                </c:pt>
                <c:pt idx="207">
                  <c:v>43390</c:v>
                </c:pt>
                <c:pt idx="208">
                  <c:v>43391</c:v>
                </c:pt>
                <c:pt idx="209">
                  <c:v>43392</c:v>
                </c:pt>
                <c:pt idx="210">
                  <c:v>43395</c:v>
                </c:pt>
                <c:pt idx="211">
                  <c:v>43396</c:v>
                </c:pt>
                <c:pt idx="212">
                  <c:v>43397</c:v>
                </c:pt>
                <c:pt idx="213">
                  <c:v>43398</c:v>
                </c:pt>
                <c:pt idx="214">
                  <c:v>43399</c:v>
                </c:pt>
                <c:pt idx="215">
                  <c:v>43402</c:v>
                </c:pt>
                <c:pt idx="216">
                  <c:v>43403</c:v>
                </c:pt>
                <c:pt idx="217">
                  <c:v>43404</c:v>
                </c:pt>
                <c:pt idx="218">
                  <c:v>43405</c:v>
                </c:pt>
                <c:pt idx="219">
                  <c:v>43406</c:v>
                </c:pt>
                <c:pt idx="220">
                  <c:v>43409</c:v>
                </c:pt>
                <c:pt idx="221">
                  <c:v>43410</c:v>
                </c:pt>
                <c:pt idx="222">
                  <c:v>43411</c:v>
                </c:pt>
                <c:pt idx="223">
                  <c:v>43412</c:v>
                </c:pt>
                <c:pt idx="224">
                  <c:v>43413</c:v>
                </c:pt>
                <c:pt idx="225">
                  <c:v>43416</c:v>
                </c:pt>
                <c:pt idx="226">
                  <c:v>43417</c:v>
                </c:pt>
                <c:pt idx="227">
                  <c:v>43418</c:v>
                </c:pt>
                <c:pt idx="228">
                  <c:v>43419</c:v>
                </c:pt>
                <c:pt idx="229">
                  <c:v>43420</c:v>
                </c:pt>
                <c:pt idx="230">
                  <c:v>43423</c:v>
                </c:pt>
                <c:pt idx="231">
                  <c:v>43424</c:v>
                </c:pt>
                <c:pt idx="232">
                  <c:v>43425</c:v>
                </c:pt>
                <c:pt idx="233">
                  <c:v>43426</c:v>
                </c:pt>
                <c:pt idx="234">
                  <c:v>43427</c:v>
                </c:pt>
                <c:pt idx="235">
                  <c:v>43430</c:v>
                </c:pt>
                <c:pt idx="236">
                  <c:v>43431</c:v>
                </c:pt>
                <c:pt idx="237">
                  <c:v>43432</c:v>
                </c:pt>
                <c:pt idx="238">
                  <c:v>43433</c:v>
                </c:pt>
                <c:pt idx="239">
                  <c:v>43434</c:v>
                </c:pt>
                <c:pt idx="240">
                  <c:v>43437</c:v>
                </c:pt>
                <c:pt idx="241">
                  <c:v>43438</c:v>
                </c:pt>
                <c:pt idx="242">
                  <c:v>43439</c:v>
                </c:pt>
                <c:pt idx="243">
                  <c:v>43440</c:v>
                </c:pt>
                <c:pt idx="244">
                  <c:v>43441</c:v>
                </c:pt>
                <c:pt idx="245">
                  <c:v>43444</c:v>
                </c:pt>
                <c:pt idx="246">
                  <c:v>43445</c:v>
                </c:pt>
                <c:pt idx="247">
                  <c:v>43446</c:v>
                </c:pt>
                <c:pt idx="248">
                  <c:v>43447</c:v>
                </c:pt>
                <c:pt idx="249">
                  <c:v>43448</c:v>
                </c:pt>
                <c:pt idx="250">
                  <c:v>43451</c:v>
                </c:pt>
                <c:pt idx="251">
                  <c:v>43452</c:v>
                </c:pt>
                <c:pt idx="252">
                  <c:v>43453</c:v>
                </c:pt>
                <c:pt idx="253">
                  <c:v>43454</c:v>
                </c:pt>
                <c:pt idx="254">
                  <c:v>43455</c:v>
                </c:pt>
                <c:pt idx="255">
                  <c:v>43458</c:v>
                </c:pt>
                <c:pt idx="256">
                  <c:v>43459</c:v>
                </c:pt>
                <c:pt idx="257">
                  <c:v>43460</c:v>
                </c:pt>
                <c:pt idx="258">
                  <c:v>43461</c:v>
                </c:pt>
                <c:pt idx="259">
                  <c:v>43462</c:v>
                </c:pt>
                <c:pt idx="260">
                  <c:v>43465</c:v>
                </c:pt>
                <c:pt idx="261">
                  <c:v>43466</c:v>
                </c:pt>
                <c:pt idx="262">
                  <c:v>43467</c:v>
                </c:pt>
                <c:pt idx="263">
                  <c:v>43468</c:v>
                </c:pt>
                <c:pt idx="264">
                  <c:v>43469</c:v>
                </c:pt>
                <c:pt idx="265">
                  <c:v>43472</c:v>
                </c:pt>
                <c:pt idx="266">
                  <c:v>43473</c:v>
                </c:pt>
                <c:pt idx="267">
                  <c:v>43474</c:v>
                </c:pt>
                <c:pt idx="268">
                  <c:v>43475</c:v>
                </c:pt>
                <c:pt idx="269">
                  <c:v>43476</c:v>
                </c:pt>
                <c:pt idx="270">
                  <c:v>43479</c:v>
                </c:pt>
                <c:pt idx="271">
                  <c:v>43480</c:v>
                </c:pt>
                <c:pt idx="272">
                  <c:v>43481</c:v>
                </c:pt>
                <c:pt idx="273">
                  <c:v>43482</c:v>
                </c:pt>
                <c:pt idx="274">
                  <c:v>43483</c:v>
                </c:pt>
                <c:pt idx="275">
                  <c:v>43486</c:v>
                </c:pt>
                <c:pt idx="276">
                  <c:v>43487</c:v>
                </c:pt>
                <c:pt idx="277">
                  <c:v>43488</c:v>
                </c:pt>
                <c:pt idx="278">
                  <c:v>43489</c:v>
                </c:pt>
                <c:pt idx="279">
                  <c:v>43490</c:v>
                </c:pt>
                <c:pt idx="280">
                  <c:v>43493</c:v>
                </c:pt>
                <c:pt idx="281">
                  <c:v>43494</c:v>
                </c:pt>
                <c:pt idx="282">
                  <c:v>43495</c:v>
                </c:pt>
                <c:pt idx="283">
                  <c:v>43496</c:v>
                </c:pt>
                <c:pt idx="284">
                  <c:v>43497</c:v>
                </c:pt>
                <c:pt idx="285">
                  <c:v>43500</c:v>
                </c:pt>
                <c:pt idx="286">
                  <c:v>43501</c:v>
                </c:pt>
                <c:pt idx="287">
                  <c:v>43502</c:v>
                </c:pt>
                <c:pt idx="288">
                  <c:v>43503</c:v>
                </c:pt>
                <c:pt idx="289">
                  <c:v>43504</c:v>
                </c:pt>
                <c:pt idx="290">
                  <c:v>43507</c:v>
                </c:pt>
                <c:pt idx="291">
                  <c:v>43508</c:v>
                </c:pt>
                <c:pt idx="292">
                  <c:v>43509</c:v>
                </c:pt>
                <c:pt idx="293">
                  <c:v>43510</c:v>
                </c:pt>
                <c:pt idx="294">
                  <c:v>43511</c:v>
                </c:pt>
                <c:pt idx="295">
                  <c:v>43514</c:v>
                </c:pt>
                <c:pt idx="296">
                  <c:v>43515</c:v>
                </c:pt>
                <c:pt idx="297">
                  <c:v>43516</c:v>
                </c:pt>
                <c:pt idx="298">
                  <c:v>43517</c:v>
                </c:pt>
                <c:pt idx="299">
                  <c:v>43518</c:v>
                </c:pt>
                <c:pt idx="300">
                  <c:v>43521</c:v>
                </c:pt>
                <c:pt idx="301">
                  <c:v>43522</c:v>
                </c:pt>
                <c:pt idx="302">
                  <c:v>43523</c:v>
                </c:pt>
                <c:pt idx="303">
                  <c:v>43524</c:v>
                </c:pt>
                <c:pt idx="304">
                  <c:v>43525</c:v>
                </c:pt>
                <c:pt idx="305">
                  <c:v>43528</c:v>
                </c:pt>
                <c:pt idx="306">
                  <c:v>43529</c:v>
                </c:pt>
                <c:pt idx="307">
                  <c:v>43530</c:v>
                </c:pt>
                <c:pt idx="308">
                  <c:v>43531</c:v>
                </c:pt>
                <c:pt idx="309">
                  <c:v>43532</c:v>
                </c:pt>
                <c:pt idx="310">
                  <c:v>43535</c:v>
                </c:pt>
                <c:pt idx="311">
                  <c:v>43536</c:v>
                </c:pt>
                <c:pt idx="312">
                  <c:v>43537</c:v>
                </c:pt>
                <c:pt idx="313">
                  <c:v>43538</c:v>
                </c:pt>
                <c:pt idx="314">
                  <c:v>43539</c:v>
                </c:pt>
                <c:pt idx="315">
                  <c:v>43542</c:v>
                </c:pt>
                <c:pt idx="316">
                  <c:v>43543</c:v>
                </c:pt>
                <c:pt idx="317">
                  <c:v>43544</c:v>
                </c:pt>
                <c:pt idx="318">
                  <c:v>43545</c:v>
                </c:pt>
                <c:pt idx="319">
                  <c:v>43546</c:v>
                </c:pt>
                <c:pt idx="320">
                  <c:v>43549</c:v>
                </c:pt>
                <c:pt idx="321">
                  <c:v>43550</c:v>
                </c:pt>
                <c:pt idx="322">
                  <c:v>43551</c:v>
                </c:pt>
                <c:pt idx="323">
                  <c:v>43552</c:v>
                </c:pt>
                <c:pt idx="324">
                  <c:v>43553</c:v>
                </c:pt>
                <c:pt idx="325">
                  <c:v>43556</c:v>
                </c:pt>
                <c:pt idx="326">
                  <c:v>43557</c:v>
                </c:pt>
                <c:pt idx="327">
                  <c:v>43558</c:v>
                </c:pt>
                <c:pt idx="328">
                  <c:v>43559</c:v>
                </c:pt>
                <c:pt idx="329">
                  <c:v>43560</c:v>
                </c:pt>
                <c:pt idx="330">
                  <c:v>43563</c:v>
                </c:pt>
                <c:pt idx="331">
                  <c:v>43564</c:v>
                </c:pt>
                <c:pt idx="332">
                  <c:v>43565</c:v>
                </c:pt>
                <c:pt idx="333">
                  <c:v>43566</c:v>
                </c:pt>
                <c:pt idx="334">
                  <c:v>43567</c:v>
                </c:pt>
                <c:pt idx="335">
                  <c:v>43570</c:v>
                </c:pt>
                <c:pt idx="336">
                  <c:v>43571</c:v>
                </c:pt>
                <c:pt idx="337">
                  <c:v>43572</c:v>
                </c:pt>
                <c:pt idx="338">
                  <c:v>43573</c:v>
                </c:pt>
                <c:pt idx="339">
                  <c:v>43574</c:v>
                </c:pt>
                <c:pt idx="340">
                  <c:v>43577</c:v>
                </c:pt>
                <c:pt idx="341">
                  <c:v>43578</c:v>
                </c:pt>
                <c:pt idx="342">
                  <c:v>43579</c:v>
                </c:pt>
                <c:pt idx="343">
                  <c:v>43580</c:v>
                </c:pt>
                <c:pt idx="344">
                  <c:v>43581</c:v>
                </c:pt>
                <c:pt idx="345">
                  <c:v>43584</c:v>
                </c:pt>
                <c:pt idx="346">
                  <c:v>43585</c:v>
                </c:pt>
                <c:pt idx="347">
                  <c:v>43586</c:v>
                </c:pt>
                <c:pt idx="348">
                  <c:v>43587</c:v>
                </c:pt>
                <c:pt idx="349">
                  <c:v>43588</c:v>
                </c:pt>
                <c:pt idx="350">
                  <c:v>43591</c:v>
                </c:pt>
                <c:pt idx="351">
                  <c:v>43592</c:v>
                </c:pt>
                <c:pt idx="352">
                  <c:v>43593</c:v>
                </c:pt>
                <c:pt idx="353">
                  <c:v>43594</c:v>
                </c:pt>
                <c:pt idx="354">
                  <c:v>43595</c:v>
                </c:pt>
                <c:pt idx="355">
                  <c:v>43598</c:v>
                </c:pt>
                <c:pt idx="356">
                  <c:v>43599</c:v>
                </c:pt>
                <c:pt idx="357">
                  <c:v>43600</c:v>
                </c:pt>
                <c:pt idx="358">
                  <c:v>43601</c:v>
                </c:pt>
                <c:pt idx="359">
                  <c:v>43602</c:v>
                </c:pt>
                <c:pt idx="360">
                  <c:v>43605</c:v>
                </c:pt>
                <c:pt idx="361">
                  <c:v>43606</c:v>
                </c:pt>
                <c:pt idx="362">
                  <c:v>43607</c:v>
                </c:pt>
                <c:pt idx="363">
                  <c:v>43608</c:v>
                </c:pt>
                <c:pt idx="364">
                  <c:v>43609</c:v>
                </c:pt>
                <c:pt idx="365">
                  <c:v>43612</c:v>
                </c:pt>
                <c:pt idx="366">
                  <c:v>43613</c:v>
                </c:pt>
                <c:pt idx="367">
                  <c:v>43614</c:v>
                </c:pt>
                <c:pt idx="368">
                  <c:v>43615</c:v>
                </c:pt>
                <c:pt idx="369">
                  <c:v>43616</c:v>
                </c:pt>
                <c:pt idx="370">
                  <c:v>43619</c:v>
                </c:pt>
                <c:pt idx="371">
                  <c:v>43620</c:v>
                </c:pt>
                <c:pt idx="372">
                  <c:v>43621</c:v>
                </c:pt>
                <c:pt idx="373">
                  <c:v>43622</c:v>
                </c:pt>
                <c:pt idx="374">
                  <c:v>43623</c:v>
                </c:pt>
                <c:pt idx="375">
                  <c:v>43626</c:v>
                </c:pt>
                <c:pt idx="376">
                  <c:v>43627</c:v>
                </c:pt>
                <c:pt idx="377">
                  <c:v>43628</c:v>
                </c:pt>
                <c:pt idx="378">
                  <c:v>43629</c:v>
                </c:pt>
                <c:pt idx="379">
                  <c:v>43630</c:v>
                </c:pt>
                <c:pt idx="380">
                  <c:v>43633</c:v>
                </c:pt>
                <c:pt idx="381">
                  <c:v>43634</c:v>
                </c:pt>
                <c:pt idx="382">
                  <c:v>43635</c:v>
                </c:pt>
                <c:pt idx="383">
                  <c:v>43636</c:v>
                </c:pt>
                <c:pt idx="384">
                  <c:v>43637</c:v>
                </c:pt>
                <c:pt idx="385">
                  <c:v>43640</c:v>
                </c:pt>
                <c:pt idx="386">
                  <c:v>43641</c:v>
                </c:pt>
                <c:pt idx="387">
                  <c:v>43642</c:v>
                </c:pt>
                <c:pt idx="388">
                  <c:v>43643</c:v>
                </c:pt>
                <c:pt idx="389">
                  <c:v>43644</c:v>
                </c:pt>
                <c:pt idx="390">
                  <c:v>43647</c:v>
                </c:pt>
                <c:pt idx="391">
                  <c:v>43648</c:v>
                </c:pt>
                <c:pt idx="392">
                  <c:v>43649</c:v>
                </c:pt>
                <c:pt idx="393">
                  <c:v>43650</c:v>
                </c:pt>
                <c:pt idx="394">
                  <c:v>43651</c:v>
                </c:pt>
                <c:pt idx="395">
                  <c:v>43654</c:v>
                </c:pt>
                <c:pt idx="396">
                  <c:v>43655</c:v>
                </c:pt>
                <c:pt idx="397">
                  <c:v>43656</c:v>
                </c:pt>
                <c:pt idx="398">
                  <c:v>43657</c:v>
                </c:pt>
                <c:pt idx="399">
                  <c:v>43658</c:v>
                </c:pt>
                <c:pt idx="400">
                  <c:v>43661</c:v>
                </c:pt>
                <c:pt idx="401">
                  <c:v>43662</c:v>
                </c:pt>
                <c:pt idx="402">
                  <c:v>43663</c:v>
                </c:pt>
                <c:pt idx="403">
                  <c:v>43664</c:v>
                </c:pt>
                <c:pt idx="404">
                  <c:v>43665</c:v>
                </c:pt>
                <c:pt idx="405">
                  <c:v>43668</c:v>
                </c:pt>
                <c:pt idx="406">
                  <c:v>43669</c:v>
                </c:pt>
                <c:pt idx="407">
                  <c:v>43670</c:v>
                </c:pt>
                <c:pt idx="408">
                  <c:v>43671</c:v>
                </c:pt>
                <c:pt idx="409">
                  <c:v>43672</c:v>
                </c:pt>
                <c:pt idx="410">
                  <c:v>43675</c:v>
                </c:pt>
                <c:pt idx="411">
                  <c:v>43676</c:v>
                </c:pt>
                <c:pt idx="412">
                  <c:v>43677</c:v>
                </c:pt>
                <c:pt idx="413">
                  <c:v>43678</c:v>
                </c:pt>
                <c:pt idx="414">
                  <c:v>43679</c:v>
                </c:pt>
                <c:pt idx="415">
                  <c:v>43682</c:v>
                </c:pt>
                <c:pt idx="416">
                  <c:v>43683</c:v>
                </c:pt>
                <c:pt idx="417">
                  <c:v>43684</c:v>
                </c:pt>
                <c:pt idx="418">
                  <c:v>43685</c:v>
                </c:pt>
                <c:pt idx="419">
                  <c:v>43686</c:v>
                </c:pt>
                <c:pt idx="420">
                  <c:v>43689</c:v>
                </c:pt>
                <c:pt idx="421">
                  <c:v>43690</c:v>
                </c:pt>
                <c:pt idx="422">
                  <c:v>43691</c:v>
                </c:pt>
                <c:pt idx="423">
                  <c:v>43692</c:v>
                </c:pt>
                <c:pt idx="424">
                  <c:v>43693</c:v>
                </c:pt>
                <c:pt idx="425">
                  <c:v>43696</c:v>
                </c:pt>
                <c:pt idx="426">
                  <c:v>43697</c:v>
                </c:pt>
                <c:pt idx="427">
                  <c:v>43698</c:v>
                </c:pt>
                <c:pt idx="428">
                  <c:v>43699</c:v>
                </c:pt>
                <c:pt idx="429">
                  <c:v>43700</c:v>
                </c:pt>
                <c:pt idx="430">
                  <c:v>43703</c:v>
                </c:pt>
                <c:pt idx="431">
                  <c:v>43704</c:v>
                </c:pt>
                <c:pt idx="432">
                  <c:v>43705</c:v>
                </c:pt>
                <c:pt idx="433">
                  <c:v>43706</c:v>
                </c:pt>
                <c:pt idx="434">
                  <c:v>43707</c:v>
                </c:pt>
                <c:pt idx="435">
                  <c:v>43710</c:v>
                </c:pt>
                <c:pt idx="436">
                  <c:v>43711</c:v>
                </c:pt>
                <c:pt idx="437">
                  <c:v>43712</c:v>
                </c:pt>
                <c:pt idx="438">
                  <c:v>43713</c:v>
                </c:pt>
                <c:pt idx="439">
                  <c:v>43714</c:v>
                </c:pt>
                <c:pt idx="440">
                  <c:v>43717</c:v>
                </c:pt>
                <c:pt idx="441">
                  <c:v>43718</c:v>
                </c:pt>
                <c:pt idx="442">
                  <c:v>43719</c:v>
                </c:pt>
                <c:pt idx="443">
                  <c:v>43720</c:v>
                </c:pt>
                <c:pt idx="444">
                  <c:v>43721</c:v>
                </c:pt>
                <c:pt idx="445">
                  <c:v>43724</c:v>
                </c:pt>
                <c:pt idx="446">
                  <c:v>43725</c:v>
                </c:pt>
                <c:pt idx="447">
                  <c:v>43726</c:v>
                </c:pt>
                <c:pt idx="448">
                  <c:v>43727</c:v>
                </c:pt>
                <c:pt idx="449">
                  <c:v>43728</c:v>
                </c:pt>
                <c:pt idx="450">
                  <c:v>43731</c:v>
                </c:pt>
                <c:pt idx="451">
                  <c:v>43732</c:v>
                </c:pt>
                <c:pt idx="452">
                  <c:v>43733</c:v>
                </c:pt>
                <c:pt idx="453">
                  <c:v>43734</c:v>
                </c:pt>
                <c:pt idx="454">
                  <c:v>43735</c:v>
                </c:pt>
                <c:pt idx="455">
                  <c:v>43738</c:v>
                </c:pt>
                <c:pt idx="456">
                  <c:v>43739</c:v>
                </c:pt>
                <c:pt idx="457">
                  <c:v>43740</c:v>
                </c:pt>
                <c:pt idx="458">
                  <c:v>43741</c:v>
                </c:pt>
                <c:pt idx="459">
                  <c:v>43742</c:v>
                </c:pt>
                <c:pt idx="460">
                  <c:v>43745</c:v>
                </c:pt>
                <c:pt idx="461">
                  <c:v>43746</c:v>
                </c:pt>
                <c:pt idx="462">
                  <c:v>43747</c:v>
                </c:pt>
                <c:pt idx="463">
                  <c:v>43748</c:v>
                </c:pt>
                <c:pt idx="464">
                  <c:v>43749</c:v>
                </c:pt>
                <c:pt idx="465">
                  <c:v>43752</c:v>
                </c:pt>
                <c:pt idx="466">
                  <c:v>43753</c:v>
                </c:pt>
                <c:pt idx="467">
                  <c:v>43754</c:v>
                </c:pt>
                <c:pt idx="468">
                  <c:v>43755</c:v>
                </c:pt>
                <c:pt idx="469">
                  <c:v>43756</c:v>
                </c:pt>
                <c:pt idx="470">
                  <c:v>43759</c:v>
                </c:pt>
                <c:pt idx="471">
                  <c:v>43760</c:v>
                </c:pt>
                <c:pt idx="472">
                  <c:v>43761</c:v>
                </c:pt>
                <c:pt idx="473">
                  <c:v>43762</c:v>
                </c:pt>
                <c:pt idx="474">
                  <c:v>43763</c:v>
                </c:pt>
                <c:pt idx="475">
                  <c:v>43766</c:v>
                </c:pt>
                <c:pt idx="476">
                  <c:v>43767</c:v>
                </c:pt>
                <c:pt idx="477">
                  <c:v>43768</c:v>
                </c:pt>
                <c:pt idx="478">
                  <c:v>43769</c:v>
                </c:pt>
                <c:pt idx="479">
                  <c:v>43770</c:v>
                </c:pt>
                <c:pt idx="480">
                  <c:v>43773</c:v>
                </c:pt>
                <c:pt idx="481">
                  <c:v>43774</c:v>
                </c:pt>
                <c:pt idx="482">
                  <c:v>43775</c:v>
                </c:pt>
                <c:pt idx="483">
                  <c:v>43776</c:v>
                </c:pt>
                <c:pt idx="484">
                  <c:v>43777</c:v>
                </c:pt>
                <c:pt idx="485">
                  <c:v>43780</c:v>
                </c:pt>
                <c:pt idx="486">
                  <c:v>43781</c:v>
                </c:pt>
                <c:pt idx="487">
                  <c:v>43782</c:v>
                </c:pt>
                <c:pt idx="488">
                  <c:v>43783</c:v>
                </c:pt>
                <c:pt idx="489">
                  <c:v>43784</c:v>
                </c:pt>
                <c:pt idx="490">
                  <c:v>43787</c:v>
                </c:pt>
                <c:pt idx="491">
                  <c:v>43788</c:v>
                </c:pt>
                <c:pt idx="492">
                  <c:v>43789</c:v>
                </c:pt>
                <c:pt idx="493">
                  <c:v>43790</c:v>
                </c:pt>
                <c:pt idx="494">
                  <c:v>43791</c:v>
                </c:pt>
                <c:pt idx="495">
                  <c:v>43794</c:v>
                </c:pt>
                <c:pt idx="496">
                  <c:v>43795</c:v>
                </c:pt>
                <c:pt idx="497">
                  <c:v>43796</c:v>
                </c:pt>
                <c:pt idx="498">
                  <c:v>43797</c:v>
                </c:pt>
                <c:pt idx="499">
                  <c:v>43798</c:v>
                </c:pt>
                <c:pt idx="500">
                  <c:v>43801</c:v>
                </c:pt>
                <c:pt idx="501">
                  <c:v>43802</c:v>
                </c:pt>
                <c:pt idx="502">
                  <c:v>43803</c:v>
                </c:pt>
                <c:pt idx="503">
                  <c:v>43804</c:v>
                </c:pt>
                <c:pt idx="504">
                  <c:v>43805</c:v>
                </c:pt>
                <c:pt idx="505">
                  <c:v>43808</c:v>
                </c:pt>
                <c:pt idx="506">
                  <c:v>43809</c:v>
                </c:pt>
                <c:pt idx="507">
                  <c:v>43810</c:v>
                </c:pt>
                <c:pt idx="508">
                  <c:v>43811</c:v>
                </c:pt>
                <c:pt idx="509">
                  <c:v>43812</c:v>
                </c:pt>
                <c:pt idx="510">
                  <c:v>43815</c:v>
                </c:pt>
                <c:pt idx="511">
                  <c:v>43816</c:v>
                </c:pt>
                <c:pt idx="512">
                  <c:v>43817</c:v>
                </c:pt>
                <c:pt idx="513">
                  <c:v>43818</c:v>
                </c:pt>
                <c:pt idx="514">
                  <c:v>43819</c:v>
                </c:pt>
                <c:pt idx="515">
                  <c:v>43822</c:v>
                </c:pt>
                <c:pt idx="516">
                  <c:v>43823</c:v>
                </c:pt>
                <c:pt idx="517">
                  <c:v>43824</c:v>
                </c:pt>
                <c:pt idx="518">
                  <c:v>43825</c:v>
                </c:pt>
                <c:pt idx="519">
                  <c:v>43826</c:v>
                </c:pt>
                <c:pt idx="520">
                  <c:v>43829</c:v>
                </c:pt>
                <c:pt idx="521">
                  <c:v>43830</c:v>
                </c:pt>
                <c:pt idx="522">
                  <c:v>43831</c:v>
                </c:pt>
                <c:pt idx="523">
                  <c:v>43832</c:v>
                </c:pt>
                <c:pt idx="524">
                  <c:v>43833</c:v>
                </c:pt>
                <c:pt idx="525">
                  <c:v>43836</c:v>
                </c:pt>
                <c:pt idx="526">
                  <c:v>43837</c:v>
                </c:pt>
                <c:pt idx="527">
                  <c:v>43838</c:v>
                </c:pt>
                <c:pt idx="528">
                  <c:v>43839</c:v>
                </c:pt>
                <c:pt idx="529">
                  <c:v>43840</c:v>
                </c:pt>
                <c:pt idx="530">
                  <c:v>43843</c:v>
                </c:pt>
                <c:pt idx="531">
                  <c:v>43844</c:v>
                </c:pt>
                <c:pt idx="532">
                  <c:v>43845</c:v>
                </c:pt>
                <c:pt idx="533">
                  <c:v>43846</c:v>
                </c:pt>
                <c:pt idx="534">
                  <c:v>43847</c:v>
                </c:pt>
                <c:pt idx="535">
                  <c:v>43850</c:v>
                </c:pt>
                <c:pt idx="536">
                  <c:v>43851</c:v>
                </c:pt>
                <c:pt idx="537">
                  <c:v>43852</c:v>
                </c:pt>
                <c:pt idx="538">
                  <c:v>43853</c:v>
                </c:pt>
                <c:pt idx="539">
                  <c:v>43854</c:v>
                </c:pt>
                <c:pt idx="540">
                  <c:v>43857</c:v>
                </c:pt>
                <c:pt idx="541">
                  <c:v>43858</c:v>
                </c:pt>
                <c:pt idx="542">
                  <c:v>43859</c:v>
                </c:pt>
                <c:pt idx="543">
                  <c:v>43860</c:v>
                </c:pt>
                <c:pt idx="544">
                  <c:v>43861</c:v>
                </c:pt>
                <c:pt idx="545">
                  <c:v>43864</c:v>
                </c:pt>
                <c:pt idx="546">
                  <c:v>43865</c:v>
                </c:pt>
                <c:pt idx="547">
                  <c:v>43866</c:v>
                </c:pt>
                <c:pt idx="548">
                  <c:v>43867</c:v>
                </c:pt>
                <c:pt idx="549">
                  <c:v>43868</c:v>
                </c:pt>
                <c:pt idx="550">
                  <c:v>43871</c:v>
                </c:pt>
                <c:pt idx="551">
                  <c:v>43872</c:v>
                </c:pt>
                <c:pt idx="552">
                  <c:v>43873</c:v>
                </c:pt>
                <c:pt idx="553">
                  <c:v>43874</c:v>
                </c:pt>
                <c:pt idx="554">
                  <c:v>43875</c:v>
                </c:pt>
                <c:pt idx="555">
                  <c:v>43878</c:v>
                </c:pt>
                <c:pt idx="556">
                  <c:v>43879</c:v>
                </c:pt>
                <c:pt idx="557">
                  <c:v>43880</c:v>
                </c:pt>
                <c:pt idx="558">
                  <c:v>43881</c:v>
                </c:pt>
                <c:pt idx="559">
                  <c:v>43882</c:v>
                </c:pt>
                <c:pt idx="560">
                  <c:v>43885</c:v>
                </c:pt>
                <c:pt idx="561">
                  <c:v>43886</c:v>
                </c:pt>
                <c:pt idx="562">
                  <c:v>43887</c:v>
                </c:pt>
                <c:pt idx="563">
                  <c:v>43888</c:v>
                </c:pt>
                <c:pt idx="564">
                  <c:v>43889</c:v>
                </c:pt>
                <c:pt idx="565">
                  <c:v>43892</c:v>
                </c:pt>
                <c:pt idx="566">
                  <c:v>43893</c:v>
                </c:pt>
                <c:pt idx="567">
                  <c:v>43894</c:v>
                </c:pt>
                <c:pt idx="568">
                  <c:v>43895</c:v>
                </c:pt>
                <c:pt idx="569">
                  <c:v>43896</c:v>
                </c:pt>
                <c:pt idx="570">
                  <c:v>43899</c:v>
                </c:pt>
                <c:pt idx="571">
                  <c:v>43900</c:v>
                </c:pt>
                <c:pt idx="572">
                  <c:v>43901</c:v>
                </c:pt>
                <c:pt idx="573">
                  <c:v>43902</c:v>
                </c:pt>
                <c:pt idx="574">
                  <c:v>43903</c:v>
                </c:pt>
                <c:pt idx="575">
                  <c:v>43906</c:v>
                </c:pt>
                <c:pt idx="576">
                  <c:v>43907</c:v>
                </c:pt>
                <c:pt idx="577">
                  <c:v>43908</c:v>
                </c:pt>
                <c:pt idx="578">
                  <c:v>43909</c:v>
                </c:pt>
                <c:pt idx="579">
                  <c:v>43910</c:v>
                </c:pt>
                <c:pt idx="580">
                  <c:v>43913</c:v>
                </c:pt>
                <c:pt idx="581">
                  <c:v>43914</c:v>
                </c:pt>
                <c:pt idx="582">
                  <c:v>43915</c:v>
                </c:pt>
                <c:pt idx="583">
                  <c:v>43916</c:v>
                </c:pt>
                <c:pt idx="584">
                  <c:v>43917</c:v>
                </c:pt>
                <c:pt idx="585">
                  <c:v>43920</c:v>
                </c:pt>
                <c:pt idx="586">
                  <c:v>43921</c:v>
                </c:pt>
                <c:pt idx="587">
                  <c:v>43922</c:v>
                </c:pt>
                <c:pt idx="588">
                  <c:v>43923</c:v>
                </c:pt>
                <c:pt idx="589">
                  <c:v>43924</c:v>
                </c:pt>
                <c:pt idx="590">
                  <c:v>43927</c:v>
                </c:pt>
                <c:pt idx="591">
                  <c:v>43928</c:v>
                </c:pt>
                <c:pt idx="592">
                  <c:v>43929</c:v>
                </c:pt>
                <c:pt idx="593">
                  <c:v>43930</c:v>
                </c:pt>
                <c:pt idx="594">
                  <c:v>43931</c:v>
                </c:pt>
                <c:pt idx="595">
                  <c:v>43934</c:v>
                </c:pt>
                <c:pt idx="596">
                  <c:v>43935</c:v>
                </c:pt>
                <c:pt idx="597">
                  <c:v>43936</c:v>
                </c:pt>
                <c:pt idx="598">
                  <c:v>43937</c:v>
                </c:pt>
                <c:pt idx="599">
                  <c:v>43938</c:v>
                </c:pt>
                <c:pt idx="600">
                  <c:v>43941</c:v>
                </c:pt>
                <c:pt idx="601">
                  <c:v>43942</c:v>
                </c:pt>
                <c:pt idx="602">
                  <c:v>43943</c:v>
                </c:pt>
                <c:pt idx="603">
                  <c:v>43944</c:v>
                </c:pt>
                <c:pt idx="604">
                  <c:v>43945</c:v>
                </c:pt>
                <c:pt idx="605">
                  <c:v>43948</c:v>
                </c:pt>
                <c:pt idx="606">
                  <c:v>43949</c:v>
                </c:pt>
                <c:pt idx="607">
                  <c:v>43950</c:v>
                </c:pt>
                <c:pt idx="608">
                  <c:v>43951</c:v>
                </c:pt>
                <c:pt idx="609">
                  <c:v>43952</c:v>
                </c:pt>
                <c:pt idx="610">
                  <c:v>43955</c:v>
                </c:pt>
                <c:pt idx="611">
                  <c:v>43956</c:v>
                </c:pt>
                <c:pt idx="612">
                  <c:v>43957</c:v>
                </c:pt>
                <c:pt idx="613">
                  <c:v>43958</c:v>
                </c:pt>
                <c:pt idx="614">
                  <c:v>43959</c:v>
                </c:pt>
                <c:pt idx="615">
                  <c:v>43962</c:v>
                </c:pt>
                <c:pt idx="616">
                  <c:v>43963</c:v>
                </c:pt>
                <c:pt idx="617">
                  <c:v>43964</c:v>
                </c:pt>
                <c:pt idx="618">
                  <c:v>43965</c:v>
                </c:pt>
                <c:pt idx="619">
                  <c:v>43966</c:v>
                </c:pt>
                <c:pt idx="620">
                  <c:v>43969</c:v>
                </c:pt>
                <c:pt idx="621">
                  <c:v>43970</c:v>
                </c:pt>
                <c:pt idx="622">
                  <c:v>43971</c:v>
                </c:pt>
                <c:pt idx="623">
                  <c:v>43972</c:v>
                </c:pt>
                <c:pt idx="624">
                  <c:v>43973</c:v>
                </c:pt>
                <c:pt idx="625">
                  <c:v>43976</c:v>
                </c:pt>
                <c:pt idx="626">
                  <c:v>43977</c:v>
                </c:pt>
                <c:pt idx="627">
                  <c:v>43978</c:v>
                </c:pt>
                <c:pt idx="628">
                  <c:v>43979</c:v>
                </c:pt>
                <c:pt idx="629">
                  <c:v>43980</c:v>
                </c:pt>
                <c:pt idx="630">
                  <c:v>43983</c:v>
                </c:pt>
                <c:pt idx="631">
                  <c:v>43984</c:v>
                </c:pt>
                <c:pt idx="632">
                  <c:v>43985</c:v>
                </c:pt>
                <c:pt idx="633">
                  <c:v>43986</c:v>
                </c:pt>
                <c:pt idx="634">
                  <c:v>43987</c:v>
                </c:pt>
                <c:pt idx="635">
                  <c:v>43990</c:v>
                </c:pt>
                <c:pt idx="636">
                  <c:v>43991</c:v>
                </c:pt>
                <c:pt idx="637">
                  <c:v>43992</c:v>
                </c:pt>
                <c:pt idx="638">
                  <c:v>43993</c:v>
                </c:pt>
                <c:pt idx="639">
                  <c:v>43994</c:v>
                </c:pt>
                <c:pt idx="640">
                  <c:v>43997</c:v>
                </c:pt>
                <c:pt idx="641">
                  <c:v>43998</c:v>
                </c:pt>
                <c:pt idx="642">
                  <c:v>43999</c:v>
                </c:pt>
                <c:pt idx="643">
                  <c:v>44000</c:v>
                </c:pt>
                <c:pt idx="644">
                  <c:v>44001</c:v>
                </c:pt>
                <c:pt idx="645">
                  <c:v>44004</c:v>
                </c:pt>
                <c:pt idx="646">
                  <c:v>44005</c:v>
                </c:pt>
                <c:pt idx="647">
                  <c:v>44006</c:v>
                </c:pt>
                <c:pt idx="648">
                  <c:v>44007</c:v>
                </c:pt>
                <c:pt idx="649">
                  <c:v>44008</c:v>
                </c:pt>
                <c:pt idx="650">
                  <c:v>44011</c:v>
                </c:pt>
                <c:pt idx="651">
                  <c:v>44012</c:v>
                </c:pt>
                <c:pt idx="652">
                  <c:v>44013</c:v>
                </c:pt>
                <c:pt idx="653">
                  <c:v>44014</c:v>
                </c:pt>
                <c:pt idx="654">
                  <c:v>44015</c:v>
                </c:pt>
                <c:pt idx="655">
                  <c:v>44018</c:v>
                </c:pt>
                <c:pt idx="656">
                  <c:v>44019</c:v>
                </c:pt>
                <c:pt idx="657">
                  <c:v>44020</c:v>
                </c:pt>
                <c:pt idx="658">
                  <c:v>44021</c:v>
                </c:pt>
                <c:pt idx="659">
                  <c:v>44022</c:v>
                </c:pt>
                <c:pt idx="660">
                  <c:v>44025</c:v>
                </c:pt>
                <c:pt idx="661">
                  <c:v>44026</c:v>
                </c:pt>
                <c:pt idx="662">
                  <c:v>44027</c:v>
                </c:pt>
                <c:pt idx="663">
                  <c:v>44028</c:v>
                </c:pt>
                <c:pt idx="664">
                  <c:v>44029</c:v>
                </c:pt>
                <c:pt idx="665">
                  <c:v>44032</c:v>
                </c:pt>
                <c:pt idx="666">
                  <c:v>44033</c:v>
                </c:pt>
                <c:pt idx="667">
                  <c:v>44034</c:v>
                </c:pt>
                <c:pt idx="668">
                  <c:v>44035</c:v>
                </c:pt>
                <c:pt idx="669">
                  <c:v>44036</c:v>
                </c:pt>
                <c:pt idx="670">
                  <c:v>44039</c:v>
                </c:pt>
                <c:pt idx="671">
                  <c:v>44040</c:v>
                </c:pt>
                <c:pt idx="672">
                  <c:v>44041</c:v>
                </c:pt>
                <c:pt idx="673">
                  <c:v>44042</c:v>
                </c:pt>
                <c:pt idx="674">
                  <c:v>44043</c:v>
                </c:pt>
                <c:pt idx="675">
                  <c:v>44046</c:v>
                </c:pt>
                <c:pt idx="676">
                  <c:v>44047</c:v>
                </c:pt>
                <c:pt idx="677">
                  <c:v>44048</c:v>
                </c:pt>
                <c:pt idx="678">
                  <c:v>44049</c:v>
                </c:pt>
                <c:pt idx="679">
                  <c:v>44050</c:v>
                </c:pt>
                <c:pt idx="680">
                  <c:v>44053</c:v>
                </c:pt>
                <c:pt idx="681">
                  <c:v>44054</c:v>
                </c:pt>
                <c:pt idx="682">
                  <c:v>44055</c:v>
                </c:pt>
                <c:pt idx="683">
                  <c:v>44056</c:v>
                </c:pt>
                <c:pt idx="684">
                  <c:v>44057</c:v>
                </c:pt>
                <c:pt idx="685">
                  <c:v>44060</c:v>
                </c:pt>
                <c:pt idx="686">
                  <c:v>44061</c:v>
                </c:pt>
                <c:pt idx="687">
                  <c:v>44062</c:v>
                </c:pt>
                <c:pt idx="688">
                  <c:v>44063</c:v>
                </c:pt>
                <c:pt idx="689">
                  <c:v>44064</c:v>
                </c:pt>
                <c:pt idx="690">
                  <c:v>44067</c:v>
                </c:pt>
                <c:pt idx="691">
                  <c:v>44068</c:v>
                </c:pt>
                <c:pt idx="692">
                  <c:v>44069</c:v>
                </c:pt>
                <c:pt idx="693">
                  <c:v>44070</c:v>
                </c:pt>
                <c:pt idx="694">
                  <c:v>44071</c:v>
                </c:pt>
                <c:pt idx="695">
                  <c:v>44074</c:v>
                </c:pt>
                <c:pt idx="696">
                  <c:v>44075</c:v>
                </c:pt>
                <c:pt idx="697">
                  <c:v>44076</c:v>
                </c:pt>
                <c:pt idx="698">
                  <c:v>44077</c:v>
                </c:pt>
                <c:pt idx="699">
                  <c:v>44078</c:v>
                </c:pt>
                <c:pt idx="700">
                  <c:v>44081</c:v>
                </c:pt>
                <c:pt idx="701">
                  <c:v>44082</c:v>
                </c:pt>
                <c:pt idx="702">
                  <c:v>44083</c:v>
                </c:pt>
                <c:pt idx="703">
                  <c:v>44084</c:v>
                </c:pt>
                <c:pt idx="704">
                  <c:v>44085</c:v>
                </c:pt>
                <c:pt idx="705">
                  <c:v>44088</c:v>
                </c:pt>
                <c:pt idx="706">
                  <c:v>44089</c:v>
                </c:pt>
                <c:pt idx="707">
                  <c:v>44090</c:v>
                </c:pt>
                <c:pt idx="708">
                  <c:v>44091</c:v>
                </c:pt>
                <c:pt idx="709">
                  <c:v>44092</c:v>
                </c:pt>
                <c:pt idx="710">
                  <c:v>44095</c:v>
                </c:pt>
                <c:pt idx="711">
                  <c:v>44096</c:v>
                </c:pt>
                <c:pt idx="712">
                  <c:v>44097</c:v>
                </c:pt>
                <c:pt idx="713">
                  <c:v>44098</c:v>
                </c:pt>
                <c:pt idx="714">
                  <c:v>44099</c:v>
                </c:pt>
                <c:pt idx="715">
                  <c:v>44102</c:v>
                </c:pt>
                <c:pt idx="716">
                  <c:v>44103</c:v>
                </c:pt>
                <c:pt idx="717">
                  <c:v>44104</c:v>
                </c:pt>
                <c:pt idx="718">
                  <c:v>44105</c:v>
                </c:pt>
                <c:pt idx="719">
                  <c:v>44106</c:v>
                </c:pt>
                <c:pt idx="720">
                  <c:v>44109</c:v>
                </c:pt>
                <c:pt idx="721">
                  <c:v>44110</c:v>
                </c:pt>
                <c:pt idx="722">
                  <c:v>44111</c:v>
                </c:pt>
                <c:pt idx="723">
                  <c:v>44112</c:v>
                </c:pt>
                <c:pt idx="724">
                  <c:v>44113</c:v>
                </c:pt>
                <c:pt idx="725">
                  <c:v>44116</c:v>
                </c:pt>
                <c:pt idx="726">
                  <c:v>44117</c:v>
                </c:pt>
                <c:pt idx="727">
                  <c:v>44118</c:v>
                </c:pt>
                <c:pt idx="728">
                  <c:v>44119</c:v>
                </c:pt>
                <c:pt idx="729">
                  <c:v>44120</c:v>
                </c:pt>
                <c:pt idx="730">
                  <c:v>44123</c:v>
                </c:pt>
                <c:pt idx="731">
                  <c:v>44124</c:v>
                </c:pt>
                <c:pt idx="732">
                  <c:v>44125</c:v>
                </c:pt>
                <c:pt idx="733">
                  <c:v>44126</c:v>
                </c:pt>
                <c:pt idx="734">
                  <c:v>44127</c:v>
                </c:pt>
                <c:pt idx="735">
                  <c:v>44130</c:v>
                </c:pt>
                <c:pt idx="736">
                  <c:v>44131</c:v>
                </c:pt>
                <c:pt idx="737">
                  <c:v>44132</c:v>
                </c:pt>
                <c:pt idx="738">
                  <c:v>44133</c:v>
                </c:pt>
                <c:pt idx="739">
                  <c:v>44134</c:v>
                </c:pt>
                <c:pt idx="740">
                  <c:v>44137</c:v>
                </c:pt>
                <c:pt idx="741">
                  <c:v>44138</c:v>
                </c:pt>
                <c:pt idx="742">
                  <c:v>44139</c:v>
                </c:pt>
                <c:pt idx="743">
                  <c:v>44140</c:v>
                </c:pt>
                <c:pt idx="744">
                  <c:v>44141</c:v>
                </c:pt>
                <c:pt idx="745">
                  <c:v>44144</c:v>
                </c:pt>
                <c:pt idx="746">
                  <c:v>44145</c:v>
                </c:pt>
                <c:pt idx="747">
                  <c:v>44146</c:v>
                </c:pt>
                <c:pt idx="748">
                  <c:v>44147</c:v>
                </c:pt>
                <c:pt idx="749">
                  <c:v>44148</c:v>
                </c:pt>
                <c:pt idx="750">
                  <c:v>44151</c:v>
                </c:pt>
                <c:pt idx="751">
                  <c:v>44152</c:v>
                </c:pt>
                <c:pt idx="752">
                  <c:v>44153</c:v>
                </c:pt>
                <c:pt idx="753">
                  <c:v>44154</c:v>
                </c:pt>
                <c:pt idx="754">
                  <c:v>44155</c:v>
                </c:pt>
                <c:pt idx="755">
                  <c:v>44158</c:v>
                </c:pt>
                <c:pt idx="756">
                  <c:v>44159</c:v>
                </c:pt>
                <c:pt idx="757">
                  <c:v>44160</c:v>
                </c:pt>
                <c:pt idx="758">
                  <c:v>44161</c:v>
                </c:pt>
                <c:pt idx="759">
                  <c:v>44162</c:v>
                </c:pt>
                <c:pt idx="760">
                  <c:v>44165</c:v>
                </c:pt>
                <c:pt idx="761">
                  <c:v>44166</c:v>
                </c:pt>
                <c:pt idx="762">
                  <c:v>44167</c:v>
                </c:pt>
                <c:pt idx="763">
                  <c:v>44168</c:v>
                </c:pt>
                <c:pt idx="764">
                  <c:v>44169</c:v>
                </c:pt>
                <c:pt idx="765">
                  <c:v>44172</c:v>
                </c:pt>
                <c:pt idx="766">
                  <c:v>44173</c:v>
                </c:pt>
                <c:pt idx="767">
                  <c:v>44174</c:v>
                </c:pt>
                <c:pt idx="768">
                  <c:v>44175</c:v>
                </c:pt>
                <c:pt idx="769">
                  <c:v>44176</c:v>
                </c:pt>
                <c:pt idx="770">
                  <c:v>44179</c:v>
                </c:pt>
                <c:pt idx="771">
                  <c:v>44180</c:v>
                </c:pt>
                <c:pt idx="772">
                  <c:v>44181</c:v>
                </c:pt>
                <c:pt idx="773">
                  <c:v>44182</c:v>
                </c:pt>
                <c:pt idx="774">
                  <c:v>44183</c:v>
                </c:pt>
                <c:pt idx="775">
                  <c:v>44186</c:v>
                </c:pt>
                <c:pt idx="776">
                  <c:v>44187</c:v>
                </c:pt>
                <c:pt idx="777">
                  <c:v>44188</c:v>
                </c:pt>
                <c:pt idx="778">
                  <c:v>44189</c:v>
                </c:pt>
                <c:pt idx="779">
                  <c:v>44190</c:v>
                </c:pt>
                <c:pt idx="780">
                  <c:v>44193</c:v>
                </c:pt>
                <c:pt idx="781">
                  <c:v>44194</c:v>
                </c:pt>
                <c:pt idx="782">
                  <c:v>44195</c:v>
                </c:pt>
                <c:pt idx="783">
                  <c:v>44196</c:v>
                </c:pt>
                <c:pt idx="784">
                  <c:v>44197</c:v>
                </c:pt>
                <c:pt idx="785">
                  <c:v>44200</c:v>
                </c:pt>
                <c:pt idx="786">
                  <c:v>44201</c:v>
                </c:pt>
                <c:pt idx="787">
                  <c:v>44202</c:v>
                </c:pt>
                <c:pt idx="788">
                  <c:v>44203</c:v>
                </c:pt>
                <c:pt idx="789">
                  <c:v>44204</c:v>
                </c:pt>
                <c:pt idx="790">
                  <c:v>44207</c:v>
                </c:pt>
                <c:pt idx="791">
                  <c:v>44208</c:v>
                </c:pt>
                <c:pt idx="792">
                  <c:v>44209</c:v>
                </c:pt>
                <c:pt idx="793">
                  <c:v>44210</c:v>
                </c:pt>
                <c:pt idx="794">
                  <c:v>44211</c:v>
                </c:pt>
                <c:pt idx="795">
                  <c:v>44214</c:v>
                </c:pt>
                <c:pt idx="796">
                  <c:v>44215</c:v>
                </c:pt>
                <c:pt idx="797">
                  <c:v>44216</c:v>
                </c:pt>
                <c:pt idx="798">
                  <c:v>44217</c:v>
                </c:pt>
                <c:pt idx="799">
                  <c:v>44218</c:v>
                </c:pt>
                <c:pt idx="800">
                  <c:v>44221</c:v>
                </c:pt>
                <c:pt idx="801">
                  <c:v>44222</c:v>
                </c:pt>
                <c:pt idx="802">
                  <c:v>44223</c:v>
                </c:pt>
                <c:pt idx="803">
                  <c:v>44224</c:v>
                </c:pt>
                <c:pt idx="804">
                  <c:v>44225</c:v>
                </c:pt>
                <c:pt idx="805">
                  <c:v>44228</c:v>
                </c:pt>
                <c:pt idx="806">
                  <c:v>44229</c:v>
                </c:pt>
                <c:pt idx="807">
                  <c:v>44230</c:v>
                </c:pt>
                <c:pt idx="808">
                  <c:v>44231</c:v>
                </c:pt>
                <c:pt idx="809">
                  <c:v>44232</c:v>
                </c:pt>
                <c:pt idx="810">
                  <c:v>44235</c:v>
                </c:pt>
                <c:pt idx="811">
                  <c:v>44236</c:v>
                </c:pt>
                <c:pt idx="812">
                  <c:v>44237</c:v>
                </c:pt>
                <c:pt idx="813">
                  <c:v>44238</c:v>
                </c:pt>
                <c:pt idx="814">
                  <c:v>44239</c:v>
                </c:pt>
                <c:pt idx="815">
                  <c:v>44242</c:v>
                </c:pt>
                <c:pt idx="816">
                  <c:v>44243</c:v>
                </c:pt>
                <c:pt idx="817">
                  <c:v>44244</c:v>
                </c:pt>
                <c:pt idx="818">
                  <c:v>44245</c:v>
                </c:pt>
                <c:pt idx="819">
                  <c:v>44246</c:v>
                </c:pt>
                <c:pt idx="820">
                  <c:v>44249</c:v>
                </c:pt>
                <c:pt idx="821">
                  <c:v>44250</c:v>
                </c:pt>
                <c:pt idx="822">
                  <c:v>44251</c:v>
                </c:pt>
                <c:pt idx="823">
                  <c:v>44252</c:v>
                </c:pt>
                <c:pt idx="824">
                  <c:v>44253</c:v>
                </c:pt>
                <c:pt idx="825">
                  <c:v>44256</c:v>
                </c:pt>
                <c:pt idx="826">
                  <c:v>44257</c:v>
                </c:pt>
                <c:pt idx="827">
                  <c:v>44258</c:v>
                </c:pt>
                <c:pt idx="828">
                  <c:v>44259</c:v>
                </c:pt>
                <c:pt idx="829">
                  <c:v>44260</c:v>
                </c:pt>
                <c:pt idx="830">
                  <c:v>44263</c:v>
                </c:pt>
                <c:pt idx="831">
                  <c:v>44264</c:v>
                </c:pt>
                <c:pt idx="832">
                  <c:v>44265</c:v>
                </c:pt>
                <c:pt idx="833">
                  <c:v>44266</c:v>
                </c:pt>
                <c:pt idx="834">
                  <c:v>44267</c:v>
                </c:pt>
                <c:pt idx="835">
                  <c:v>44270</c:v>
                </c:pt>
                <c:pt idx="836">
                  <c:v>44271</c:v>
                </c:pt>
                <c:pt idx="837">
                  <c:v>44272</c:v>
                </c:pt>
                <c:pt idx="838">
                  <c:v>44273</c:v>
                </c:pt>
                <c:pt idx="839">
                  <c:v>44274</c:v>
                </c:pt>
                <c:pt idx="840">
                  <c:v>44277</c:v>
                </c:pt>
                <c:pt idx="841">
                  <c:v>44278</c:v>
                </c:pt>
                <c:pt idx="842">
                  <c:v>44279</c:v>
                </c:pt>
                <c:pt idx="843">
                  <c:v>44280</c:v>
                </c:pt>
                <c:pt idx="844">
                  <c:v>44281</c:v>
                </c:pt>
                <c:pt idx="845">
                  <c:v>44284</c:v>
                </c:pt>
                <c:pt idx="846">
                  <c:v>44285</c:v>
                </c:pt>
                <c:pt idx="847">
                  <c:v>44286</c:v>
                </c:pt>
                <c:pt idx="848">
                  <c:v>44287</c:v>
                </c:pt>
                <c:pt idx="849">
                  <c:v>44288</c:v>
                </c:pt>
                <c:pt idx="850">
                  <c:v>44291</c:v>
                </c:pt>
                <c:pt idx="851">
                  <c:v>44292</c:v>
                </c:pt>
                <c:pt idx="852">
                  <c:v>44293</c:v>
                </c:pt>
                <c:pt idx="853">
                  <c:v>44294</c:v>
                </c:pt>
                <c:pt idx="854">
                  <c:v>44295</c:v>
                </c:pt>
                <c:pt idx="855">
                  <c:v>44298</c:v>
                </c:pt>
                <c:pt idx="856">
                  <c:v>44299</c:v>
                </c:pt>
                <c:pt idx="857">
                  <c:v>44300</c:v>
                </c:pt>
                <c:pt idx="858">
                  <c:v>44301</c:v>
                </c:pt>
                <c:pt idx="859">
                  <c:v>44302</c:v>
                </c:pt>
                <c:pt idx="860">
                  <c:v>44305</c:v>
                </c:pt>
                <c:pt idx="861">
                  <c:v>44306</c:v>
                </c:pt>
                <c:pt idx="862">
                  <c:v>44307</c:v>
                </c:pt>
                <c:pt idx="863">
                  <c:v>44308</c:v>
                </c:pt>
                <c:pt idx="864">
                  <c:v>44309</c:v>
                </c:pt>
                <c:pt idx="865">
                  <c:v>44312</c:v>
                </c:pt>
                <c:pt idx="866">
                  <c:v>44313</c:v>
                </c:pt>
                <c:pt idx="867">
                  <c:v>44314</c:v>
                </c:pt>
                <c:pt idx="868">
                  <c:v>44315</c:v>
                </c:pt>
                <c:pt idx="869">
                  <c:v>44316</c:v>
                </c:pt>
                <c:pt idx="870">
                  <c:v>44319</c:v>
                </c:pt>
                <c:pt idx="871">
                  <c:v>44320</c:v>
                </c:pt>
                <c:pt idx="872">
                  <c:v>44321</c:v>
                </c:pt>
                <c:pt idx="873">
                  <c:v>44322</c:v>
                </c:pt>
                <c:pt idx="874">
                  <c:v>44323</c:v>
                </c:pt>
                <c:pt idx="875">
                  <c:v>44326</c:v>
                </c:pt>
                <c:pt idx="876">
                  <c:v>44327</c:v>
                </c:pt>
                <c:pt idx="877">
                  <c:v>44328</c:v>
                </c:pt>
                <c:pt idx="878">
                  <c:v>44329</c:v>
                </c:pt>
                <c:pt idx="879">
                  <c:v>44330</c:v>
                </c:pt>
                <c:pt idx="880">
                  <c:v>44333</c:v>
                </c:pt>
                <c:pt idx="881">
                  <c:v>44334</c:v>
                </c:pt>
                <c:pt idx="882">
                  <c:v>44335</c:v>
                </c:pt>
                <c:pt idx="883">
                  <c:v>44336</c:v>
                </c:pt>
                <c:pt idx="884">
                  <c:v>44337</c:v>
                </c:pt>
                <c:pt idx="885">
                  <c:v>44340</c:v>
                </c:pt>
                <c:pt idx="886">
                  <c:v>44341</c:v>
                </c:pt>
                <c:pt idx="887">
                  <c:v>44342</c:v>
                </c:pt>
                <c:pt idx="888">
                  <c:v>44343</c:v>
                </c:pt>
                <c:pt idx="889">
                  <c:v>44344</c:v>
                </c:pt>
                <c:pt idx="890">
                  <c:v>44347</c:v>
                </c:pt>
                <c:pt idx="891">
                  <c:v>44348</c:v>
                </c:pt>
                <c:pt idx="892">
                  <c:v>44349</c:v>
                </c:pt>
                <c:pt idx="893">
                  <c:v>44350</c:v>
                </c:pt>
                <c:pt idx="894">
                  <c:v>44351</c:v>
                </c:pt>
                <c:pt idx="895">
                  <c:v>44354</c:v>
                </c:pt>
                <c:pt idx="896">
                  <c:v>44355</c:v>
                </c:pt>
                <c:pt idx="897">
                  <c:v>44356</c:v>
                </c:pt>
                <c:pt idx="898">
                  <c:v>44357</c:v>
                </c:pt>
                <c:pt idx="899">
                  <c:v>44358</c:v>
                </c:pt>
                <c:pt idx="900">
                  <c:v>44361</c:v>
                </c:pt>
                <c:pt idx="901">
                  <c:v>44362</c:v>
                </c:pt>
                <c:pt idx="902">
                  <c:v>44363</c:v>
                </c:pt>
                <c:pt idx="903">
                  <c:v>44364</c:v>
                </c:pt>
                <c:pt idx="904">
                  <c:v>44365</c:v>
                </c:pt>
                <c:pt idx="905">
                  <c:v>44368</c:v>
                </c:pt>
                <c:pt idx="906">
                  <c:v>44369</c:v>
                </c:pt>
                <c:pt idx="907">
                  <c:v>44370</c:v>
                </c:pt>
                <c:pt idx="908">
                  <c:v>44371</c:v>
                </c:pt>
                <c:pt idx="909">
                  <c:v>44372</c:v>
                </c:pt>
                <c:pt idx="910">
                  <c:v>44375</c:v>
                </c:pt>
                <c:pt idx="911">
                  <c:v>44376</c:v>
                </c:pt>
                <c:pt idx="912">
                  <c:v>44377</c:v>
                </c:pt>
                <c:pt idx="913">
                  <c:v>44378</c:v>
                </c:pt>
                <c:pt idx="914">
                  <c:v>44379</c:v>
                </c:pt>
                <c:pt idx="915">
                  <c:v>44382</c:v>
                </c:pt>
                <c:pt idx="916">
                  <c:v>44383</c:v>
                </c:pt>
                <c:pt idx="917">
                  <c:v>44384</c:v>
                </c:pt>
                <c:pt idx="918">
                  <c:v>44385</c:v>
                </c:pt>
                <c:pt idx="919">
                  <c:v>44386</c:v>
                </c:pt>
                <c:pt idx="920">
                  <c:v>44389</c:v>
                </c:pt>
                <c:pt idx="921">
                  <c:v>44390</c:v>
                </c:pt>
                <c:pt idx="922">
                  <c:v>44391</c:v>
                </c:pt>
                <c:pt idx="923">
                  <c:v>44392</c:v>
                </c:pt>
                <c:pt idx="924">
                  <c:v>44393</c:v>
                </c:pt>
                <c:pt idx="925">
                  <c:v>44396</c:v>
                </c:pt>
                <c:pt idx="926">
                  <c:v>44397</c:v>
                </c:pt>
                <c:pt idx="927">
                  <c:v>44398</c:v>
                </c:pt>
                <c:pt idx="928">
                  <c:v>44399</c:v>
                </c:pt>
                <c:pt idx="929">
                  <c:v>44400</c:v>
                </c:pt>
                <c:pt idx="930">
                  <c:v>44403</c:v>
                </c:pt>
                <c:pt idx="931">
                  <c:v>44404</c:v>
                </c:pt>
                <c:pt idx="932">
                  <c:v>44405</c:v>
                </c:pt>
                <c:pt idx="933">
                  <c:v>44406</c:v>
                </c:pt>
                <c:pt idx="934">
                  <c:v>44407</c:v>
                </c:pt>
                <c:pt idx="935">
                  <c:v>44410</c:v>
                </c:pt>
                <c:pt idx="936">
                  <c:v>44411</c:v>
                </c:pt>
                <c:pt idx="937">
                  <c:v>44412</c:v>
                </c:pt>
                <c:pt idx="938">
                  <c:v>44413</c:v>
                </c:pt>
                <c:pt idx="939">
                  <c:v>44414</c:v>
                </c:pt>
                <c:pt idx="940">
                  <c:v>44417</c:v>
                </c:pt>
                <c:pt idx="941">
                  <c:v>44418</c:v>
                </c:pt>
                <c:pt idx="942">
                  <c:v>44419</c:v>
                </c:pt>
                <c:pt idx="943">
                  <c:v>44420</c:v>
                </c:pt>
                <c:pt idx="944">
                  <c:v>44421</c:v>
                </c:pt>
                <c:pt idx="945">
                  <c:v>44424</c:v>
                </c:pt>
                <c:pt idx="946">
                  <c:v>44425</c:v>
                </c:pt>
                <c:pt idx="947">
                  <c:v>44426</c:v>
                </c:pt>
                <c:pt idx="948">
                  <c:v>44427</c:v>
                </c:pt>
                <c:pt idx="949">
                  <c:v>44428</c:v>
                </c:pt>
                <c:pt idx="950">
                  <c:v>44431</c:v>
                </c:pt>
                <c:pt idx="951">
                  <c:v>44432</c:v>
                </c:pt>
                <c:pt idx="952">
                  <c:v>44433</c:v>
                </c:pt>
                <c:pt idx="953">
                  <c:v>44434</c:v>
                </c:pt>
                <c:pt idx="954">
                  <c:v>44435</c:v>
                </c:pt>
                <c:pt idx="955">
                  <c:v>44438</c:v>
                </c:pt>
                <c:pt idx="956">
                  <c:v>44439</c:v>
                </c:pt>
                <c:pt idx="957">
                  <c:v>44440</c:v>
                </c:pt>
                <c:pt idx="958">
                  <c:v>44441</c:v>
                </c:pt>
                <c:pt idx="959">
                  <c:v>44442</c:v>
                </c:pt>
                <c:pt idx="960">
                  <c:v>44445</c:v>
                </c:pt>
                <c:pt idx="961">
                  <c:v>44446</c:v>
                </c:pt>
                <c:pt idx="962">
                  <c:v>44447</c:v>
                </c:pt>
                <c:pt idx="963">
                  <c:v>44448</c:v>
                </c:pt>
                <c:pt idx="964">
                  <c:v>44449</c:v>
                </c:pt>
                <c:pt idx="965">
                  <c:v>44452</c:v>
                </c:pt>
                <c:pt idx="966">
                  <c:v>44453</c:v>
                </c:pt>
                <c:pt idx="967">
                  <c:v>44454</c:v>
                </c:pt>
                <c:pt idx="968">
                  <c:v>44455</c:v>
                </c:pt>
                <c:pt idx="969">
                  <c:v>44456</c:v>
                </c:pt>
                <c:pt idx="970">
                  <c:v>44459</c:v>
                </c:pt>
                <c:pt idx="971">
                  <c:v>44460</c:v>
                </c:pt>
                <c:pt idx="972">
                  <c:v>44461</c:v>
                </c:pt>
                <c:pt idx="973">
                  <c:v>44462</c:v>
                </c:pt>
                <c:pt idx="974">
                  <c:v>44463</c:v>
                </c:pt>
                <c:pt idx="975">
                  <c:v>44466</c:v>
                </c:pt>
                <c:pt idx="976">
                  <c:v>44467</c:v>
                </c:pt>
                <c:pt idx="977">
                  <c:v>44468</c:v>
                </c:pt>
                <c:pt idx="978">
                  <c:v>44469</c:v>
                </c:pt>
                <c:pt idx="979">
                  <c:v>44470</c:v>
                </c:pt>
                <c:pt idx="980">
                  <c:v>44473</c:v>
                </c:pt>
                <c:pt idx="981">
                  <c:v>44474</c:v>
                </c:pt>
                <c:pt idx="982">
                  <c:v>44475</c:v>
                </c:pt>
                <c:pt idx="983">
                  <c:v>44476</c:v>
                </c:pt>
                <c:pt idx="984">
                  <c:v>44477</c:v>
                </c:pt>
                <c:pt idx="985">
                  <c:v>44480</c:v>
                </c:pt>
                <c:pt idx="986">
                  <c:v>44481</c:v>
                </c:pt>
                <c:pt idx="987">
                  <c:v>44482</c:v>
                </c:pt>
                <c:pt idx="988">
                  <c:v>44483</c:v>
                </c:pt>
                <c:pt idx="989">
                  <c:v>44484</c:v>
                </c:pt>
                <c:pt idx="990">
                  <c:v>44487</c:v>
                </c:pt>
                <c:pt idx="991">
                  <c:v>44488</c:v>
                </c:pt>
                <c:pt idx="992">
                  <c:v>44489</c:v>
                </c:pt>
                <c:pt idx="993">
                  <c:v>44490</c:v>
                </c:pt>
                <c:pt idx="994">
                  <c:v>44491</c:v>
                </c:pt>
                <c:pt idx="995">
                  <c:v>44494</c:v>
                </c:pt>
                <c:pt idx="996">
                  <c:v>44495</c:v>
                </c:pt>
                <c:pt idx="997">
                  <c:v>44496</c:v>
                </c:pt>
                <c:pt idx="998">
                  <c:v>44497</c:v>
                </c:pt>
                <c:pt idx="999">
                  <c:v>44498</c:v>
                </c:pt>
                <c:pt idx="1000">
                  <c:v>44501</c:v>
                </c:pt>
                <c:pt idx="1001">
                  <c:v>44502</c:v>
                </c:pt>
                <c:pt idx="1002">
                  <c:v>44503</c:v>
                </c:pt>
                <c:pt idx="1003">
                  <c:v>44504</c:v>
                </c:pt>
                <c:pt idx="1004">
                  <c:v>44505</c:v>
                </c:pt>
                <c:pt idx="1005">
                  <c:v>44508</c:v>
                </c:pt>
                <c:pt idx="1006">
                  <c:v>44509</c:v>
                </c:pt>
                <c:pt idx="1007">
                  <c:v>44510</c:v>
                </c:pt>
                <c:pt idx="1008">
                  <c:v>44511</c:v>
                </c:pt>
                <c:pt idx="1009">
                  <c:v>44512</c:v>
                </c:pt>
                <c:pt idx="1010">
                  <c:v>44515</c:v>
                </c:pt>
                <c:pt idx="1011">
                  <c:v>44516</c:v>
                </c:pt>
                <c:pt idx="1012">
                  <c:v>44517</c:v>
                </c:pt>
                <c:pt idx="1013">
                  <c:v>44518</c:v>
                </c:pt>
                <c:pt idx="1014">
                  <c:v>44519</c:v>
                </c:pt>
                <c:pt idx="1015">
                  <c:v>44522</c:v>
                </c:pt>
                <c:pt idx="1016">
                  <c:v>44523</c:v>
                </c:pt>
                <c:pt idx="1017">
                  <c:v>44524</c:v>
                </c:pt>
                <c:pt idx="1018">
                  <c:v>44525</c:v>
                </c:pt>
                <c:pt idx="1019">
                  <c:v>44526</c:v>
                </c:pt>
                <c:pt idx="1020">
                  <c:v>44529</c:v>
                </c:pt>
                <c:pt idx="1021">
                  <c:v>44530</c:v>
                </c:pt>
                <c:pt idx="1022">
                  <c:v>44531</c:v>
                </c:pt>
                <c:pt idx="1023">
                  <c:v>44532</c:v>
                </c:pt>
                <c:pt idx="1024">
                  <c:v>44533</c:v>
                </c:pt>
                <c:pt idx="1025">
                  <c:v>44536</c:v>
                </c:pt>
                <c:pt idx="1026">
                  <c:v>44537</c:v>
                </c:pt>
                <c:pt idx="1027">
                  <c:v>44538</c:v>
                </c:pt>
                <c:pt idx="1028">
                  <c:v>44539</c:v>
                </c:pt>
                <c:pt idx="1029">
                  <c:v>44540</c:v>
                </c:pt>
                <c:pt idx="1030">
                  <c:v>44543</c:v>
                </c:pt>
                <c:pt idx="1031">
                  <c:v>44544</c:v>
                </c:pt>
                <c:pt idx="1032">
                  <c:v>44545</c:v>
                </c:pt>
                <c:pt idx="1033">
                  <c:v>44546</c:v>
                </c:pt>
                <c:pt idx="1034">
                  <c:v>44547</c:v>
                </c:pt>
                <c:pt idx="1035">
                  <c:v>44550</c:v>
                </c:pt>
                <c:pt idx="1036">
                  <c:v>44551</c:v>
                </c:pt>
                <c:pt idx="1037">
                  <c:v>44552</c:v>
                </c:pt>
                <c:pt idx="1038">
                  <c:v>44553</c:v>
                </c:pt>
                <c:pt idx="1039">
                  <c:v>44554</c:v>
                </c:pt>
                <c:pt idx="1040">
                  <c:v>44557</c:v>
                </c:pt>
                <c:pt idx="1041">
                  <c:v>44558</c:v>
                </c:pt>
                <c:pt idx="1042">
                  <c:v>44559</c:v>
                </c:pt>
                <c:pt idx="1043">
                  <c:v>44560</c:v>
                </c:pt>
                <c:pt idx="1044">
                  <c:v>44561</c:v>
                </c:pt>
                <c:pt idx="1045">
                  <c:v>44564</c:v>
                </c:pt>
                <c:pt idx="1046">
                  <c:v>44565</c:v>
                </c:pt>
                <c:pt idx="1047">
                  <c:v>44566</c:v>
                </c:pt>
                <c:pt idx="1048">
                  <c:v>44567</c:v>
                </c:pt>
                <c:pt idx="1049">
                  <c:v>44568</c:v>
                </c:pt>
                <c:pt idx="1050">
                  <c:v>44571</c:v>
                </c:pt>
                <c:pt idx="1051">
                  <c:v>44572</c:v>
                </c:pt>
                <c:pt idx="1052">
                  <c:v>44573</c:v>
                </c:pt>
                <c:pt idx="1053">
                  <c:v>44574</c:v>
                </c:pt>
                <c:pt idx="1054">
                  <c:v>44575</c:v>
                </c:pt>
                <c:pt idx="1055">
                  <c:v>44578</c:v>
                </c:pt>
                <c:pt idx="1056">
                  <c:v>44579</c:v>
                </c:pt>
                <c:pt idx="1057">
                  <c:v>44580</c:v>
                </c:pt>
                <c:pt idx="1058">
                  <c:v>44581</c:v>
                </c:pt>
                <c:pt idx="1059">
                  <c:v>44582</c:v>
                </c:pt>
                <c:pt idx="1060">
                  <c:v>44585</c:v>
                </c:pt>
                <c:pt idx="1061">
                  <c:v>44586</c:v>
                </c:pt>
                <c:pt idx="1062">
                  <c:v>44587</c:v>
                </c:pt>
                <c:pt idx="1063">
                  <c:v>44588</c:v>
                </c:pt>
                <c:pt idx="1064">
                  <c:v>44589</c:v>
                </c:pt>
                <c:pt idx="1065">
                  <c:v>44592</c:v>
                </c:pt>
                <c:pt idx="1066">
                  <c:v>44593</c:v>
                </c:pt>
                <c:pt idx="1067">
                  <c:v>44594</c:v>
                </c:pt>
                <c:pt idx="1068">
                  <c:v>44595</c:v>
                </c:pt>
                <c:pt idx="1069">
                  <c:v>44596</c:v>
                </c:pt>
                <c:pt idx="1070">
                  <c:v>44599</c:v>
                </c:pt>
                <c:pt idx="1071">
                  <c:v>44600</c:v>
                </c:pt>
                <c:pt idx="1072">
                  <c:v>44601</c:v>
                </c:pt>
                <c:pt idx="1073">
                  <c:v>44602</c:v>
                </c:pt>
                <c:pt idx="1074">
                  <c:v>44603</c:v>
                </c:pt>
                <c:pt idx="1075">
                  <c:v>44606</c:v>
                </c:pt>
                <c:pt idx="1076">
                  <c:v>44607</c:v>
                </c:pt>
                <c:pt idx="1077">
                  <c:v>44608</c:v>
                </c:pt>
                <c:pt idx="1078">
                  <c:v>44609</c:v>
                </c:pt>
                <c:pt idx="1079">
                  <c:v>44610</c:v>
                </c:pt>
                <c:pt idx="1080">
                  <c:v>44613</c:v>
                </c:pt>
                <c:pt idx="1081">
                  <c:v>44614</c:v>
                </c:pt>
                <c:pt idx="1082">
                  <c:v>44615</c:v>
                </c:pt>
                <c:pt idx="1083">
                  <c:v>44616</c:v>
                </c:pt>
                <c:pt idx="1084">
                  <c:v>44617</c:v>
                </c:pt>
                <c:pt idx="1085">
                  <c:v>44620</c:v>
                </c:pt>
                <c:pt idx="1086">
                  <c:v>44621</c:v>
                </c:pt>
                <c:pt idx="1087">
                  <c:v>44622</c:v>
                </c:pt>
                <c:pt idx="1088">
                  <c:v>44623</c:v>
                </c:pt>
                <c:pt idx="1089">
                  <c:v>44624</c:v>
                </c:pt>
                <c:pt idx="1090">
                  <c:v>44627</c:v>
                </c:pt>
                <c:pt idx="1091">
                  <c:v>44628</c:v>
                </c:pt>
                <c:pt idx="1092">
                  <c:v>44629</c:v>
                </c:pt>
                <c:pt idx="1093">
                  <c:v>44630</c:v>
                </c:pt>
                <c:pt idx="1094">
                  <c:v>44631</c:v>
                </c:pt>
                <c:pt idx="1095">
                  <c:v>44634</c:v>
                </c:pt>
                <c:pt idx="1096">
                  <c:v>44635</c:v>
                </c:pt>
                <c:pt idx="1097">
                  <c:v>44636</c:v>
                </c:pt>
                <c:pt idx="1098">
                  <c:v>44637</c:v>
                </c:pt>
                <c:pt idx="1099">
                  <c:v>44638</c:v>
                </c:pt>
                <c:pt idx="1100">
                  <c:v>44641</c:v>
                </c:pt>
                <c:pt idx="1101">
                  <c:v>44642</c:v>
                </c:pt>
                <c:pt idx="1102">
                  <c:v>44643</c:v>
                </c:pt>
                <c:pt idx="1103">
                  <c:v>44644</c:v>
                </c:pt>
                <c:pt idx="1104">
                  <c:v>44645</c:v>
                </c:pt>
                <c:pt idx="1105">
                  <c:v>44648</c:v>
                </c:pt>
                <c:pt idx="1106">
                  <c:v>44649</c:v>
                </c:pt>
                <c:pt idx="1107">
                  <c:v>44650</c:v>
                </c:pt>
                <c:pt idx="1108">
                  <c:v>44651</c:v>
                </c:pt>
                <c:pt idx="1109">
                  <c:v>44652</c:v>
                </c:pt>
                <c:pt idx="1110">
                  <c:v>44655</c:v>
                </c:pt>
                <c:pt idx="1111">
                  <c:v>44656</c:v>
                </c:pt>
                <c:pt idx="1112">
                  <c:v>44657</c:v>
                </c:pt>
                <c:pt idx="1113">
                  <c:v>44658</c:v>
                </c:pt>
                <c:pt idx="1114">
                  <c:v>44659</c:v>
                </c:pt>
                <c:pt idx="1115">
                  <c:v>44662</c:v>
                </c:pt>
                <c:pt idx="1116">
                  <c:v>44663</c:v>
                </c:pt>
                <c:pt idx="1117">
                  <c:v>44664</c:v>
                </c:pt>
                <c:pt idx="1118">
                  <c:v>44665</c:v>
                </c:pt>
                <c:pt idx="1119">
                  <c:v>44666</c:v>
                </c:pt>
                <c:pt idx="1120">
                  <c:v>44669</c:v>
                </c:pt>
                <c:pt idx="1121">
                  <c:v>44670</c:v>
                </c:pt>
                <c:pt idx="1122">
                  <c:v>44671</c:v>
                </c:pt>
                <c:pt idx="1123">
                  <c:v>44672</c:v>
                </c:pt>
                <c:pt idx="1124">
                  <c:v>44673</c:v>
                </c:pt>
                <c:pt idx="1125">
                  <c:v>44676</c:v>
                </c:pt>
                <c:pt idx="1126">
                  <c:v>44677</c:v>
                </c:pt>
                <c:pt idx="1127">
                  <c:v>44678</c:v>
                </c:pt>
                <c:pt idx="1128">
                  <c:v>44679</c:v>
                </c:pt>
                <c:pt idx="1129">
                  <c:v>44680</c:v>
                </c:pt>
                <c:pt idx="1130">
                  <c:v>44683</c:v>
                </c:pt>
                <c:pt idx="1131">
                  <c:v>44684</c:v>
                </c:pt>
                <c:pt idx="1132">
                  <c:v>44685</c:v>
                </c:pt>
                <c:pt idx="1133">
                  <c:v>44686</c:v>
                </c:pt>
                <c:pt idx="1134">
                  <c:v>44687</c:v>
                </c:pt>
                <c:pt idx="1135">
                  <c:v>44690</c:v>
                </c:pt>
                <c:pt idx="1136">
                  <c:v>44691</c:v>
                </c:pt>
                <c:pt idx="1137">
                  <c:v>44692</c:v>
                </c:pt>
                <c:pt idx="1138">
                  <c:v>44693</c:v>
                </c:pt>
                <c:pt idx="1139">
                  <c:v>44694</c:v>
                </c:pt>
                <c:pt idx="1140">
                  <c:v>44697</c:v>
                </c:pt>
                <c:pt idx="1141">
                  <c:v>44698</c:v>
                </c:pt>
                <c:pt idx="1142">
                  <c:v>44699</c:v>
                </c:pt>
                <c:pt idx="1143">
                  <c:v>44700</c:v>
                </c:pt>
                <c:pt idx="1144">
                  <c:v>44701</c:v>
                </c:pt>
                <c:pt idx="1145">
                  <c:v>44704</c:v>
                </c:pt>
                <c:pt idx="1146">
                  <c:v>44705</c:v>
                </c:pt>
                <c:pt idx="1147">
                  <c:v>44706</c:v>
                </c:pt>
                <c:pt idx="1148">
                  <c:v>44707</c:v>
                </c:pt>
                <c:pt idx="1149">
                  <c:v>44708</c:v>
                </c:pt>
                <c:pt idx="1150">
                  <c:v>44711</c:v>
                </c:pt>
                <c:pt idx="1151">
                  <c:v>44712</c:v>
                </c:pt>
                <c:pt idx="1152">
                  <c:v>44713</c:v>
                </c:pt>
                <c:pt idx="1153">
                  <c:v>44714</c:v>
                </c:pt>
                <c:pt idx="1154">
                  <c:v>44715</c:v>
                </c:pt>
                <c:pt idx="1155">
                  <c:v>44718</c:v>
                </c:pt>
                <c:pt idx="1156">
                  <c:v>44719</c:v>
                </c:pt>
                <c:pt idx="1157">
                  <c:v>44720</c:v>
                </c:pt>
                <c:pt idx="1158">
                  <c:v>44721</c:v>
                </c:pt>
                <c:pt idx="1159">
                  <c:v>44722</c:v>
                </c:pt>
                <c:pt idx="1160">
                  <c:v>44725</c:v>
                </c:pt>
                <c:pt idx="1161">
                  <c:v>44726</c:v>
                </c:pt>
                <c:pt idx="1162">
                  <c:v>44727</c:v>
                </c:pt>
                <c:pt idx="1163">
                  <c:v>44728</c:v>
                </c:pt>
                <c:pt idx="1164">
                  <c:v>44729</c:v>
                </c:pt>
                <c:pt idx="1165">
                  <c:v>44732</c:v>
                </c:pt>
                <c:pt idx="1166">
                  <c:v>44733</c:v>
                </c:pt>
                <c:pt idx="1167">
                  <c:v>44734</c:v>
                </c:pt>
                <c:pt idx="1168">
                  <c:v>44735</c:v>
                </c:pt>
                <c:pt idx="1169">
                  <c:v>44736</c:v>
                </c:pt>
                <c:pt idx="1170">
                  <c:v>44739</c:v>
                </c:pt>
                <c:pt idx="1171">
                  <c:v>44740</c:v>
                </c:pt>
                <c:pt idx="1172">
                  <c:v>44741</c:v>
                </c:pt>
                <c:pt idx="1173">
                  <c:v>44742</c:v>
                </c:pt>
                <c:pt idx="1174">
                  <c:v>44743</c:v>
                </c:pt>
                <c:pt idx="1175">
                  <c:v>44746</c:v>
                </c:pt>
                <c:pt idx="1176">
                  <c:v>44747</c:v>
                </c:pt>
                <c:pt idx="1177">
                  <c:v>44748</c:v>
                </c:pt>
                <c:pt idx="1178">
                  <c:v>44749</c:v>
                </c:pt>
                <c:pt idx="1179">
                  <c:v>44750</c:v>
                </c:pt>
                <c:pt idx="1180">
                  <c:v>44753</c:v>
                </c:pt>
                <c:pt idx="1181">
                  <c:v>44754</c:v>
                </c:pt>
                <c:pt idx="1182">
                  <c:v>44755</c:v>
                </c:pt>
                <c:pt idx="1183">
                  <c:v>44756</c:v>
                </c:pt>
                <c:pt idx="1184">
                  <c:v>44757</c:v>
                </c:pt>
                <c:pt idx="1185">
                  <c:v>44760</c:v>
                </c:pt>
                <c:pt idx="1186">
                  <c:v>44761</c:v>
                </c:pt>
                <c:pt idx="1187">
                  <c:v>44762</c:v>
                </c:pt>
                <c:pt idx="1188">
                  <c:v>44763</c:v>
                </c:pt>
                <c:pt idx="1189">
                  <c:v>44764</c:v>
                </c:pt>
                <c:pt idx="1190">
                  <c:v>44767</c:v>
                </c:pt>
                <c:pt idx="1191">
                  <c:v>44768</c:v>
                </c:pt>
                <c:pt idx="1192">
                  <c:v>44769</c:v>
                </c:pt>
                <c:pt idx="1193">
                  <c:v>44770</c:v>
                </c:pt>
                <c:pt idx="1194">
                  <c:v>44771</c:v>
                </c:pt>
                <c:pt idx="1195">
                  <c:v>44774</c:v>
                </c:pt>
                <c:pt idx="1196">
                  <c:v>44775</c:v>
                </c:pt>
                <c:pt idx="1197">
                  <c:v>44776</c:v>
                </c:pt>
                <c:pt idx="1198">
                  <c:v>44777</c:v>
                </c:pt>
                <c:pt idx="1199">
                  <c:v>44778</c:v>
                </c:pt>
                <c:pt idx="1200">
                  <c:v>44781</c:v>
                </c:pt>
                <c:pt idx="1201">
                  <c:v>44782</c:v>
                </c:pt>
                <c:pt idx="1202">
                  <c:v>44783</c:v>
                </c:pt>
                <c:pt idx="1203">
                  <c:v>44784</c:v>
                </c:pt>
                <c:pt idx="1204">
                  <c:v>44785</c:v>
                </c:pt>
                <c:pt idx="1205">
                  <c:v>44788</c:v>
                </c:pt>
                <c:pt idx="1206">
                  <c:v>44789</c:v>
                </c:pt>
                <c:pt idx="1207">
                  <c:v>44790</c:v>
                </c:pt>
                <c:pt idx="1208">
                  <c:v>44791</c:v>
                </c:pt>
                <c:pt idx="1209">
                  <c:v>44792</c:v>
                </c:pt>
                <c:pt idx="1210">
                  <c:v>44795</c:v>
                </c:pt>
                <c:pt idx="1211">
                  <c:v>44796</c:v>
                </c:pt>
                <c:pt idx="1212">
                  <c:v>44797</c:v>
                </c:pt>
                <c:pt idx="1213">
                  <c:v>44798</c:v>
                </c:pt>
                <c:pt idx="1214">
                  <c:v>44799</c:v>
                </c:pt>
                <c:pt idx="1215">
                  <c:v>44802</c:v>
                </c:pt>
                <c:pt idx="1216">
                  <c:v>44803</c:v>
                </c:pt>
                <c:pt idx="1217">
                  <c:v>44804</c:v>
                </c:pt>
                <c:pt idx="1218">
                  <c:v>44805</c:v>
                </c:pt>
                <c:pt idx="1219">
                  <c:v>44806</c:v>
                </c:pt>
                <c:pt idx="1220">
                  <c:v>44809</c:v>
                </c:pt>
                <c:pt idx="1221">
                  <c:v>44810</c:v>
                </c:pt>
                <c:pt idx="1222">
                  <c:v>44811</c:v>
                </c:pt>
                <c:pt idx="1223">
                  <c:v>44812</c:v>
                </c:pt>
                <c:pt idx="1224">
                  <c:v>44813</c:v>
                </c:pt>
                <c:pt idx="1225">
                  <c:v>44816</c:v>
                </c:pt>
                <c:pt idx="1226">
                  <c:v>44817</c:v>
                </c:pt>
                <c:pt idx="1227">
                  <c:v>44818</c:v>
                </c:pt>
                <c:pt idx="1228">
                  <c:v>44819</c:v>
                </c:pt>
                <c:pt idx="1229">
                  <c:v>44820</c:v>
                </c:pt>
                <c:pt idx="1230">
                  <c:v>44823</c:v>
                </c:pt>
                <c:pt idx="1231">
                  <c:v>44824</c:v>
                </c:pt>
                <c:pt idx="1232">
                  <c:v>44825</c:v>
                </c:pt>
                <c:pt idx="1233">
                  <c:v>44826</c:v>
                </c:pt>
                <c:pt idx="1234">
                  <c:v>44827</c:v>
                </c:pt>
                <c:pt idx="1235">
                  <c:v>44830</c:v>
                </c:pt>
                <c:pt idx="1236">
                  <c:v>44831</c:v>
                </c:pt>
                <c:pt idx="1237">
                  <c:v>44832</c:v>
                </c:pt>
                <c:pt idx="1238">
                  <c:v>44833</c:v>
                </c:pt>
                <c:pt idx="1239">
                  <c:v>44834</c:v>
                </c:pt>
                <c:pt idx="1240">
                  <c:v>44837</c:v>
                </c:pt>
                <c:pt idx="1241">
                  <c:v>44838</c:v>
                </c:pt>
                <c:pt idx="1242">
                  <c:v>44839</c:v>
                </c:pt>
                <c:pt idx="1243">
                  <c:v>44840</c:v>
                </c:pt>
                <c:pt idx="1244">
                  <c:v>44841</c:v>
                </c:pt>
                <c:pt idx="1245">
                  <c:v>44844</c:v>
                </c:pt>
                <c:pt idx="1246">
                  <c:v>44845</c:v>
                </c:pt>
                <c:pt idx="1247">
                  <c:v>44846</c:v>
                </c:pt>
                <c:pt idx="1248">
                  <c:v>44847</c:v>
                </c:pt>
                <c:pt idx="1249">
                  <c:v>44848</c:v>
                </c:pt>
                <c:pt idx="1250">
                  <c:v>44851</c:v>
                </c:pt>
                <c:pt idx="1251">
                  <c:v>44852</c:v>
                </c:pt>
                <c:pt idx="1252">
                  <c:v>44853</c:v>
                </c:pt>
                <c:pt idx="1253">
                  <c:v>44854</c:v>
                </c:pt>
                <c:pt idx="1254">
                  <c:v>44855</c:v>
                </c:pt>
                <c:pt idx="1255">
                  <c:v>44858</c:v>
                </c:pt>
                <c:pt idx="1256">
                  <c:v>44859</c:v>
                </c:pt>
                <c:pt idx="1257">
                  <c:v>44860</c:v>
                </c:pt>
                <c:pt idx="1258">
                  <c:v>44861</c:v>
                </c:pt>
                <c:pt idx="1259">
                  <c:v>44862</c:v>
                </c:pt>
                <c:pt idx="1260">
                  <c:v>44865</c:v>
                </c:pt>
                <c:pt idx="1261">
                  <c:v>44866</c:v>
                </c:pt>
                <c:pt idx="1262">
                  <c:v>44867</c:v>
                </c:pt>
                <c:pt idx="1263">
                  <c:v>44868</c:v>
                </c:pt>
                <c:pt idx="1264">
                  <c:v>44869</c:v>
                </c:pt>
                <c:pt idx="1265">
                  <c:v>44872</c:v>
                </c:pt>
                <c:pt idx="1266">
                  <c:v>44873</c:v>
                </c:pt>
                <c:pt idx="1267">
                  <c:v>44874</c:v>
                </c:pt>
                <c:pt idx="1268">
                  <c:v>44875</c:v>
                </c:pt>
                <c:pt idx="1269">
                  <c:v>44876</c:v>
                </c:pt>
                <c:pt idx="1270">
                  <c:v>44879</c:v>
                </c:pt>
                <c:pt idx="1271">
                  <c:v>44880</c:v>
                </c:pt>
                <c:pt idx="1272">
                  <c:v>44881</c:v>
                </c:pt>
                <c:pt idx="1273">
                  <c:v>44882</c:v>
                </c:pt>
                <c:pt idx="1274">
                  <c:v>44883</c:v>
                </c:pt>
                <c:pt idx="1275">
                  <c:v>44886</c:v>
                </c:pt>
                <c:pt idx="1276">
                  <c:v>44887</c:v>
                </c:pt>
                <c:pt idx="1277">
                  <c:v>44888</c:v>
                </c:pt>
                <c:pt idx="1278">
                  <c:v>44889</c:v>
                </c:pt>
                <c:pt idx="1279">
                  <c:v>44890</c:v>
                </c:pt>
                <c:pt idx="1280">
                  <c:v>44893</c:v>
                </c:pt>
                <c:pt idx="1281">
                  <c:v>44894</c:v>
                </c:pt>
                <c:pt idx="1282">
                  <c:v>44895</c:v>
                </c:pt>
                <c:pt idx="1283">
                  <c:v>44896</c:v>
                </c:pt>
                <c:pt idx="1284">
                  <c:v>44897</c:v>
                </c:pt>
                <c:pt idx="1285">
                  <c:v>44900</c:v>
                </c:pt>
                <c:pt idx="1286">
                  <c:v>44901</c:v>
                </c:pt>
                <c:pt idx="1287">
                  <c:v>44902</c:v>
                </c:pt>
                <c:pt idx="1288">
                  <c:v>44903</c:v>
                </c:pt>
                <c:pt idx="1289">
                  <c:v>44904</c:v>
                </c:pt>
                <c:pt idx="1290">
                  <c:v>44907</c:v>
                </c:pt>
                <c:pt idx="1291">
                  <c:v>44908</c:v>
                </c:pt>
                <c:pt idx="1292">
                  <c:v>44909</c:v>
                </c:pt>
                <c:pt idx="1293">
                  <c:v>44910</c:v>
                </c:pt>
                <c:pt idx="1294">
                  <c:v>44911</c:v>
                </c:pt>
                <c:pt idx="1295">
                  <c:v>44914</c:v>
                </c:pt>
                <c:pt idx="1296">
                  <c:v>44915</c:v>
                </c:pt>
                <c:pt idx="1297">
                  <c:v>44916</c:v>
                </c:pt>
                <c:pt idx="1298">
                  <c:v>44917</c:v>
                </c:pt>
                <c:pt idx="1299">
                  <c:v>44918</c:v>
                </c:pt>
                <c:pt idx="1300">
                  <c:v>44921</c:v>
                </c:pt>
                <c:pt idx="1301">
                  <c:v>44922</c:v>
                </c:pt>
                <c:pt idx="1302">
                  <c:v>44923</c:v>
                </c:pt>
                <c:pt idx="1303">
                  <c:v>44924</c:v>
                </c:pt>
                <c:pt idx="1304">
                  <c:v>44925</c:v>
                </c:pt>
                <c:pt idx="1305">
                  <c:v>44928</c:v>
                </c:pt>
                <c:pt idx="1306">
                  <c:v>44929</c:v>
                </c:pt>
                <c:pt idx="1307">
                  <c:v>44930</c:v>
                </c:pt>
                <c:pt idx="1308">
                  <c:v>44931</c:v>
                </c:pt>
                <c:pt idx="1309">
                  <c:v>44932</c:v>
                </c:pt>
                <c:pt idx="1310">
                  <c:v>44935</c:v>
                </c:pt>
                <c:pt idx="1311">
                  <c:v>44936</c:v>
                </c:pt>
                <c:pt idx="1312">
                  <c:v>44937</c:v>
                </c:pt>
                <c:pt idx="1313">
                  <c:v>44938</c:v>
                </c:pt>
                <c:pt idx="1314">
                  <c:v>44939</c:v>
                </c:pt>
                <c:pt idx="1315">
                  <c:v>44940</c:v>
                </c:pt>
                <c:pt idx="1316">
                  <c:v>44941</c:v>
                </c:pt>
                <c:pt idx="1317">
                  <c:v>44942</c:v>
                </c:pt>
                <c:pt idx="1318">
                  <c:v>44943</c:v>
                </c:pt>
                <c:pt idx="1319">
                  <c:v>44944</c:v>
                </c:pt>
                <c:pt idx="1320">
                  <c:v>44945</c:v>
                </c:pt>
                <c:pt idx="1321">
                  <c:v>44946</c:v>
                </c:pt>
                <c:pt idx="1322">
                  <c:v>44947</c:v>
                </c:pt>
                <c:pt idx="1323">
                  <c:v>44948</c:v>
                </c:pt>
              </c:numCache>
            </c:numRef>
          </c:cat>
          <c:val>
            <c:numRef>
              <c:f>'HC Data (2)'!$Y$9:$Y$1332</c:f>
              <c:numCache>
                <c:formatCode>0.00</c:formatCode>
                <c:ptCount val="1324"/>
                <c:pt idx="0" formatCode="General">
                  <c:v>100</c:v>
                </c:pt>
                <c:pt idx="1">
                  <c:v>100.22339617560957</c:v>
                </c:pt>
                <c:pt idx="2">
                  <c:v>100.08068660962478</c:v>
                </c:pt>
                <c:pt idx="3">
                  <c:v>98.821416811204827</c:v>
                </c:pt>
                <c:pt idx="4">
                  <c:v>98.160642607272933</c:v>
                </c:pt>
                <c:pt idx="5">
                  <c:v>97.64702042555885</c:v>
                </c:pt>
                <c:pt idx="6">
                  <c:v>97.237765684271892</c:v>
                </c:pt>
                <c:pt idx="7">
                  <c:v>97.005115718789213</c:v>
                </c:pt>
                <c:pt idx="8">
                  <c:v>97.684841760230114</c:v>
                </c:pt>
                <c:pt idx="9">
                  <c:v>97.853467985050514</c:v>
                </c:pt>
                <c:pt idx="10">
                  <c:v>97.850894908236029</c:v>
                </c:pt>
                <c:pt idx="11">
                  <c:v>97.083938629915906</c:v>
                </c:pt>
                <c:pt idx="12">
                  <c:v>97.98237160461548</c:v>
                </c:pt>
                <c:pt idx="13">
                  <c:v>97.353989561527968</c:v>
                </c:pt>
                <c:pt idx="14">
                  <c:v>97.071652184585574</c:v>
                </c:pt>
                <c:pt idx="15">
                  <c:v>97.509670958622863</c:v>
                </c:pt>
                <c:pt idx="16">
                  <c:v>97.537793320938704</c:v>
                </c:pt>
                <c:pt idx="17">
                  <c:v>97.698542205451389</c:v>
                </c:pt>
                <c:pt idx="18">
                  <c:v>98.245999508205358</c:v>
                </c:pt>
                <c:pt idx="19">
                  <c:v>98.800829370642262</c:v>
                </c:pt>
                <c:pt idx="20">
                  <c:v>98.191658269905759</c:v>
                </c:pt>
                <c:pt idx="21">
                  <c:v>97.784091061218973</c:v>
                </c:pt>
                <c:pt idx="22">
                  <c:v>97.672476854810924</c:v>
                </c:pt>
                <c:pt idx="23">
                  <c:v>97.846754760541884</c:v>
                </c:pt>
                <c:pt idx="24">
                  <c:v>97.075400321305636</c:v>
                </c:pt>
                <c:pt idx="25">
                  <c:v>94.50342818717462</c:v>
                </c:pt>
                <c:pt idx="26">
                  <c:v>98.524016829356626</c:v>
                </c:pt>
                <c:pt idx="27">
                  <c:v>96.371105971825529</c:v>
                </c:pt>
                <c:pt idx="28">
                  <c:v>94.314254749783615</c:v>
                </c:pt>
                <c:pt idx="29">
                  <c:v>97.298971452281577</c:v>
                </c:pt>
                <c:pt idx="30">
                  <c:v>97.101364772080402</c:v>
                </c:pt>
                <c:pt idx="31">
                  <c:v>97.763519248539183</c:v>
                </c:pt>
                <c:pt idx="32">
                  <c:v>98.012246301802918</c:v>
                </c:pt>
                <c:pt idx="33">
                  <c:v>98.551312492219651</c:v>
                </c:pt>
                <c:pt idx="34">
                  <c:v>97.640146865902963</c:v>
                </c:pt>
                <c:pt idx="35">
                  <c:v>98.364174832667999</c:v>
                </c:pt>
                <c:pt idx="36">
                  <c:v>97.423196973958355</c:v>
                </c:pt>
                <c:pt idx="37">
                  <c:v>96.694964115508711</c:v>
                </c:pt>
                <c:pt idx="38">
                  <c:v>96.859709969782443</c:v>
                </c:pt>
                <c:pt idx="39">
                  <c:v>98.177402002466494</c:v>
                </c:pt>
                <c:pt idx="40">
                  <c:v>98.680283912813181</c:v>
                </c:pt>
                <c:pt idx="41">
                  <c:v>97.728119040196432</c:v>
                </c:pt>
                <c:pt idx="42">
                  <c:v>97.296222204333787</c:v>
                </c:pt>
                <c:pt idx="43">
                  <c:v>97.309492588987084</c:v>
                </c:pt>
                <c:pt idx="44">
                  <c:v>99.703082892651253</c:v>
                </c:pt>
                <c:pt idx="45">
                  <c:v>99.632175216179832</c:v>
                </c:pt>
                <c:pt idx="46">
                  <c:v>99.705413608917908</c:v>
                </c:pt>
                <c:pt idx="47">
                  <c:v>99.268111472657253</c:v>
                </c:pt>
                <c:pt idx="48">
                  <c:v>98.87436806654739</c:v>
                </c:pt>
                <c:pt idx="49">
                  <c:v>100.19815956411763</c:v>
                </c:pt>
                <c:pt idx="50">
                  <c:v>99.873205733570899</c:v>
                </c:pt>
                <c:pt idx="51">
                  <c:v>100.20992954283646</c:v>
                </c:pt>
                <c:pt idx="52">
                  <c:v>99.848403165375487</c:v>
                </c:pt>
                <c:pt idx="53">
                  <c:v>99.245236604666772</c:v>
                </c:pt>
                <c:pt idx="54">
                  <c:v>99.199487566060853</c:v>
                </c:pt>
                <c:pt idx="55">
                  <c:v>98.937048674832269</c:v>
                </c:pt>
                <c:pt idx="56">
                  <c:v>98.847021470145833</c:v>
                </c:pt>
                <c:pt idx="57">
                  <c:v>98.799312755968543</c:v>
                </c:pt>
                <c:pt idx="58">
                  <c:v>97.796371360989767</c:v>
                </c:pt>
                <c:pt idx="59">
                  <c:v>96.517574038474663</c:v>
                </c:pt>
                <c:pt idx="60">
                  <c:v>99.644895278528395</c:v>
                </c:pt>
                <c:pt idx="61">
                  <c:v>96.653009843632631</c:v>
                </c:pt>
                <c:pt idx="62">
                  <c:v>95.937373422545377</c:v>
                </c:pt>
                <c:pt idx="63">
                  <c:v>96.966026297857795</c:v>
                </c:pt>
                <c:pt idx="64">
                  <c:v>96.924667510995064</c:v>
                </c:pt>
                <c:pt idx="65">
                  <c:v>94.756415618991682</c:v>
                </c:pt>
                <c:pt idx="66">
                  <c:v>96.368625344321202</c:v>
                </c:pt>
                <c:pt idx="67">
                  <c:v>97.884390597826055</c:v>
                </c:pt>
                <c:pt idx="68">
                  <c:v>95.895592885709348</c:v>
                </c:pt>
                <c:pt idx="69">
                  <c:v>94.573989180808283</c:v>
                </c:pt>
                <c:pt idx="70">
                  <c:v>94.70846960682978</c:v>
                </c:pt>
                <c:pt idx="71">
                  <c:v>95.418169981418274</c:v>
                </c:pt>
                <c:pt idx="72">
                  <c:v>95.38724685267799</c:v>
                </c:pt>
                <c:pt idx="73">
                  <c:v>95.541632694073513</c:v>
                </c:pt>
                <c:pt idx="74">
                  <c:v>95.246127232862236</c:v>
                </c:pt>
                <c:pt idx="75">
                  <c:v>96.307845166347931</c:v>
                </c:pt>
                <c:pt idx="76">
                  <c:v>96.468547482873021</c:v>
                </c:pt>
                <c:pt idx="77">
                  <c:v>96.12066180356554</c:v>
                </c:pt>
                <c:pt idx="78">
                  <c:v>95.581526516574087</c:v>
                </c:pt>
                <c:pt idx="79">
                  <c:v>94.710322942728737</c:v>
                </c:pt>
                <c:pt idx="80">
                  <c:v>94.388718092072835</c:v>
                </c:pt>
                <c:pt idx="81">
                  <c:v>92.814897411144386</c:v>
                </c:pt>
                <c:pt idx="82">
                  <c:v>93.66665336572396</c:v>
                </c:pt>
                <c:pt idx="83">
                  <c:v>93.971847167785526</c:v>
                </c:pt>
                <c:pt idx="84">
                  <c:v>93.441264661074044</c:v>
                </c:pt>
                <c:pt idx="85">
                  <c:v>92.4592526592144</c:v>
                </c:pt>
                <c:pt idx="86">
                  <c:v>92.734083650748119</c:v>
                </c:pt>
                <c:pt idx="87">
                  <c:v>91.495689191587914</c:v>
                </c:pt>
                <c:pt idx="88">
                  <c:v>91.962897608338253</c:v>
                </c:pt>
                <c:pt idx="89">
                  <c:v>92.493773808945235</c:v>
                </c:pt>
                <c:pt idx="90">
                  <c:v>92.374752697428832</c:v>
                </c:pt>
                <c:pt idx="91">
                  <c:v>92.348118289927129</c:v>
                </c:pt>
                <c:pt idx="92">
                  <c:v>92.672273539168387</c:v>
                </c:pt>
                <c:pt idx="93">
                  <c:v>93.49025905735364</c:v>
                </c:pt>
                <c:pt idx="94">
                  <c:v>93.481561917172698</c:v>
                </c:pt>
                <c:pt idx="95">
                  <c:v>93.507691805376709</c:v>
                </c:pt>
                <c:pt idx="96">
                  <c:v>92.955155592834913</c:v>
                </c:pt>
                <c:pt idx="97">
                  <c:v>93.27635641503845</c:v>
                </c:pt>
                <c:pt idx="98">
                  <c:v>92.762643811601663</c:v>
                </c:pt>
                <c:pt idx="99">
                  <c:v>92.862703661809746</c:v>
                </c:pt>
                <c:pt idx="100">
                  <c:v>93.323309912661983</c:v>
                </c:pt>
                <c:pt idx="101">
                  <c:v>92.808359703949051</c:v>
                </c:pt>
                <c:pt idx="102">
                  <c:v>94.252795419249182</c:v>
                </c:pt>
                <c:pt idx="103">
                  <c:v>94.554749181720055</c:v>
                </c:pt>
                <c:pt idx="104">
                  <c:v>94.378953101722914</c:v>
                </c:pt>
                <c:pt idx="105">
                  <c:v>94.838227853994894</c:v>
                </c:pt>
                <c:pt idx="106">
                  <c:v>95.146200343224322</c:v>
                </c:pt>
                <c:pt idx="107">
                  <c:v>95.886809003705793</c:v>
                </c:pt>
                <c:pt idx="108">
                  <c:v>95.927182718527746</c:v>
                </c:pt>
                <c:pt idx="109">
                  <c:v>95.954402653806</c:v>
                </c:pt>
                <c:pt idx="110">
                  <c:v>96.103566405155036</c:v>
                </c:pt>
                <c:pt idx="111">
                  <c:v>96.370114705867962</c:v>
                </c:pt>
                <c:pt idx="112">
                  <c:v>97.074918359797778</c:v>
                </c:pt>
                <c:pt idx="113">
                  <c:v>96.928140876492762</c:v>
                </c:pt>
                <c:pt idx="114">
                  <c:v>97.613861350254496</c:v>
                </c:pt>
                <c:pt idx="115">
                  <c:v>97.040294366428071</c:v>
                </c:pt>
                <c:pt idx="116">
                  <c:v>97.403716020654912</c:v>
                </c:pt>
                <c:pt idx="117">
                  <c:v>96.757048973625544</c:v>
                </c:pt>
                <c:pt idx="118">
                  <c:v>96.31354326719746</c:v>
                </c:pt>
                <c:pt idx="119">
                  <c:v>97.27695551744101</c:v>
                </c:pt>
                <c:pt idx="120">
                  <c:v>97.787771361293366</c:v>
                </c:pt>
                <c:pt idx="121">
                  <c:v>98.035555225023842</c:v>
                </c:pt>
                <c:pt idx="122">
                  <c:v>97.931086513922764</c:v>
                </c:pt>
                <c:pt idx="123">
                  <c:v>98.039991939468223</c:v>
                </c:pt>
                <c:pt idx="124">
                  <c:v>97.055644408287321</c:v>
                </c:pt>
                <c:pt idx="125">
                  <c:v>97.55115514841637</c:v>
                </c:pt>
                <c:pt idx="126">
                  <c:v>97.74616117938703</c:v>
                </c:pt>
                <c:pt idx="127">
                  <c:v>96.100579139421413</c:v>
                </c:pt>
                <c:pt idx="128">
                  <c:v>97.48903222040768</c:v>
                </c:pt>
                <c:pt idx="129">
                  <c:v>96.691458979041741</c:v>
                </c:pt>
                <c:pt idx="130">
                  <c:v>97.812540872538264</c:v>
                </c:pt>
                <c:pt idx="131">
                  <c:v>96.462728462740316</c:v>
                </c:pt>
                <c:pt idx="132">
                  <c:v>96.471924619102495</c:v>
                </c:pt>
                <c:pt idx="133">
                  <c:v>96.800137068987311</c:v>
                </c:pt>
                <c:pt idx="134">
                  <c:v>97.287519931230037</c:v>
                </c:pt>
                <c:pt idx="135">
                  <c:v>97.437416995408825</c:v>
                </c:pt>
                <c:pt idx="136">
                  <c:v>97.417531591146272</c:v>
                </c:pt>
                <c:pt idx="137">
                  <c:v>98.014457050669179</c:v>
                </c:pt>
                <c:pt idx="138">
                  <c:v>98.052790974898997</c:v>
                </c:pt>
                <c:pt idx="139">
                  <c:v>97.965914294326183</c:v>
                </c:pt>
                <c:pt idx="140">
                  <c:v>98.117629329362572</c:v>
                </c:pt>
                <c:pt idx="141">
                  <c:v>98.319548666115423</c:v>
                </c:pt>
                <c:pt idx="142">
                  <c:v>97.89306709715558</c:v>
                </c:pt>
                <c:pt idx="143">
                  <c:v>97.859435862856273</c:v>
                </c:pt>
                <c:pt idx="144">
                  <c:v>97.678283041680231</c:v>
                </c:pt>
                <c:pt idx="145">
                  <c:v>97.802713423932232</c:v>
                </c:pt>
                <c:pt idx="146">
                  <c:v>97.414324168909772</c:v>
                </c:pt>
                <c:pt idx="147">
                  <c:v>98.573615763083495</c:v>
                </c:pt>
                <c:pt idx="148">
                  <c:v>97.528515273481688</c:v>
                </c:pt>
                <c:pt idx="149">
                  <c:v>96.341090388562449</c:v>
                </c:pt>
                <c:pt idx="150">
                  <c:v>95.944937966796644</c:v>
                </c:pt>
                <c:pt idx="151">
                  <c:v>96.083559000601738</c:v>
                </c:pt>
                <c:pt idx="152">
                  <c:v>96.348822496854851</c:v>
                </c:pt>
                <c:pt idx="153">
                  <c:v>97.677513884439705</c:v>
                </c:pt>
                <c:pt idx="154">
                  <c:v>97.540493955836325</c:v>
                </c:pt>
                <c:pt idx="155">
                  <c:v>98.082643457718959</c:v>
                </c:pt>
                <c:pt idx="156">
                  <c:v>97.822134046673241</c:v>
                </c:pt>
                <c:pt idx="157">
                  <c:v>97.920801243043144</c:v>
                </c:pt>
                <c:pt idx="158">
                  <c:v>97.794461771273546</c:v>
                </c:pt>
                <c:pt idx="159">
                  <c:v>98.48027899232649</c:v>
                </c:pt>
                <c:pt idx="160">
                  <c:v>98.430461867557725</c:v>
                </c:pt>
                <c:pt idx="161">
                  <c:v>99.195798818634387</c:v>
                </c:pt>
                <c:pt idx="162">
                  <c:v>99.707452256819749</c:v>
                </c:pt>
                <c:pt idx="163">
                  <c:v>100.03834735265602</c:v>
                </c:pt>
                <c:pt idx="164">
                  <c:v>100.27231069649952</c:v>
                </c:pt>
                <c:pt idx="165">
                  <c:v>99.835896269783575</c:v>
                </c:pt>
                <c:pt idx="166">
                  <c:v>99.623866347057316</c:v>
                </c:pt>
                <c:pt idx="167">
                  <c:v>99.684159683092062</c:v>
                </c:pt>
                <c:pt idx="168">
                  <c:v>99.569326172721944</c:v>
                </c:pt>
                <c:pt idx="169">
                  <c:v>99.992187221567406</c:v>
                </c:pt>
                <c:pt idx="170">
                  <c:v>100.02246240465784</c:v>
                </c:pt>
                <c:pt idx="171">
                  <c:v>100.0001105409961</c:v>
                </c:pt>
                <c:pt idx="172">
                  <c:v>100.22167823042862</c:v>
                </c:pt>
                <c:pt idx="173">
                  <c:v>100.16950495318471</c:v>
                </c:pt>
                <c:pt idx="174">
                  <c:v>101.26147680888609</c:v>
                </c:pt>
                <c:pt idx="175">
                  <c:v>101.15683387026048</c:v>
                </c:pt>
                <c:pt idx="176">
                  <c:v>101.67794180771288</c:v>
                </c:pt>
                <c:pt idx="177">
                  <c:v>102.41563564298666</c:v>
                </c:pt>
                <c:pt idx="178">
                  <c:v>102.85923149135151</c:v>
                </c:pt>
                <c:pt idx="179">
                  <c:v>102.5112068398759</c:v>
                </c:pt>
                <c:pt idx="180">
                  <c:v>102.30881771557068</c:v>
                </c:pt>
                <c:pt idx="181">
                  <c:v>102.74930039018014</c:v>
                </c:pt>
                <c:pt idx="182">
                  <c:v>102.27737874604728</c:v>
                </c:pt>
                <c:pt idx="183">
                  <c:v>102.74021727235541</c:v>
                </c:pt>
                <c:pt idx="184">
                  <c:v>102.50251400438057</c:v>
                </c:pt>
                <c:pt idx="185">
                  <c:v>101.61899613538502</c:v>
                </c:pt>
                <c:pt idx="186">
                  <c:v>102.22582072150357</c:v>
                </c:pt>
                <c:pt idx="187">
                  <c:v>101.7484667084227</c:v>
                </c:pt>
                <c:pt idx="188">
                  <c:v>101.77183042513877</c:v>
                </c:pt>
                <c:pt idx="189">
                  <c:v>101.22205911667898</c:v>
                </c:pt>
                <c:pt idx="190">
                  <c:v>101.28975022291591</c:v>
                </c:pt>
                <c:pt idx="191">
                  <c:v>100.65576931750103</c:v>
                </c:pt>
                <c:pt idx="192">
                  <c:v>99.968128616390203</c:v>
                </c:pt>
                <c:pt idx="193">
                  <c:v>100.08008682894551</c:v>
                </c:pt>
                <c:pt idx="194">
                  <c:v>101.06668682442589</c:v>
                </c:pt>
                <c:pt idx="195">
                  <c:v>101.590020584868</c:v>
                </c:pt>
                <c:pt idx="196">
                  <c:v>101.76317599117678</c:v>
                </c:pt>
                <c:pt idx="197">
                  <c:v>101.4094526569679</c:v>
                </c:pt>
                <c:pt idx="198">
                  <c:v>101.68980758322813</c:v>
                </c:pt>
                <c:pt idx="199">
                  <c:v>102.06947514983108</c:v>
                </c:pt>
                <c:pt idx="200">
                  <c:v>103.09203919131581</c:v>
                </c:pt>
                <c:pt idx="201">
                  <c:v>102.78221579491748</c:v>
                </c:pt>
                <c:pt idx="202">
                  <c:v>100.80294612299296</c:v>
                </c:pt>
                <c:pt idx="203">
                  <c:v>100.78930770736687</c:v>
                </c:pt>
                <c:pt idx="204">
                  <c:v>102.70140849703827</c:v>
                </c:pt>
                <c:pt idx="205">
                  <c:v>101.65201111794508</c:v>
                </c:pt>
                <c:pt idx="206">
                  <c:v>102.29765199340628</c:v>
                </c:pt>
                <c:pt idx="207">
                  <c:v>102.895779301472</c:v>
                </c:pt>
                <c:pt idx="208">
                  <c:v>101.98532460109968</c:v>
                </c:pt>
                <c:pt idx="209">
                  <c:v>101.86201480720824</c:v>
                </c:pt>
                <c:pt idx="210">
                  <c:v>101.82426462443469</c:v>
                </c:pt>
                <c:pt idx="211">
                  <c:v>102.65958503381069</c:v>
                </c:pt>
                <c:pt idx="212">
                  <c:v>99.852037752719269</c:v>
                </c:pt>
                <c:pt idx="213">
                  <c:v>101.18661570801609</c:v>
                </c:pt>
                <c:pt idx="214">
                  <c:v>99.964517850120131</c:v>
                </c:pt>
                <c:pt idx="215">
                  <c:v>98.889777599535435</c:v>
                </c:pt>
                <c:pt idx="216">
                  <c:v>100.40166090291767</c:v>
                </c:pt>
                <c:pt idx="217">
                  <c:v>99.877363301668723</c:v>
                </c:pt>
                <c:pt idx="218">
                  <c:v>100.6271578558424</c:v>
                </c:pt>
                <c:pt idx="219">
                  <c:v>99.859303292049589</c:v>
                </c:pt>
                <c:pt idx="220">
                  <c:v>100.47084376128743</c:v>
                </c:pt>
                <c:pt idx="221">
                  <c:v>101.37831110703806</c:v>
                </c:pt>
                <c:pt idx="222">
                  <c:v>102.3214740832196</c:v>
                </c:pt>
                <c:pt idx="223">
                  <c:v>102.00080457208608</c:v>
                </c:pt>
                <c:pt idx="224">
                  <c:v>101.55134568922877</c:v>
                </c:pt>
                <c:pt idx="225">
                  <c:v>100.75554478211124</c:v>
                </c:pt>
                <c:pt idx="226">
                  <c:v>99.826463113934963</c:v>
                </c:pt>
                <c:pt idx="227">
                  <c:v>99.584480638508097</c:v>
                </c:pt>
                <c:pt idx="228">
                  <c:v>101.57654019404158</c:v>
                </c:pt>
                <c:pt idx="229">
                  <c:v>101.87569061332145</c:v>
                </c:pt>
                <c:pt idx="230">
                  <c:v>100.72607176577866</c:v>
                </c:pt>
                <c:pt idx="231">
                  <c:v>100.0234115344977</c:v>
                </c:pt>
                <c:pt idx="232">
                  <c:v>99.134215447356183</c:v>
                </c:pt>
                <c:pt idx="233">
                  <c:v>99.938786254679243</c:v>
                </c:pt>
                <c:pt idx="234">
                  <c:v>99.02911460498629</c:v>
                </c:pt>
                <c:pt idx="235">
                  <c:v>99.35537046477323</c:v>
                </c:pt>
                <c:pt idx="236">
                  <c:v>100.0348929952733</c:v>
                </c:pt>
                <c:pt idx="237">
                  <c:v>102.21585800941037</c:v>
                </c:pt>
                <c:pt idx="238">
                  <c:v>101.77209487088554</c:v>
                </c:pt>
                <c:pt idx="239">
                  <c:v>102.79889235574962</c:v>
                </c:pt>
                <c:pt idx="240">
                  <c:v>103.00998613866298</c:v>
                </c:pt>
                <c:pt idx="241">
                  <c:v>100.53696856858319</c:v>
                </c:pt>
                <c:pt idx="242">
                  <c:v>101.76715677649867</c:v>
                </c:pt>
                <c:pt idx="243">
                  <c:v>104.72099159578713</c:v>
                </c:pt>
                <c:pt idx="244">
                  <c:v>101.5004195097636</c:v>
                </c:pt>
                <c:pt idx="245">
                  <c:v>103.55281965253761</c:v>
                </c:pt>
                <c:pt idx="246">
                  <c:v>101.74280935782133</c:v>
                </c:pt>
                <c:pt idx="247">
                  <c:v>100.68368199064113</c:v>
                </c:pt>
                <c:pt idx="248">
                  <c:v>100.79481171220645</c:v>
                </c:pt>
                <c:pt idx="249">
                  <c:v>99.644614971972942</c:v>
                </c:pt>
                <c:pt idx="250">
                  <c:v>98.476428312459504</c:v>
                </c:pt>
                <c:pt idx="251">
                  <c:v>99.410867274874775</c:v>
                </c:pt>
                <c:pt idx="252">
                  <c:v>97.499471666611967</c:v>
                </c:pt>
                <c:pt idx="253">
                  <c:v>97.327293220932262</c:v>
                </c:pt>
                <c:pt idx="254">
                  <c:v>95.280862164757238</c:v>
                </c:pt>
                <c:pt idx="255">
                  <c:v>93.344640969552998</c:v>
                </c:pt>
                <c:pt idx="256">
                  <c:v>93.364396114644634</c:v>
                </c:pt>
                <c:pt idx="257">
                  <c:v>98.174534909713088</c:v>
                </c:pt>
                <c:pt idx="258">
                  <c:v>100.4432289171282</c:v>
                </c:pt>
                <c:pt idx="259">
                  <c:v>98.512522746291381</c:v>
                </c:pt>
                <c:pt idx="260">
                  <c:v>98.783364230052712</c:v>
                </c:pt>
                <c:pt idx="261">
                  <c:v>98.810789048288456</c:v>
                </c:pt>
                <c:pt idx="262">
                  <c:v>99.001644889883138</c:v>
                </c:pt>
                <c:pt idx="263">
                  <c:v>97.627811731452496</c:v>
                </c:pt>
                <c:pt idx="264">
                  <c:v>98.277722954505606</c:v>
                </c:pt>
                <c:pt idx="265">
                  <c:v>99.280021996616938</c:v>
                </c:pt>
                <c:pt idx="266">
                  <c:v>99.357932943866629</c:v>
                </c:pt>
                <c:pt idx="267">
                  <c:v>99.145748783421567</c:v>
                </c:pt>
                <c:pt idx="268">
                  <c:v>99.252358522351315</c:v>
                </c:pt>
                <c:pt idx="269">
                  <c:v>99.333638814192867</c:v>
                </c:pt>
                <c:pt idx="270">
                  <c:v>99.054970586460684</c:v>
                </c:pt>
                <c:pt idx="271">
                  <c:v>99.983094878484621</c:v>
                </c:pt>
                <c:pt idx="272">
                  <c:v>99.892381037485947</c:v>
                </c:pt>
                <c:pt idx="273">
                  <c:v>100.58137464574484</c:v>
                </c:pt>
                <c:pt idx="274">
                  <c:v>100.07905721700531</c:v>
                </c:pt>
                <c:pt idx="275">
                  <c:v>100.35210473005324</c:v>
                </c:pt>
                <c:pt idx="276">
                  <c:v>99.227877625983737</c:v>
                </c:pt>
                <c:pt idx="277">
                  <c:v>99.499889412806681</c:v>
                </c:pt>
                <c:pt idx="278">
                  <c:v>99.575724700978824</c:v>
                </c:pt>
                <c:pt idx="279">
                  <c:v>99.546041530117463</c:v>
                </c:pt>
                <c:pt idx="280">
                  <c:v>99.625776054056942</c:v>
                </c:pt>
                <c:pt idx="281">
                  <c:v>98.672870316751798</c:v>
                </c:pt>
                <c:pt idx="282">
                  <c:v>99.962117413560478</c:v>
                </c:pt>
                <c:pt idx="283">
                  <c:v>100.58471137344144</c:v>
                </c:pt>
                <c:pt idx="284">
                  <c:v>100.30801039524377</c:v>
                </c:pt>
                <c:pt idx="285">
                  <c:v>100.931205152506</c:v>
                </c:pt>
                <c:pt idx="286">
                  <c:v>99.998654701887276</c:v>
                </c:pt>
                <c:pt idx="287">
                  <c:v>99.664419097794067</c:v>
                </c:pt>
                <c:pt idx="288">
                  <c:v>100.31993194956591</c:v>
                </c:pt>
                <c:pt idx="289">
                  <c:v>100.85092360059694</c:v>
                </c:pt>
                <c:pt idx="290">
                  <c:v>100.14483025720581</c:v>
                </c:pt>
                <c:pt idx="291">
                  <c:v>100.89331690806783</c:v>
                </c:pt>
                <c:pt idx="292">
                  <c:v>100.63810447320085</c:v>
                </c:pt>
                <c:pt idx="293">
                  <c:v>100.63499140559088</c:v>
                </c:pt>
                <c:pt idx="294">
                  <c:v>100.42767302080918</c:v>
                </c:pt>
                <c:pt idx="295">
                  <c:v>100.23769595965867</c:v>
                </c:pt>
                <c:pt idx="296">
                  <c:v>100.49142839382415</c:v>
                </c:pt>
                <c:pt idx="297">
                  <c:v>99.944121291876186</c:v>
                </c:pt>
                <c:pt idx="298">
                  <c:v>100.04316833990187</c:v>
                </c:pt>
                <c:pt idx="299">
                  <c:v>100.57401750405359</c:v>
                </c:pt>
                <c:pt idx="300">
                  <c:v>100.3179750079214</c:v>
                </c:pt>
                <c:pt idx="301">
                  <c:v>99.963438382264783</c:v>
                </c:pt>
                <c:pt idx="302">
                  <c:v>100.26918734931292</c:v>
                </c:pt>
                <c:pt idx="303">
                  <c:v>99.946610826198977</c:v>
                </c:pt>
                <c:pt idx="304">
                  <c:v>101.02489342045902</c:v>
                </c:pt>
                <c:pt idx="305">
                  <c:v>100.4127728616493</c:v>
                </c:pt>
                <c:pt idx="306">
                  <c:v>100.16314591412527</c:v>
                </c:pt>
                <c:pt idx="307">
                  <c:v>99.391067322406215</c:v>
                </c:pt>
                <c:pt idx="308">
                  <c:v>99.232253290767886</c:v>
                </c:pt>
                <c:pt idx="309">
                  <c:v>99.832534065486016</c:v>
                </c:pt>
                <c:pt idx="310">
                  <c:v>100.47964538433862</c:v>
                </c:pt>
                <c:pt idx="311">
                  <c:v>100.69098372262509</c:v>
                </c:pt>
                <c:pt idx="312">
                  <c:v>100.88898609105246</c:v>
                </c:pt>
                <c:pt idx="313">
                  <c:v>99.996069524628837</c:v>
                </c:pt>
                <c:pt idx="314">
                  <c:v>99.127555180361313</c:v>
                </c:pt>
                <c:pt idx="315">
                  <c:v>99.052848928172025</c:v>
                </c:pt>
                <c:pt idx="316">
                  <c:v>98.308035093210947</c:v>
                </c:pt>
                <c:pt idx="317">
                  <c:v>98.806507154351422</c:v>
                </c:pt>
                <c:pt idx="318">
                  <c:v>99.952645541515494</c:v>
                </c:pt>
                <c:pt idx="319">
                  <c:v>99.279902555017529</c:v>
                </c:pt>
                <c:pt idx="320">
                  <c:v>99.736079367474119</c:v>
                </c:pt>
                <c:pt idx="321">
                  <c:v>99.800525054157418</c:v>
                </c:pt>
                <c:pt idx="322">
                  <c:v>99.415944330069763</c:v>
                </c:pt>
                <c:pt idx="323">
                  <c:v>99.922048638681545</c:v>
                </c:pt>
                <c:pt idx="324">
                  <c:v>100.07917060310183</c:v>
                </c:pt>
                <c:pt idx="325">
                  <c:v>100.16675177424884</c:v>
                </c:pt>
                <c:pt idx="326">
                  <c:v>99.802296606675327</c:v>
                </c:pt>
                <c:pt idx="327">
                  <c:v>98.93162801141176</c:v>
                </c:pt>
                <c:pt idx="328">
                  <c:v>99.436905454517401</c:v>
                </c:pt>
                <c:pt idx="329">
                  <c:v>99.774150335251662</c:v>
                </c:pt>
                <c:pt idx="330">
                  <c:v>99.889814505503765</c:v>
                </c:pt>
                <c:pt idx="331">
                  <c:v>99.966365298146329</c:v>
                </c:pt>
                <c:pt idx="332">
                  <c:v>100.03553792874261</c:v>
                </c:pt>
                <c:pt idx="333">
                  <c:v>100.02346397141139</c:v>
                </c:pt>
                <c:pt idx="334">
                  <c:v>100.36143986793623</c:v>
                </c:pt>
                <c:pt idx="335">
                  <c:v>100.06661321201761</c:v>
                </c:pt>
                <c:pt idx="336">
                  <c:v>99.752875023909027</c:v>
                </c:pt>
                <c:pt idx="337">
                  <c:v>99.207240987635032</c:v>
                </c:pt>
                <c:pt idx="338">
                  <c:v>99.415312505130672</c:v>
                </c:pt>
                <c:pt idx="339">
                  <c:v>99.443491653386729</c:v>
                </c:pt>
                <c:pt idx="340">
                  <c:v>99.56505236364346</c:v>
                </c:pt>
                <c:pt idx="341">
                  <c:v>100.01695861008099</c:v>
                </c:pt>
                <c:pt idx="342">
                  <c:v>100.08527917721531</c:v>
                </c:pt>
                <c:pt idx="343">
                  <c:v>100.10019619444967</c:v>
                </c:pt>
                <c:pt idx="344">
                  <c:v>100.40496686800901</c:v>
                </c:pt>
                <c:pt idx="345">
                  <c:v>100.38146980705044</c:v>
                </c:pt>
                <c:pt idx="346">
                  <c:v>100.40851645928431</c:v>
                </c:pt>
                <c:pt idx="347">
                  <c:v>99.63263596075565</c:v>
                </c:pt>
                <c:pt idx="348">
                  <c:v>99.964617679628532</c:v>
                </c:pt>
                <c:pt idx="349">
                  <c:v>100.59530934480344</c:v>
                </c:pt>
                <c:pt idx="350">
                  <c:v>100.84734299092371</c:v>
                </c:pt>
                <c:pt idx="351">
                  <c:v>100.64748687132952</c:v>
                </c:pt>
                <c:pt idx="352">
                  <c:v>100.19774018996551</c:v>
                </c:pt>
                <c:pt idx="353">
                  <c:v>101.48856301329161</c:v>
                </c:pt>
                <c:pt idx="354">
                  <c:v>101.48202729162752</c:v>
                </c:pt>
                <c:pt idx="355">
                  <c:v>100.20124113377341</c:v>
                </c:pt>
                <c:pt idx="356">
                  <c:v>100.15107842651798</c:v>
                </c:pt>
                <c:pt idx="357">
                  <c:v>100.15640186071583</c:v>
                </c:pt>
                <c:pt idx="358">
                  <c:v>99.818809150157406</c:v>
                </c:pt>
                <c:pt idx="359">
                  <c:v>99.612067591579546</c:v>
                </c:pt>
                <c:pt idx="360">
                  <c:v>99.984950489554819</c:v>
                </c:pt>
                <c:pt idx="361">
                  <c:v>100.29078461949486</c:v>
                </c:pt>
                <c:pt idx="362">
                  <c:v>100.1722548640526</c:v>
                </c:pt>
                <c:pt idx="363">
                  <c:v>100.18659594790523</c:v>
                </c:pt>
                <c:pt idx="364">
                  <c:v>99.840693885772538</c:v>
                </c:pt>
                <c:pt idx="365">
                  <c:v>99.488102674200491</c:v>
                </c:pt>
                <c:pt idx="366">
                  <c:v>98.878753051241176</c:v>
                </c:pt>
                <c:pt idx="367">
                  <c:v>99.987736484678194</c:v>
                </c:pt>
                <c:pt idx="368">
                  <c:v>99.800108366495692</c:v>
                </c:pt>
                <c:pt idx="369">
                  <c:v>99.309145501713118</c:v>
                </c:pt>
                <c:pt idx="370">
                  <c:v>98.409502071555522</c:v>
                </c:pt>
                <c:pt idx="371">
                  <c:v>100.05709148687524</c:v>
                </c:pt>
                <c:pt idx="372">
                  <c:v>100.55379212815652</c:v>
                </c:pt>
                <c:pt idx="373">
                  <c:v>101.12942419234018</c:v>
                </c:pt>
                <c:pt idx="374">
                  <c:v>101.15456808346319</c:v>
                </c:pt>
                <c:pt idx="375">
                  <c:v>101.40657409237477</c:v>
                </c:pt>
                <c:pt idx="376">
                  <c:v>100.56653696777008</c:v>
                </c:pt>
                <c:pt idx="377">
                  <c:v>100.78689215674306</c:v>
                </c:pt>
                <c:pt idx="378">
                  <c:v>101.06307987895899</c:v>
                </c:pt>
                <c:pt idx="379">
                  <c:v>101.50486984729594</c:v>
                </c:pt>
                <c:pt idx="380">
                  <c:v>101.55109559244571</c:v>
                </c:pt>
                <c:pt idx="381">
                  <c:v>100.84897116421918</c:v>
                </c:pt>
                <c:pt idx="382">
                  <c:v>101.20944387885309</c:v>
                </c:pt>
                <c:pt idx="383">
                  <c:v>101.58300078850567</c:v>
                </c:pt>
                <c:pt idx="384">
                  <c:v>101.71316435857888</c:v>
                </c:pt>
                <c:pt idx="385">
                  <c:v>101.66178185495241</c:v>
                </c:pt>
                <c:pt idx="386">
                  <c:v>100.81061086579828</c:v>
                </c:pt>
                <c:pt idx="387">
                  <c:v>101.06904957231228</c:v>
                </c:pt>
                <c:pt idx="388">
                  <c:v>101.45146004512304</c:v>
                </c:pt>
                <c:pt idx="389">
                  <c:v>101.29245706546142</c:v>
                </c:pt>
                <c:pt idx="390">
                  <c:v>101.55420318790985</c:v>
                </c:pt>
                <c:pt idx="391">
                  <c:v>101.38693319068253</c:v>
                </c:pt>
                <c:pt idx="392">
                  <c:v>101.34916173510686</c:v>
                </c:pt>
                <c:pt idx="393">
                  <c:v>101.26061139125322</c:v>
                </c:pt>
                <c:pt idx="394">
                  <c:v>101.89599594764636</c:v>
                </c:pt>
                <c:pt idx="395">
                  <c:v>101.43528131590168</c:v>
                </c:pt>
                <c:pt idx="396">
                  <c:v>102.03643996548195</c:v>
                </c:pt>
                <c:pt idx="397">
                  <c:v>102.44460067633648</c:v>
                </c:pt>
                <c:pt idx="398">
                  <c:v>102.82152881252131</c:v>
                </c:pt>
                <c:pt idx="399">
                  <c:v>103.25967586004909</c:v>
                </c:pt>
                <c:pt idx="400">
                  <c:v>102.9431542133437</c:v>
                </c:pt>
                <c:pt idx="401">
                  <c:v>102.25995164162316</c:v>
                </c:pt>
                <c:pt idx="402">
                  <c:v>102.04135092713808</c:v>
                </c:pt>
                <c:pt idx="403">
                  <c:v>102.50642646375228</c:v>
                </c:pt>
                <c:pt idx="404">
                  <c:v>101.78951474077955</c:v>
                </c:pt>
                <c:pt idx="405">
                  <c:v>101.95432496119675</c:v>
                </c:pt>
                <c:pt idx="406">
                  <c:v>101.78828447383711</c:v>
                </c:pt>
                <c:pt idx="407">
                  <c:v>102.28722302849155</c:v>
                </c:pt>
                <c:pt idx="408">
                  <c:v>102.43040160587536</c:v>
                </c:pt>
                <c:pt idx="409">
                  <c:v>102.79674717848864</c:v>
                </c:pt>
                <c:pt idx="410">
                  <c:v>102.27046830896171</c:v>
                </c:pt>
                <c:pt idx="411">
                  <c:v>103.44232502161354</c:v>
                </c:pt>
                <c:pt idx="412">
                  <c:v>102.11445059447134</c:v>
                </c:pt>
                <c:pt idx="413">
                  <c:v>100.77181535955717</c:v>
                </c:pt>
                <c:pt idx="414">
                  <c:v>102.34712725143885</c:v>
                </c:pt>
                <c:pt idx="415">
                  <c:v>101.32892851395911</c:v>
                </c:pt>
                <c:pt idx="416">
                  <c:v>103.1464420659875</c:v>
                </c:pt>
                <c:pt idx="417">
                  <c:v>102.94366682375426</c:v>
                </c:pt>
                <c:pt idx="418">
                  <c:v>103.05036327914351</c:v>
                </c:pt>
                <c:pt idx="419">
                  <c:v>103.09656843675967</c:v>
                </c:pt>
                <c:pt idx="420">
                  <c:v>102.20679939855104</c:v>
                </c:pt>
                <c:pt idx="421">
                  <c:v>103.09270478256782</c:v>
                </c:pt>
                <c:pt idx="422">
                  <c:v>101.86813050635405</c:v>
                </c:pt>
                <c:pt idx="423">
                  <c:v>102.5854412310444</c:v>
                </c:pt>
                <c:pt idx="424">
                  <c:v>102.85369897146849</c:v>
                </c:pt>
                <c:pt idx="425">
                  <c:v>102.82089177733013</c:v>
                </c:pt>
                <c:pt idx="426">
                  <c:v>102.77217513963922</c:v>
                </c:pt>
                <c:pt idx="427">
                  <c:v>102.30869785211952</c:v>
                </c:pt>
                <c:pt idx="428">
                  <c:v>102.75470381277439</c:v>
                </c:pt>
                <c:pt idx="429">
                  <c:v>100.8272324911926</c:v>
                </c:pt>
                <c:pt idx="430">
                  <c:v>101.94493784481143</c:v>
                </c:pt>
                <c:pt idx="431">
                  <c:v>101.01744641592057</c:v>
                </c:pt>
                <c:pt idx="432">
                  <c:v>102.0605587931355</c:v>
                </c:pt>
                <c:pt idx="433">
                  <c:v>102.3791448913298</c:v>
                </c:pt>
                <c:pt idx="434">
                  <c:v>101.86574942804386</c:v>
                </c:pt>
                <c:pt idx="435">
                  <c:v>101.59190861171236</c:v>
                </c:pt>
                <c:pt idx="436">
                  <c:v>101.10532680595622</c:v>
                </c:pt>
                <c:pt idx="437">
                  <c:v>101.288765908466</c:v>
                </c:pt>
                <c:pt idx="438">
                  <c:v>101.7823900902669</c:v>
                </c:pt>
                <c:pt idx="439">
                  <c:v>101.61796620427921</c:v>
                </c:pt>
                <c:pt idx="440">
                  <c:v>101.84730915506597</c:v>
                </c:pt>
                <c:pt idx="441">
                  <c:v>101.67735675816236</c:v>
                </c:pt>
                <c:pt idx="442">
                  <c:v>101.76428242492166</c:v>
                </c:pt>
                <c:pt idx="443">
                  <c:v>101.82009960907232</c:v>
                </c:pt>
                <c:pt idx="444">
                  <c:v>101.49296203761016</c:v>
                </c:pt>
                <c:pt idx="445">
                  <c:v>101.89344486844305</c:v>
                </c:pt>
                <c:pt idx="446">
                  <c:v>102.00651285184021</c:v>
                </c:pt>
                <c:pt idx="447">
                  <c:v>101.82245329373396</c:v>
                </c:pt>
                <c:pt idx="448">
                  <c:v>101.28793452072314</c:v>
                </c:pt>
                <c:pt idx="449">
                  <c:v>100.52569367117327</c:v>
                </c:pt>
                <c:pt idx="450">
                  <c:v>101.38425097499962</c:v>
                </c:pt>
                <c:pt idx="451">
                  <c:v>100.44123849440892</c:v>
                </c:pt>
                <c:pt idx="452">
                  <c:v>101.77177218319092</c:v>
                </c:pt>
                <c:pt idx="453">
                  <c:v>100.97402945236996</c:v>
                </c:pt>
                <c:pt idx="454">
                  <c:v>99.792219889375545</c:v>
                </c:pt>
                <c:pt idx="455">
                  <c:v>99.879634426601783</c:v>
                </c:pt>
                <c:pt idx="456">
                  <c:v>100.03902824263261</c:v>
                </c:pt>
                <c:pt idx="457">
                  <c:v>100.61319043271642</c:v>
                </c:pt>
                <c:pt idx="458">
                  <c:v>101.54908709252521</c:v>
                </c:pt>
                <c:pt idx="459">
                  <c:v>102.32234196967816</c:v>
                </c:pt>
                <c:pt idx="460">
                  <c:v>100.99198178160292</c:v>
                </c:pt>
                <c:pt idx="461">
                  <c:v>100.57054377214445</c:v>
                </c:pt>
                <c:pt idx="462">
                  <c:v>101.05413973389967</c:v>
                </c:pt>
                <c:pt idx="463">
                  <c:v>101.0339665196019</c:v>
                </c:pt>
                <c:pt idx="464">
                  <c:v>99.765111726336684</c:v>
                </c:pt>
                <c:pt idx="465">
                  <c:v>100.35734640157095</c:v>
                </c:pt>
                <c:pt idx="466">
                  <c:v>100.41758060534306</c:v>
                </c:pt>
                <c:pt idx="467">
                  <c:v>100.36883688840416</c:v>
                </c:pt>
                <c:pt idx="468">
                  <c:v>100.71455396398427</c:v>
                </c:pt>
                <c:pt idx="469">
                  <c:v>100.59385347927065</c:v>
                </c:pt>
                <c:pt idx="470">
                  <c:v>100.56554764934397</c:v>
                </c:pt>
                <c:pt idx="471">
                  <c:v>100.35597724924236</c:v>
                </c:pt>
                <c:pt idx="472">
                  <c:v>100.46919940461096</c:v>
                </c:pt>
                <c:pt idx="473">
                  <c:v>100.20692815856462</c:v>
                </c:pt>
                <c:pt idx="474">
                  <c:v>100.26953627317721</c:v>
                </c:pt>
                <c:pt idx="475">
                  <c:v>100.5771677892284</c:v>
                </c:pt>
                <c:pt idx="476">
                  <c:v>100.50098204079184</c:v>
                </c:pt>
                <c:pt idx="477">
                  <c:v>100.66923840290215</c:v>
                </c:pt>
                <c:pt idx="478">
                  <c:v>100.70357899131378</c:v>
                </c:pt>
                <c:pt idx="479">
                  <c:v>100.76282424538094</c:v>
                </c:pt>
                <c:pt idx="480">
                  <c:v>99.946618937441499</c:v>
                </c:pt>
                <c:pt idx="481">
                  <c:v>99.738135633529225</c:v>
                </c:pt>
                <c:pt idx="482">
                  <c:v>99.717123954738682</c:v>
                </c:pt>
                <c:pt idx="483">
                  <c:v>99.642165018525844</c:v>
                </c:pt>
                <c:pt idx="484">
                  <c:v>100.29721614486196</c:v>
                </c:pt>
                <c:pt idx="485">
                  <c:v>100.24168174742783</c:v>
                </c:pt>
                <c:pt idx="486">
                  <c:v>100.07890711141664</c:v>
                </c:pt>
                <c:pt idx="487">
                  <c:v>100.41202034151678</c:v>
                </c:pt>
                <c:pt idx="488">
                  <c:v>100.83534056472301</c:v>
                </c:pt>
                <c:pt idx="489">
                  <c:v>101.15898552261439</c:v>
                </c:pt>
                <c:pt idx="490">
                  <c:v>101.21326853718308</c:v>
                </c:pt>
                <c:pt idx="491">
                  <c:v>101.27670249987341</c:v>
                </c:pt>
                <c:pt idx="492">
                  <c:v>101.35931324867815</c:v>
                </c:pt>
                <c:pt idx="493">
                  <c:v>101.63958403369791</c:v>
                </c:pt>
                <c:pt idx="494">
                  <c:v>101.53070071118132</c:v>
                </c:pt>
                <c:pt idx="495">
                  <c:v>101.37642368849522</c:v>
                </c:pt>
                <c:pt idx="496">
                  <c:v>101.66385238076046</c:v>
                </c:pt>
                <c:pt idx="497">
                  <c:v>102.17012604373976</c:v>
                </c:pt>
                <c:pt idx="498">
                  <c:v>102.34814378419649</c:v>
                </c:pt>
                <c:pt idx="499">
                  <c:v>102.35108506679184</c:v>
                </c:pt>
                <c:pt idx="500">
                  <c:v>102.86991485411177</c:v>
                </c:pt>
                <c:pt idx="501">
                  <c:v>102.87444346350422</c:v>
                </c:pt>
                <c:pt idx="502">
                  <c:v>102.38283099922853</c:v>
                </c:pt>
                <c:pt idx="503">
                  <c:v>102.80612351673413</c:v>
                </c:pt>
                <c:pt idx="504">
                  <c:v>102.42745904230124</c:v>
                </c:pt>
                <c:pt idx="505">
                  <c:v>102.27331592209811</c:v>
                </c:pt>
                <c:pt idx="506">
                  <c:v>102.31548442997092</c:v>
                </c:pt>
                <c:pt idx="507">
                  <c:v>102.28773804484159</c:v>
                </c:pt>
                <c:pt idx="508">
                  <c:v>102.82013685115416</c:v>
                </c:pt>
                <c:pt idx="509">
                  <c:v>101.77394293462082</c:v>
                </c:pt>
                <c:pt idx="510">
                  <c:v>101.11395003822307</c:v>
                </c:pt>
                <c:pt idx="511">
                  <c:v>101.65185844557861</c:v>
                </c:pt>
                <c:pt idx="512">
                  <c:v>101.67191661779292</c:v>
                </c:pt>
                <c:pt idx="513">
                  <c:v>101.84300396294125</c:v>
                </c:pt>
                <c:pt idx="514">
                  <c:v>101.71851285608604</c:v>
                </c:pt>
                <c:pt idx="515">
                  <c:v>101.82339725568063</c:v>
                </c:pt>
                <c:pt idx="516">
                  <c:v>101.61629290295525</c:v>
                </c:pt>
                <c:pt idx="517">
                  <c:v>101.63146352777366</c:v>
                </c:pt>
                <c:pt idx="518">
                  <c:v>102.14233235165979</c:v>
                </c:pt>
                <c:pt idx="519">
                  <c:v>101.83681769200599</c:v>
                </c:pt>
                <c:pt idx="520">
                  <c:v>102.01446509437196</c:v>
                </c:pt>
                <c:pt idx="521">
                  <c:v>101.99773693689127</c:v>
                </c:pt>
                <c:pt idx="522">
                  <c:v>101.99426599689438</c:v>
                </c:pt>
                <c:pt idx="523">
                  <c:v>101.76687919956363</c:v>
                </c:pt>
                <c:pt idx="524">
                  <c:v>101.62886107470231</c:v>
                </c:pt>
                <c:pt idx="525">
                  <c:v>102.21573702710891</c:v>
                </c:pt>
                <c:pt idx="526">
                  <c:v>101.83238582343097</c:v>
                </c:pt>
                <c:pt idx="527">
                  <c:v>102.21226791346909</c:v>
                </c:pt>
                <c:pt idx="528">
                  <c:v>102.58974715965468</c:v>
                </c:pt>
                <c:pt idx="529">
                  <c:v>102.30981599706675</c:v>
                </c:pt>
                <c:pt idx="530">
                  <c:v>103.06207848731134</c:v>
                </c:pt>
                <c:pt idx="531">
                  <c:v>102.56508385510041</c:v>
                </c:pt>
                <c:pt idx="532">
                  <c:v>102.6928837866965</c:v>
                </c:pt>
                <c:pt idx="533">
                  <c:v>103.34017585243535</c:v>
                </c:pt>
                <c:pt idx="534">
                  <c:v>102.78506684608053</c:v>
                </c:pt>
                <c:pt idx="535">
                  <c:v>102.99918518992433</c:v>
                </c:pt>
                <c:pt idx="536">
                  <c:v>102.75242357906555</c:v>
                </c:pt>
                <c:pt idx="537">
                  <c:v>103.07316647757796</c:v>
                </c:pt>
                <c:pt idx="538">
                  <c:v>103.94990032306532</c:v>
                </c:pt>
                <c:pt idx="539">
                  <c:v>102.07162530345752</c:v>
                </c:pt>
                <c:pt idx="540">
                  <c:v>102.66654320438177</c:v>
                </c:pt>
                <c:pt idx="541">
                  <c:v>102.71180650342622</c:v>
                </c:pt>
                <c:pt idx="542">
                  <c:v>102.14692486001978</c:v>
                </c:pt>
                <c:pt idx="543">
                  <c:v>103.3625446918585</c:v>
                </c:pt>
                <c:pt idx="544">
                  <c:v>102.59158860984043</c:v>
                </c:pt>
                <c:pt idx="545">
                  <c:v>103.19767692880193</c:v>
                </c:pt>
                <c:pt idx="546">
                  <c:v>103.37745121337322</c:v>
                </c:pt>
                <c:pt idx="547">
                  <c:v>103.28104582294316</c:v>
                </c:pt>
                <c:pt idx="548">
                  <c:v>102.91730963863968</c:v>
                </c:pt>
                <c:pt idx="549">
                  <c:v>102.69721684288703</c:v>
                </c:pt>
                <c:pt idx="550">
                  <c:v>103.52273995072632</c:v>
                </c:pt>
                <c:pt idx="551">
                  <c:v>102.73834338152619</c:v>
                </c:pt>
                <c:pt idx="552">
                  <c:v>102.78394400839055</c:v>
                </c:pt>
                <c:pt idx="553">
                  <c:v>102.86103391441986</c:v>
                </c:pt>
                <c:pt idx="554">
                  <c:v>103.21880852123269</c:v>
                </c:pt>
                <c:pt idx="555">
                  <c:v>102.87670522730306</c:v>
                </c:pt>
                <c:pt idx="556">
                  <c:v>103.05967957278386</c:v>
                </c:pt>
                <c:pt idx="557">
                  <c:v>102.62396959513153</c:v>
                </c:pt>
                <c:pt idx="558">
                  <c:v>103.21268825533744</c:v>
                </c:pt>
                <c:pt idx="559">
                  <c:v>102.37309563096152</c:v>
                </c:pt>
                <c:pt idx="560">
                  <c:v>102.64232466365704</c:v>
                </c:pt>
                <c:pt idx="561">
                  <c:v>101.25843681174979</c:v>
                </c:pt>
                <c:pt idx="562">
                  <c:v>100.84923014337741</c:v>
                </c:pt>
                <c:pt idx="563">
                  <c:v>99.768142502264581</c:v>
                </c:pt>
                <c:pt idx="564">
                  <c:v>102.09572092616054</c:v>
                </c:pt>
                <c:pt idx="565">
                  <c:v>106.35771806654314</c:v>
                </c:pt>
                <c:pt idx="566">
                  <c:v>101.97838339573157</c:v>
                </c:pt>
                <c:pt idx="567">
                  <c:v>104.78117752173665</c:v>
                </c:pt>
                <c:pt idx="568">
                  <c:v>102.53156280653639</c:v>
                </c:pt>
                <c:pt idx="569">
                  <c:v>104.42802906563188</c:v>
                </c:pt>
                <c:pt idx="570">
                  <c:v>103.83513496006135</c:v>
                </c:pt>
                <c:pt idx="571">
                  <c:v>109.81657719491977</c:v>
                </c:pt>
                <c:pt idx="572">
                  <c:v>105.02326574346141</c:v>
                </c:pt>
                <c:pt idx="573">
                  <c:v>107.40083741514553</c:v>
                </c:pt>
                <c:pt idx="574">
                  <c:v>115.41318068947741</c:v>
                </c:pt>
                <c:pt idx="575">
                  <c:v>105.74362565348193</c:v>
                </c:pt>
                <c:pt idx="576">
                  <c:v>109.25694149350082</c:v>
                </c:pt>
                <c:pt idx="577">
                  <c:v>106.87845963904026</c:v>
                </c:pt>
                <c:pt idx="578">
                  <c:v>104.77899594787488</c:v>
                </c:pt>
                <c:pt idx="579">
                  <c:v>98.403121054416573</c:v>
                </c:pt>
                <c:pt idx="580">
                  <c:v>99.590383269504315</c:v>
                </c:pt>
                <c:pt idx="581">
                  <c:v>99.975227475161631</c:v>
                </c:pt>
                <c:pt idx="582">
                  <c:v>98.029231327979815</c:v>
                </c:pt>
                <c:pt idx="583">
                  <c:v>101.38001724007944</c:v>
                </c:pt>
                <c:pt idx="584">
                  <c:v>101.00006654175479</c:v>
                </c:pt>
                <c:pt idx="585">
                  <c:v>102.36514165831971</c:v>
                </c:pt>
                <c:pt idx="586">
                  <c:v>99.048381918574037</c:v>
                </c:pt>
                <c:pt idx="587">
                  <c:v>95.48271183443785</c:v>
                </c:pt>
                <c:pt idx="588">
                  <c:v>97.436296372757866</c:v>
                </c:pt>
                <c:pt idx="589">
                  <c:v>96.686220691768114</c:v>
                </c:pt>
                <c:pt idx="590">
                  <c:v>99.123248377271054</c:v>
                </c:pt>
                <c:pt idx="591">
                  <c:v>97.483674963864431</c:v>
                </c:pt>
                <c:pt idx="592">
                  <c:v>101.15287333491506</c:v>
                </c:pt>
                <c:pt idx="593">
                  <c:v>100.96317982063839</c:v>
                </c:pt>
                <c:pt idx="594">
                  <c:v>100.78002847883828</c:v>
                </c:pt>
                <c:pt idx="595">
                  <c:v>99.899057788355563</c:v>
                </c:pt>
                <c:pt idx="596">
                  <c:v>102.67431506109136</c:v>
                </c:pt>
                <c:pt idx="597">
                  <c:v>104.77606517628068</c:v>
                </c:pt>
                <c:pt idx="598">
                  <c:v>105.17903918933558</c:v>
                </c:pt>
                <c:pt idx="599">
                  <c:v>105.03159526841257</c:v>
                </c:pt>
                <c:pt idx="600">
                  <c:v>102.35493842811491</c:v>
                </c:pt>
                <c:pt idx="601">
                  <c:v>102.70428138247887</c:v>
                </c:pt>
                <c:pt idx="602">
                  <c:v>102.78988082334645</c:v>
                </c:pt>
                <c:pt idx="603">
                  <c:v>101.92101269637648</c:v>
                </c:pt>
                <c:pt idx="604">
                  <c:v>104.49558927806982</c:v>
                </c:pt>
                <c:pt idx="605">
                  <c:v>104.24772595841988</c:v>
                </c:pt>
                <c:pt idx="606">
                  <c:v>101.74225757200448</c:v>
                </c:pt>
                <c:pt idx="607">
                  <c:v>102.88684492258734</c:v>
                </c:pt>
                <c:pt idx="608">
                  <c:v>103.71986794412733</c:v>
                </c:pt>
                <c:pt idx="609">
                  <c:v>101.62736327832707</c:v>
                </c:pt>
                <c:pt idx="610">
                  <c:v>104.43451269164837</c:v>
                </c:pt>
                <c:pt idx="611">
                  <c:v>103.68857853080046</c:v>
                </c:pt>
                <c:pt idx="612">
                  <c:v>103.17779517646444</c:v>
                </c:pt>
                <c:pt idx="613">
                  <c:v>103.31415696382908</c:v>
                </c:pt>
                <c:pt idx="614">
                  <c:v>104.17797257378524</c:v>
                </c:pt>
                <c:pt idx="615">
                  <c:v>104.51217878911685</c:v>
                </c:pt>
                <c:pt idx="616">
                  <c:v>101.79704693938666</c:v>
                </c:pt>
                <c:pt idx="617">
                  <c:v>101.58518360430503</c:v>
                </c:pt>
                <c:pt idx="618">
                  <c:v>105.10488811263569</c:v>
                </c:pt>
                <c:pt idx="619">
                  <c:v>104.980276957367</c:v>
                </c:pt>
                <c:pt idx="620">
                  <c:v>103.95599873962855</c:v>
                </c:pt>
                <c:pt idx="621">
                  <c:v>103.66889815667727</c:v>
                </c:pt>
                <c:pt idx="622">
                  <c:v>103.8825106626673</c:v>
                </c:pt>
                <c:pt idx="623">
                  <c:v>103.92683804907989</c:v>
                </c:pt>
                <c:pt idx="624">
                  <c:v>104.23939375798798</c:v>
                </c:pt>
                <c:pt idx="625">
                  <c:v>102.84632871595407</c:v>
                </c:pt>
                <c:pt idx="626">
                  <c:v>102.6100977621968</c:v>
                </c:pt>
                <c:pt idx="627">
                  <c:v>103.47124651579958</c:v>
                </c:pt>
                <c:pt idx="628">
                  <c:v>101.04354437688065</c:v>
                </c:pt>
                <c:pt idx="629">
                  <c:v>103.14845251452797</c:v>
                </c:pt>
                <c:pt idx="630">
                  <c:v>101.98900746007077</c:v>
                </c:pt>
                <c:pt idx="631">
                  <c:v>100.94043624706885</c:v>
                </c:pt>
                <c:pt idx="632">
                  <c:v>99.658747034668679</c:v>
                </c:pt>
                <c:pt idx="633">
                  <c:v>99.629294276689478</c:v>
                </c:pt>
                <c:pt idx="634">
                  <c:v>99.685870448921193</c:v>
                </c:pt>
                <c:pt idx="635">
                  <c:v>101.27076667930497</c:v>
                </c:pt>
                <c:pt idx="636">
                  <c:v>101.58042802836118</c:v>
                </c:pt>
                <c:pt idx="637">
                  <c:v>101.40838445975372</c:v>
                </c:pt>
                <c:pt idx="638">
                  <c:v>99.490467532752817</c:v>
                </c:pt>
                <c:pt idx="639">
                  <c:v>100.44925707760007</c:v>
                </c:pt>
                <c:pt idx="640">
                  <c:v>101.83662901720527</c:v>
                </c:pt>
                <c:pt idx="641">
                  <c:v>100.70941563326704</c:v>
                </c:pt>
                <c:pt idx="642">
                  <c:v>99.681615853968083</c:v>
                </c:pt>
                <c:pt idx="643">
                  <c:v>100.52084803251134</c:v>
                </c:pt>
                <c:pt idx="644">
                  <c:v>99.258650339643708</c:v>
                </c:pt>
                <c:pt idx="645">
                  <c:v>100.70611798822836</c:v>
                </c:pt>
                <c:pt idx="646">
                  <c:v>99.596886546522271</c:v>
                </c:pt>
                <c:pt idx="647">
                  <c:v>99.741863870196596</c:v>
                </c:pt>
                <c:pt idx="648">
                  <c:v>100.18093132498333</c:v>
                </c:pt>
                <c:pt idx="649">
                  <c:v>98.34133104714283</c:v>
                </c:pt>
                <c:pt idx="650">
                  <c:v>99.055245429696086</c:v>
                </c:pt>
                <c:pt idx="651">
                  <c:v>100.28980055069314</c:v>
                </c:pt>
                <c:pt idx="652">
                  <c:v>100.62079389465022</c:v>
                </c:pt>
                <c:pt idx="653">
                  <c:v>99.354351433462938</c:v>
                </c:pt>
                <c:pt idx="654">
                  <c:v>100.30473761066514</c:v>
                </c:pt>
                <c:pt idx="655">
                  <c:v>99.856224983097945</c:v>
                </c:pt>
                <c:pt idx="656">
                  <c:v>99.554670815472008</c:v>
                </c:pt>
                <c:pt idx="657">
                  <c:v>101.151036640076</c:v>
                </c:pt>
                <c:pt idx="658">
                  <c:v>101.63817193890925</c:v>
                </c:pt>
                <c:pt idx="659">
                  <c:v>101.78531820742796</c:v>
                </c:pt>
                <c:pt idx="660">
                  <c:v>99.32084267826805</c:v>
                </c:pt>
                <c:pt idx="661">
                  <c:v>101.26598553392816</c:v>
                </c:pt>
                <c:pt idx="662">
                  <c:v>100.35898394843416</c:v>
                </c:pt>
                <c:pt idx="663">
                  <c:v>100.30749675856021</c:v>
                </c:pt>
                <c:pt idx="664">
                  <c:v>100.16359378822834</c:v>
                </c:pt>
                <c:pt idx="665">
                  <c:v>100.25792975880664</c:v>
                </c:pt>
                <c:pt idx="666">
                  <c:v>99.859499799517025</c:v>
                </c:pt>
                <c:pt idx="667">
                  <c:v>101.04818382514836</c:v>
                </c:pt>
                <c:pt idx="668">
                  <c:v>99.17859762409239</c:v>
                </c:pt>
                <c:pt idx="669">
                  <c:v>100.34533384255683</c:v>
                </c:pt>
                <c:pt idx="670">
                  <c:v>101.14615947630898</c:v>
                </c:pt>
                <c:pt idx="671">
                  <c:v>99.840380170054502</c:v>
                </c:pt>
                <c:pt idx="672">
                  <c:v>101.10734512262826</c:v>
                </c:pt>
                <c:pt idx="673">
                  <c:v>102.62203932651541</c:v>
                </c:pt>
                <c:pt idx="674">
                  <c:v>103.63803898571624</c:v>
                </c:pt>
                <c:pt idx="675">
                  <c:v>102.16834697033376</c:v>
                </c:pt>
                <c:pt idx="676">
                  <c:v>102.41746514875628</c:v>
                </c:pt>
                <c:pt idx="677">
                  <c:v>102.79882583067472</c:v>
                </c:pt>
                <c:pt idx="678">
                  <c:v>103.92891841241331</c:v>
                </c:pt>
                <c:pt idx="679">
                  <c:v>104.01873937670021</c:v>
                </c:pt>
                <c:pt idx="680">
                  <c:v>103.56793028923282</c:v>
                </c:pt>
                <c:pt idx="681">
                  <c:v>100.97146623282592</c:v>
                </c:pt>
                <c:pt idx="682">
                  <c:v>101.28808415101447</c:v>
                </c:pt>
                <c:pt idx="683">
                  <c:v>101.83545360782512</c:v>
                </c:pt>
                <c:pt idx="684">
                  <c:v>103.29691858059323</c:v>
                </c:pt>
                <c:pt idx="685">
                  <c:v>103.68586364286503</c:v>
                </c:pt>
                <c:pt idx="686">
                  <c:v>104.37556707055165</c:v>
                </c:pt>
                <c:pt idx="687">
                  <c:v>103.06695228310582</c:v>
                </c:pt>
                <c:pt idx="688">
                  <c:v>104.64160088904146</c:v>
                </c:pt>
                <c:pt idx="689">
                  <c:v>104.97500145578779</c:v>
                </c:pt>
                <c:pt idx="690">
                  <c:v>104.21030697146942</c:v>
                </c:pt>
                <c:pt idx="691">
                  <c:v>105.0130973986234</c:v>
                </c:pt>
                <c:pt idx="692">
                  <c:v>105.23340212308678</c:v>
                </c:pt>
                <c:pt idx="693">
                  <c:v>106.31303969250945</c:v>
                </c:pt>
                <c:pt idx="694">
                  <c:v>107.55591739859184</c:v>
                </c:pt>
                <c:pt idx="695">
                  <c:v>108.02861018319363</c:v>
                </c:pt>
                <c:pt idx="696">
                  <c:v>109.37415698568918</c:v>
                </c:pt>
                <c:pt idx="697">
                  <c:v>109.14157402425762</c:v>
                </c:pt>
                <c:pt idx="698">
                  <c:v>106.74545106269943</c:v>
                </c:pt>
                <c:pt idx="699">
                  <c:v>106.83475198953815</c:v>
                </c:pt>
                <c:pt idx="700">
                  <c:v>105.3980411243365</c:v>
                </c:pt>
                <c:pt idx="701">
                  <c:v>103.22778563727243</c:v>
                </c:pt>
                <c:pt idx="702">
                  <c:v>103.66426633505414</c:v>
                </c:pt>
                <c:pt idx="703">
                  <c:v>102.36118016879637</c:v>
                </c:pt>
                <c:pt idx="704">
                  <c:v>102.06086248073623</c:v>
                </c:pt>
                <c:pt idx="705">
                  <c:v>103.5256015856958</c:v>
                </c:pt>
                <c:pt idx="706">
                  <c:v>103.48420130339611</c:v>
                </c:pt>
                <c:pt idx="707">
                  <c:v>102.30576488367738</c:v>
                </c:pt>
                <c:pt idx="708">
                  <c:v>101.96375173701321</c:v>
                </c:pt>
                <c:pt idx="709">
                  <c:v>101.54858012099224</c:v>
                </c:pt>
                <c:pt idx="710">
                  <c:v>104.04042727541876</c:v>
                </c:pt>
                <c:pt idx="711">
                  <c:v>104.8685949054839</c:v>
                </c:pt>
                <c:pt idx="712">
                  <c:v>101.8400114501422</c:v>
                </c:pt>
                <c:pt idx="713">
                  <c:v>103.05300716459516</c:v>
                </c:pt>
                <c:pt idx="714">
                  <c:v>104.88051530346442</c:v>
                </c:pt>
                <c:pt idx="715">
                  <c:v>104.52615419670691</c:v>
                </c:pt>
                <c:pt idx="716">
                  <c:v>104.42990330914402</c:v>
                </c:pt>
                <c:pt idx="717">
                  <c:v>105.59410148079216</c:v>
                </c:pt>
                <c:pt idx="718">
                  <c:v>106.00235566547777</c:v>
                </c:pt>
                <c:pt idx="719">
                  <c:v>104.78274064393402</c:v>
                </c:pt>
                <c:pt idx="720">
                  <c:v>105.8819256609288</c:v>
                </c:pt>
                <c:pt idx="721">
                  <c:v>104.34284906486477</c:v>
                </c:pt>
                <c:pt idx="722">
                  <c:v>106.23961268807204</c:v>
                </c:pt>
                <c:pt idx="723">
                  <c:v>106.31547068246486</c:v>
                </c:pt>
                <c:pt idx="724">
                  <c:v>106.64081322325244</c:v>
                </c:pt>
                <c:pt idx="725">
                  <c:v>107.6592978679622</c:v>
                </c:pt>
                <c:pt idx="726">
                  <c:v>107.91069481390475</c:v>
                </c:pt>
                <c:pt idx="727">
                  <c:v>107.38292948393629</c:v>
                </c:pt>
                <c:pt idx="728">
                  <c:v>109.55879997274336</c:v>
                </c:pt>
                <c:pt idx="729">
                  <c:v>108.00253569613635</c:v>
                </c:pt>
                <c:pt idx="730">
                  <c:v>106.64744497675828</c:v>
                </c:pt>
                <c:pt idx="731">
                  <c:v>107.16581796409992</c:v>
                </c:pt>
                <c:pt idx="732">
                  <c:v>108.17431471434838</c:v>
                </c:pt>
                <c:pt idx="733">
                  <c:v>108.69905035344277</c:v>
                </c:pt>
                <c:pt idx="734">
                  <c:v>108.40747282151017</c:v>
                </c:pt>
                <c:pt idx="735">
                  <c:v>108.37057364311939</c:v>
                </c:pt>
                <c:pt idx="736">
                  <c:v>109.1505034059129</c:v>
                </c:pt>
                <c:pt idx="737">
                  <c:v>108.39584628920244</c:v>
                </c:pt>
                <c:pt idx="738">
                  <c:v>110.03743891132181</c:v>
                </c:pt>
                <c:pt idx="739">
                  <c:v>108.20979761691393</c:v>
                </c:pt>
                <c:pt idx="740">
                  <c:v>107.74068386556472</c:v>
                </c:pt>
                <c:pt idx="741">
                  <c:v>107.20718319845484</c:v>
                </c:pt>
                <c:pt idx="742">
                  <c:v>107.58122298651836</c:v>
                </c:pt>
                <c:pt idx="743">
                  <c:v>108.45901197392882</c:v>
                </c:pt>
                <c:pt idx="744">
                  <c:v>108.42246615717802</c:v>
                </c:pt>
                <c:pt idx="745">
                  <c:v>105.2546413630248</c:v>
                </c:pt>
                <c:pt idx="746">
                  <c:v>104.16095642567721</c:v>
                </c:pt>
                <c:pt idx="747">
                  <c:v>104.08655892829708</c:v>
                </c:pt>
                <c:pt idx="748">
                  <c:v>103.97584666301495</c:v>
                </c:pt>
                <c:pt idx="749">
                  <c:v>105.31355956862345</c:v>
                </c:pt>
                <c:pt idx="750">
                  <c:v>105.3384141726074</c:v>
                </c:pt>
                <c:pt idx="751">
                  <c:v>104.77637445534158</c:v>
                </c:pt>
                <c:pt idx="752">
                  <c:v>103.86191801094826</c:v>
                </c:pt>
                <c:pt idx="753">
                  <c:v>105.35972649267038</c:v>
                </c:pt>
                <c:pt idx="754">
                  <c:v>104.19282964596295</c:v>
                </c:pt>
                <c:pt idx="755">
                  <c:v>104.8791676554691</c:v>
                </c:pt>
                <c:pt idx="756">
                  <c:v>105.44816714947821</c:v>
                </c:pt>
                <c:pt idx="757">
                  <c:v>105.32638304295692</c:v>
                </c:pt>
                <c:pt idx="758">
                  <c:v>105.46773305216681</c:v>
                </c:pt>
                <c:pt idx="759">
                  <c:v>105.74378292777399</c:v>
                </c:pt>
                <c:pt idx="760">
                  <c:v>106.54707174664868</c:v>
                </c:pt>
                <c:pt idx="761">
                  <c:v>107.06941310803155</c:v>
                </c:pt>
                <c:pt idx="762">
                  <c:v>106.6420331705326</c:v>
                </c:pt>
                <c:pt idx="763">
                  <c:v>106.91501372897054</c:v>
                </c:pt>
                <c:pt idx="764">
                  <c:v>107.36782420984018</c:v>
                </c:pt>
                <c:pt idx="765">
                  <c:v>107.64138445529161</c:v>
                </c:pt>
                <c:pt idx="766">
                  <c:v>107.78059302539235</c:v>
                </c:pt>
                <c:pt idx="767">
                  <c:v>107.1136492476552</c:v>
                </c:pt>
                <c:pt idx="768">
                  <c:v>107.57955408920265</c:v>
                </c:pt>
                <c:pt idx="769">
                  <c:v>108.22124534991596</c:v>
                </c:pt>
                <c:pt idx="770">
                  <c:v>107.71789107585084</c:v>
                </c:pt>
                <c:pt idx="771">
                  <c:v>109.19102453901358</c:v>
                </c:pt>
                <c:pt idx="772">
                  <c:v>108.5436350579663</c:v>
                </c:pt>
                <c:pt idx="773">
                  <c:v>109.01951212804178</c:v>
                </c:pt>
                <c:pt idx="774">
                  <c:v>109.1636431823826</c:v>
                </c:pt>
                <c:pt idx="775">
                  <c:v>110.74284328618532</c:v>
                </c:pt>
                <c:pt idx="776">
                  <c:v>109.49105106003464</c:v>
                </c:pt>
                <c:pt idx="777">
                  <c:v>108.40141507923806</c:v>
                </c:pt>
                <c:pt idx="778">
                  <c:v>108.82654295663174</c:v>
                </c:pt>
                <c:pt idx="779">
                  <c:v>108.94599077395436</c:v>
                </c:pt>
                <c:pt idx="780">
                  <c:v>108.88931648056545</c:v>
                </c:pt>
                <c:pt idx="781">
                  <c:v>107.80901820660493</c:v>
                </c:pt>
                <c:pt idx="782">
                  <c:v>108.33792277347325</c:v>
                </c:pt>
                <c:pt idx="783">
                  <c:v>109.15553502720171</c:v>
                </c:pt>
                <c:pt idx="784">
                  <c:v>109.26072029643036</c:v>
                </c:pt>
                <c:pt idx="785">
                  <c:v>106.77580023376414</c:v>
                </c:pt>
                <c:pt idx="786">
                  <c:v>107.61554351372615</c:v>
                </c:pt>
                <c:pt idx="787">
                  <c:v>106.57666690172233</c:v>
                </c:pt>
                <c:pt idx="788">
                  <c:v>107.52483851391764</c:v>
                </c:pt>
                <c:pt idx="789">
                  <c:v>107.59270401592862</c:v>
                </c:pt>
                <c:pt idx="790">
                  <c:v>107.5201125234188</c:v>
                </c:pt>
                <c:pt idx="791">
                  <c:v>107.51280422168834</c:v>
                </c:pt>
                <c:pt idx="792">
                  <c:v>107.92889871686262</c:v>
                </c:pt>
                <c:pt idx="793">
                  <c:v>107.05790806026322</c:v>
                </c:pt>
                <c:pt idx="794">
                  <c:v>107.82264530139217</c:v>
                </c:pt>
                <c:pt idx="795">
                  <c:v>108.08465881574911</c:v>
                </c:pt>
                <c:pt idx="796">
                  <c:v>108.24216508559071</c:v>
                </c:pt>
                <c:pt idx="797">
                  <c:v>109.50614937280257</c:v>
                </c:pt>
                <c:pt idx="798">
                  <c:v>109.46799791943549</c:v>
                </c:pt>
                <c:pt idx="799">
                  <c:v>109.46179525032021</c:v>
                </c:pt>
                <c:pt idx="800">
                  <c:v>110.53708438114059</c:v>
                </c:pt>
                <c:pt idx="801">
                  <c:v>109.53124861635798</c:v>
                </c:pt>
                <c:pt idx="802">
                  <c:v>107.37477175051943</c:v>
                </c:pt>
                <c:pt idx="803">
                  <c:v>107.99924309076097</c:v>
                </c:pt>
                <c:pt idx="804">
                  <c:v>107.96804786102454</c:v>
                </c:pt>
                <c:pt idx="805">
                  <c:v>108.42400302413338</c:v>
                </c:pt>
                <c:pt idx="806">
                  <c:v>108.45057299605618</c:v>
                </c:pt>
                <c:pt idx="807">
                  <c:v>107.81128324101816</c:v>
                </c:pt>
                <c:pt idx="808">
                  <c:v>108.59116707149954</c:v>
                </c:pt>
                <c:pt idx="809">
                  <c:v>108.95263920175972</c:v>
                </c:pt>
                <c:pt idx="810">
                  <c:v>109.46155055153604</c:v>
                </c:pt>
                <c:pt idx="811">
                  <c:v>109.32148119633426</c:v>
                </c:pt>
                <c:pt idx="812">
                  <c:v>109.53062722188571</c:v>
                </c:pt>
                <c:pt idx="813">
                  <c:v>109.28308942044187</c:v>
                </c:pt>
                <c:pt idx="814">
                  <c:v>109.24892406587512</c:v>
                </c:pt>
                <c:pt idx="815">
                  <c:v>108.99813688747474</c:v>
                </c:pt>
                <c:pt idx="816">
                  <c:v>108.93239629804286</c:v>
                </c:pt>
                <c:pt idx="817">
                  <c:v>109.60068340035799</c:v>
                </c:pt>
                <c:pt idx="818">
                  <c:v>109.91965816827991</c:v>
                </c:pt>
                <c:pt idx="819">
                  <c:v>109.09495170863688</c:v>
                </c:pt>
                <c:pt idx="820">
                  <c:v>108.53781005713218</c:v>
                </c:pt>
                <c:pt idx="821">
                  <c:v>109.16263161514428</c:v>
                </c:pt>
                <c:pt idx="822">
                  <c:v>109.89997166522997</c:v>
                </c:pt>
                <c:pt idx="823">
                  <c:v>107.09435738656633</c:v>
                </c:pt>
                <c:pt idx="824">
                  <c:v>108.83683980834469</c:v>
                </c:pt>
                <c:pt idx="825">
                  <c:v>109.70524752864148</c:v>
                </c:pt>
                <c:pt idx="826">
                  <c:v>108.61624379485102</c:v>
                </c:pt>
                <c:pt idx="827">
                  <c:v>106.73873924185182</c:v>
                </c:pt>
                <c:pt idx="828">
                  <c:v>105.73331038196905</c:v>
                </c:pt>
                <c:pt idx="829">
                  <c:v>108.57509763870264</c:v>
                </c:pt>
                <c:pt idx="830">
                  <c:v>105.75853942353612</c:v>
                </c:pt>
                <c:pt idx="831">
                  <c:v>106.88649289352185</c:v>
                </c:pt>
                <c:pt idx="832">
                  <c:v>106.96468800507122</c:v>
                </c:pt>
                <c:pt idx="833">
                  <c:v>107.30893758173275</c:v>
                </c:pt>
                <c:pt idx="834">
                  <c:v>107.84961623302694</c:v>
                </c:pt>
                <c:pt idx="835">
                  <c:v>108.60608032727289</c:v>
                </c:pt>
                <c:pt idx="836">
                  <c:v>107.58351451798981</c:v>
                </c:pt>
                <c:pt idx="837">
                  <c:v>108.11315937716989</c:v>
                </c:pt>
                <c:pt idx="838">
                  <c:v>106.16393758172833</c:v>
                </c:pt>
                <c:pt idx="839">
                  <c:v>107.05223427564746</c:v>
                </c:pt>
                <c:pt idx="840">
                  <c:v>107.70729893506106</c:v>
                </c:pt>
                <c:pt idx="841">
                  <c:v>107.14931362944183</c:v>
                </c:pt>
                <c:pt idx="842">
                  <c:v>106.47973367139946</c:v>
                </c:pt>
                <c:pt idx="843">
                  <c:v>107.19017430074953</c:v>
                </c:pt>
                <c:pt idx="844">
                  <c:v>107.86673228887348</c:v>
                </c:pt>
                <c:pt idx="845">
                  <c:v>107.58296230098274</c:v>
                </c:pt>
                <c:pt idx="846">
                  <c:v>106.7094718710938</c:v>
                </c:pt>
                <c:pt idx="847">
                  <c:v>107.18310498711399</c:v>
                </c:pt>
                <c:pt idx="848">
                  <c:v>107.78271251138715</c:v>
                </c:pt>
                <c:pt idx="849">
                  <c:v>107.83821766400544</c:v>
                </c:pt>
                <c:pt idx="850">
                  <c:v>109.07164192448334</c:v>
                </c:pt>
                <c:pt idx="851">
                  <c:v>108.22154994648646</c:v>
                </c:pt>
                <c:pt idx="852">
                  <c:v>108.41065370338825</c:v>
                </c:pt>
                <c:pt idx="853">
                  <c:v>108.18154007877662</c:v>
                </c:pt>
                <c:pt idx="854">
                  <c:v>108.82546755525435</c:v>
                </c:pt>
                <c:pt idx="855">
                  <c:v>109.62532370518326</c:v>
                </c:pt>
                <c:pt idx="856">
                  <c:v>110.22212507429724</c:v>
                </c:pt>
                <c:pt idx="857">
                  <c:v>109.19047839915926</c:v>
                </c:pt>
                <c:pt idx="858">
                  <c:v>109.64547991736353</c:v>
                </c:pt>
                <c:pt idx="859">
                  <c:v>108.82495309502525</c:v>
                </c:pt>
                <c:pt idx="860">
                  <c:v>108.24099646837615</c:v>
                </c:pt>
                <c:pt idx="861">
                  <c:v>109.65541460229048</c:v>
                </c:pt>
                <c:pt idx="862">
                  <c:v>109.73441951497669</c:v>
                </c:pt>
                <c:pt idx="863">
                  <c:v>108.22988515345475</c:v>
                </c:pt>
                <c:pt idx="864">
                  <c:v>109.46684782943576</c:v>
                </c:pt>
                <c:pt idx="865">
                  <c:v>109.59729040887113</c:v>
                </c:pt>
                <c:pt idx="866">
                  <c:v>109.41662694668656</c:v>
                </c:pt>
                <c:pt idx="867">
                  <c:v>108.5560206208725</c:v>
                </c:pt>
                <c:pt idx="868">
                  <c:v>108.66467823016701</c:v>
                </c:pt>
                <c:pt idx="869">
                  <c:v>108.31113070359675</c:v>
                </c:pt>
                <c:pt idx="870">
                  <c:v>107.77014528405684</c:v>
                </c:pt>
                <c:pt idx="871">
                  <c:v>108.38880994509508</c:v>
                </c:pt>
                <c:pt idx="872">
                  <c:v>106.56119105647876</c:v>
                </c:pt>
                <c:pt idx="873">
                  <c:v>107.34489813323525</c:v>
                </c:pt>
                <c:pt idx="874">
                  <c:v>107.21486128987387</c:v>
                </c:pt>
                <c:pt idx="875">
                  <c:v>106.14688427338614</c:v>
                </c:pt>
                <c:pt idx="876">
                  <c:v>107.56236578798955</c:v>
                </c:pt>
                <c:pt idx="877">
                  <c:v>105.13139349555644</c:v>
                </c:pt>
                <c:pt idx="878">
                  <c:v>106.64384754707392</c:v>
                </c:pt>
                <c:pt idx="879">
                  <c:v>106.92078160306026</c:v>
                </c:pt>
                <c:pt idx="880">
                  <c:v>106.67043608307672</c:v>
                </c:pt>
                <c:pt idx="881">
                  <c:v>105.55970320258528</c:v>
                </c:pt>
                <c:pt idx="882">
                  <c:v>106.76715086571781</c:v>
                </c:pt>
                <c:pt idx="883">
                  <c:v>106.4905871829874</c:v>
                </c:pt>
                <c:pt idx="884">
                  <c:v>105.8231235356987</c:v>
                </c:pt>
                <c:pt idx="885">
                  <c:v>106.6094433693561</c:v>
                </c:pt>
                <c:pt idx="886">
                  <c:v>106.33791200260036</c:v>
                </c:pt>
                <c:pt idx="887">
                  <c:v>106.5647403359704</c:v>
                </c:pt>
                <c:pt idx="888">
                  <c:v>106.44166316663983</c:v>
                </c:pt>
                <c:pt idx="889">
                  <c:v>105.98230978345138</c:v>
                </c:pt>
                <c:pt idx="890">
                  <c:v>106.64958834312023</c:v>
                </c:pt>
                <c:pt idx="891">
                  <c:v>105.69268449814754</c:v>
                </c:pt>
                <c:pt idx="892">
                  <c:v>105.57672729035264</c:v>
                </c:pt>
                <c:pt idx="893">
                  <c:v>105.43249805378781</c:v>
                </c:pt>
                <c:pt idx="894">
                  <c:v>106.00779740636744</c:v>
                </c:pt>
                <c:pt idx="895">
                  <c:v>105.73374560940779</c:v>
                </c:pt>
                <c:pt idx="896">
                  <c:v>105.75230441648124</c:v>
                </c:pt>
                <c:pt idx="897">
                  <c:v>105.37687444710616</c:v>
                </c:pt>
                <c:pt idx="898">
                  <c:v>105.98057755743417</c:v>
                </c:pt>
                <c:pt idx="899">
                  <c:v>105.512080993373</c:v>
                </c:pt>
                <c:pt idx="900">
                  <c:v>105.81132202149867</c:v>
                </c:pt>
                <c:pt idx="901">
                  <c:v>105.22756024677068</c:v>
                </c:pt>
                <c:pt idx="902">
                  <c:v>104.45833322876361</c:v>
                </c:pt>
                <c:pt idx="903">
                  <c:v>105.01089169255717</c:v>
                </c:pt>
                <c:pt idx="904">
                  <c:v>105.51267654814926</c:v>
                </c:pt>
                <c:pt idx="905">
                  <c:v>106.17806075946773</c:v>
                </c:pt>
                <c:pt idx="906">
                  <c:v>106.453711470256</c:v>
                </c:pt>
                <c:pt idx="907">
                  <c:v>107.30688790192384</c:v>
                </c:pt>
                <c:pt idx="908">
                  <c:v>106.91609372994412</c:v>
                </c:pt>
                <c:pt idx="909">
                  <c:v>107.07402302169744</c:v>
                </c:pt>
                <c:pt idx="910">
                  <c:v>108.12316493484531</c:v>
                </c:pt>
                <c:pt idx="911">
                  <c:v>107.97389475644144</c:v>
                </c:pt>
                <c:pt idx="912">
                  <c:v>108.90175363184558</c:v>
                </c:pt>
                <c:pt idx="913">
                  <c:v>108.76642935368406</c:v>
                </c:pt>
                <c:pt idx="914">
                  <c:v>109.51962232024229</c:v>
                </c:pt>
                <c:pt idx="915">
                  <c:v>109.36793309265192</c:v>
                </c:pt>
                <c:pt idx="916">
                  <c:v>109.95886164176927</c:v>
                </c:pt>
                <c:pt idx="917">
                  <c:v>109.67224490043738</c:v>
                </c:pt>
                <c:pt idx="918">
                  <c:v>110.60198264241545</c:v>
                </c:pt>
                <c:pt idx="919">
                  <c:v>110.46620800251581</c:v>
                </c:pt>
                <c:pt idx="920">
                  <c:v>110.01770564633441</c:v>
                </c:pt>
                <c:pt idx="921">
                  <c:v>109.73866957117866</c:v>
                </c:pt>
                <c:pt idx="922">
                  <c:v>109.76518612224807</c:v>
                </c:pt>
                <c:pt idx="923">
                  <c:v>110.58479732785388</c:v>
                </c:pt>
                <c:pt idx="924">
                  <c:v>110.16444963133267</c:v>
                </c:pt>
                <c:pt idx="925">
                  <c:v>111.38500041400327</c:v>
                </c:pt>
                <c:pt idx="926">
                  <c:v>112.3599361499391</c:v>
                </c:pt>
                <c:pt idx="927">
                  <c:v>111.52422371677717</c:v>
                </c:pt>
                <c:pt idx="928">
                  <c:v>111.21507397172309</c:v>
                </c:pt>
                <c:pt idx="929">
                  <c:v>111.20476311359282</c:v>
                </c:pt>
                <c:pt idx="930">
                  <c:v>111.63460781400099</c:v>
                </c:pt>
                <c:pt idx="931">
                  <c:v>111.2309418441066</c:v>
                </c:pt>
                <c:pt idx="932">
                  <c:v>109.90173820731698</c:v>
                </c:pt>
                <c:pt idx="933">
                  <c:v>109.75601113747538</c:v>
                </c:pt>
                <c:pt idx="934">
                  <c:v>110.02483580267062</c:v>
                </c:pt>
                <c:pt idx="935">
                  <c:v>109.40417886239034</c:v>
                </c:pt>
                <c:pt idx="936">
                  <c:v>110.15028579584317</c:v>
                </c:pt>
                <c:pt idx="937">
                  <c:v>109.43033231303404</c:v>
                </c:pt>
                <c:pt idx="938">
                  <c:v>109.91456510425623</c:v>
                </c:pt>
                <c:pt idx="939">
                  <c:v>110.08525074020423</c:v>
                </c:pt>
                <c:pt idx="940">
                  <c:v>109.96512977927742</c:v>
                </c:pt>
                <c:pt idx="941">
                  <c:v>109.71270076475507</c:v>
                </c:pt>
                <c:pt idx="942">
                  <c:v>109.46230130368596</c:v>
                </c:pt>
                <c:pt idx="943">
                  <c:v>109.66170312412001</c:v>
                </c:pt>
                <c:pt idx="944">
                  <c:v>109.66898327338293</c:v>
                </c:pt>
                <c:pt idx="945">
                  <c:v>110.39835683028984</c:v>
                </c:pt>
                <c:pt idx="946">
                  <c:v>109.58211424366073</c:v>
                </c:pt>
                <c:pt idx="947">
                  <c:v>108.23862118328761</c:v>
                </c:pt>
                <c:pt idx="948">
                  <c:v>109.99184399393715</c:v>
                </c:pt>
                <c:pt idx="949">
                  <c:v>110.5903408801644</c:v>
                </c:pt>
                <c:pt idx="950">
                  <c:v>110.74035192138147</c:v>
                </c:pt>
                <c:pt idx="951">
                  <c:v>110.87655744578366</c:v>
                </c:pt>
                <c:pt idx="952">
                  <c:v>110.98657534425338</c:v>
                </c:pt>
                <c:pt idx="953">
                  <c:v>110.81063190948493</c:v>
                </c:pt>
                <c:pt idx="954">
                  <c:v>111.2851190471421</c:v>
                </c:pt>
                <c:pt idx="955">
                  <c:v>111.53466635002779</c:v>
                </c:pt>
                <c:pt idx="956">
                  <c:v>111.76270130565472</c:v>
                </c:pt>
                <c:pt idx="957">
                  <c:v>111.93742575496292</c:v>
                </c:pt>
                <c:pt idx="958">
                  <c:v>112.08651875344277</c:v>
                </c:pt>
                <c:pt idx="959">
                  <c:v>112.64099236430505</c:v>
                </c:pt>
                <c:pt idx="960">
                  <c:v>111.95867290424187</c:v>
                </c:pt>
                <c:pt idx="961">
                  <c:v>111.98136546274124</c:v>
                </c:pt>
                <c:pt idx="962">
                  <c:v>112.97325938801231</c:v>
                </c:pt>
                <c:pt idx="963">
                  <c:v>112.62485646151613</c:v>
                </c:pt>
                <c:pt idx="964">
                  <c:v>112.08830048171623</c:v>
                </c:pt>
                <c:pt idx="965">
                  <c:v>111.77405779219674</c:v>
                </c:pt>
                <c:pt idx="966">
                  <c:v>111.33964644198564</c:v>
                </c:pt>
                <c:pt idx="967">
                  <c:v>113.18228646279208</c:v>
                </c:pt>
                <c:pt idx="968">
                  <c:v>112.77698543657038</c:v>
                </c:pt>
                <c:pt idx="969">
                  <c:v>112.96495294408264</c:v>
                </c:pt>
                <c:pt idx="970">
                  <c:v>112.91883640820754</c:v>
                </c:pt>
                <c:pt idx="971">
                  <c:v>111.79160595549071</c:v>
                </c:pt>
                <c:pt idx="972">
                  <c:v>111.842512172726</c:v>
                </c:pt>
                <c:pt idx="973">
                  <c:v>111.93956018120576</c:v>
                </c:pt>
                <c:pt idx="974">
                  <c:v>113.09133891830581</c:v>
                </c:pt>
                <c:pt idx="975">
                  <c:v>112.83523096698083</c:v>
                </c:pt>
                <c:pt idx="976">
                  <c:v>112.80559228966125</c:v>
                </c:pt>
                <c:pt idx="977">
                  <c:v>112.48687875281</c:v>
                </c:pt>
                <c:pt idx="978">
                  <c:v>111.35392001828301</c:v>
                </c:pt>
                <c:pt idx="979">
                  <c:v>113.12472330718451</c:v>
                </c:pt>
                <c:pt idx="980">
                  <c:v>111.91139606799811</c:v>
                </c:pt>
                <c:pt idx="981">
                  <c:v>111.94879212793504</c:v>
                </c:pt>
                <c:pt idx="982">
                  <c:v>113.52398034438322</c:v>
                </c:pt>
                <c:pt idx="983">
                  <c:v>112.82787899047175</c:v>
                </c:pt>
                <c:pt idx="984">
                  <c:v>112.81984642385238</c:v>
                </c:pt>
                <c:pt idx="985">
                  <c:v>111.96919862904554</c:v>
                </c:pt>
                <c:pt idx="986">
                  <c:v>112.13870382302258</c:v>
                </c:pt>
                <c:pt idx="987">
                  <c:v>111.80719458082331</c:v>
                </c:pt>
                <c:pt idx="988">
                  <c:v>112.22758941224724</c:v>
                </c:pt>
                <c:pt idx="989">
                  <c:v>112.18609469068336</c:v>
                </c:pt>
                <c:pt idx="990">
                  <c:v>112.95784037804503</c:v>
                </c:pt>
                <c:pt idx="991">
                  <c:v>113.47347679913462</c:v>
                </c:pt>
                <c:pt idx="992">
                  <c:v>113.42618240565061</c:v>
                </c:pt>
                <c:pt idx="993">
                  <c:v>114.25543868176767</c:v>
                </c:pt>
                <c:pt idx="994">
                  <c:v>113.55168048912476</c:v>
                </c:pt>
                <c:pt idx="995">
                  <c:v>114.27060229455772</c:v>
                </c:pt>
                <c:pt idx="996">
                  <c:v>113.50697545547558</c:v>
                </c:pt>
                <c:pt idx="997">
                  <c:v>113.33562753215523</c:v>
                </c:pt>
                <c:pt idx="998">
                  <c:v>114.03548756083698</c:v>
                </c:pt>
                <c:pt idx="999">
                  <c:v>115.07734563890173</c:v>
                </c:pt>
                <c:pt idx="1000">
                  <c:v>114.46945862390513</c:v>
                </c:pt>
                <c:pt idx="1001">
                  <c:v>114.70342207774388</c:v>
                </c:pt>
                <c:pt idx="1002">
                  <c:v>115.06572955244971</c:v>
                </c:pt>
                <c:pt idx="1003">
                  <c:v>115.349262649587</c:v>
                </c:pt>
                <c:pt idx="1004">
                  <c:v>115.62980293000906</c:v>
                </c:pt>
                <c:pt idx="1005">
                  <c:v>115.66003419878672</c:v>
                </c:pt>
                <c:pt idx="1006">
                  <c:v>115.50868582973128</c:v>
                </c:pt>
                <c:pt idx="1007">
                  <c:v>114.17353988368733</c:v>
                </c:pt>
                <c:pt idx="1008">
                  <c:v>114.2899738122038</c:v>
                </c:pt>
                <c:pt idx="1009">
                  <c:v>114.98058820027946</c:v>
                </c:pt>
                <c:pt idx="1010">
                  <c:v>114.84065300368943</c:v>
                </c:pt>
                <c:pt idx="1011">
                  <c:v>115.26128456743733</c:v>
                </c:pt>
                <c:pt idx="1012">
                  <c:v>114.86374051889811</c:v>
                </c:pt>
                <c:pt idx="1013">
                  <c:v>115.24958808315077</c:v>
                </c:pt>
                <c:pt idx="1014">
                  <c:v>115.58553998848161</c:v>
                </c:pt>
                <c:pt idx="1015">
                  <c:v>115.66003772062138</c:v>
                </c:pt>
                <c:pt idx="1016">
                  <c:v>117.07128583176612</c:v>
                </c:pt>
                <c:pt idx="1017">
                  <c:v>117.38445790598317</c:v>
                </c:pt>
                <c:pt idx="1018">
                  <c:v>116.89473805501197</c:v>
                </c:pt>
                <c:pt idx="1019">
                  <c:v>118.39403018270779</c:v>
                </c:pt>
                <c:pt idx="1020">
                  <c:v>119.20565111901534</c:v>
                </c:pt>
                <c:pt idx="1021">
                  <c:v>117.93656465371006</c:v>
                </c:pt>
                <c:pt idx="1022">
                  <c:v>114.67899578602552</c:v>
                </c:pt>
                <c:pt idx="1023">
                  <c:v>117.58688973926624</c:v>
                </c:pt>
                <c:pt idx="1024">
                  <c:v>117.02069111878211</c:v>
                </c:pt>
                <c:pt idx="1025">
                  <c:v>116.60792035885741</c:v>
                </c:pt>
                <c:pt idx="1026">
                  <c:v>116.35068350994864</c:v>
                </c:pt>
                <c:pt idx="1027">
                  <c:v>117.29146815399908</c:v>
                </c:pt>
                <c:pt idx="1028">
                  <c:v>116.87598992643417</c:v>
                </c:pt>
                <c:pt idx="1029">
                  <c:v>117.89479803769257</c:v>
                </c:pt>
                <c:pt idx="1030">
                  <c:v>117.14436308910464</c:v>
                </c:pt>
                <c:pt idx="1031">
                  <c:v>117.21602689878063</c:v>
                </c:pt>
                <c:pt idx="1032">
                  <c:v>118.73879121458695</c:v>
                </c:pt>
                <c:pt idx="1033">
                  <c:v>115.94777408766286</c:v>
                </c:pt>
                <c:pt idx="1034">
                  <c:v>115.60180067857236</c:v>
                </c:pt>
                <c:pt idx="1035">
                  <c:v>115.71613211582529</c:v>
                </c:pt>
                <c:pt idx="1036">
                  <c:v>116.30271059689002</c:v>
                </c:pt>
                <c:pt idx="1037">
                  <c:v>116.29818553172892</c:v>
                </c:pt>
                <c:pt idx="1038">
                  <c:v>115.84937233077274</c:v>
                </c:pt>
                <c:pt idx="1039">
                  <c:v>116.07270594037004</c:v>
                </c:pt>
                <c:pt idx="1040">
                  <c:v>116.84936390341504</c:v>
                </c:pt>
                <c:pt idx="1041">
                  <c:v>115.95061787688115</c:v>
                </c:pt>
                <c:pt idx="1042">
                  <c:v>116.21744362442156</c:v>
                </c:pt>
                <c:pt idx="1043">
                  <c:v>115.88760952725448</c:v>
                </c:pt>
                <c:pt idx="1044">
                  <c:v>117.07228739602577</c:v>
                </c:pt>
                <c:pt idx="1045">
                  <c:v>117.35768715704552</c:v>
                </c:pt>
                <c:pt idx="1046">
                  <c:v>116.0839898944285</c:v>
                </c:pt>
                <c:pt idx="1047">
                  <c:v>113.51040902241411</c:v>
                </c:pt>
                <c:pt idx="1048">
                  <c:v>114.90117871685902</c:v>
                </c:pt>
                <c:pt idx="1049">
                  <c:v>114.67418820967882</c:v>
                </c:pt>
                <c:pt idx="1050">
                  <c:v>116.16044445351393</c:v>
                </c:pt>
                <c:pt idx="1051">
                  <c:v>116.33805384204473</c:v>
                </c:pt>
                <c:pt idx="1052">
                  <c:v>115.60180357471216</c:v>
                </c:pt>
                <c:pt idx="1053">
                  <c:v>113.70222687761813</c:v>
                </c:pt>
                <c:pt idx="1054">
                  <c:v>115.02692577520629</c:v>
                </c:pt>
                <c:pt idx="1055">
                  <c:v>114.39614479514366</c:v>
                </c:pt>
                <c:pt idx="1056">
                  <c:v>113.51372708517664</c:v>
                </c:pt>
                <c:pt idx="1057">
                  <c:v>112.05410140475483</c:v>
                </c:pt>
                <c:pt idx="1058">
                  <c:v>109.36974635815901</c:v>
                </c:pt>
                <c:pt idx="1059">
                  <c:v>109.02867390441322</c:v>
                </c:pt>
                <c:pt idx="1060">
                  <c:v>113.39880371073269</c:v>
                </c:pt>
                <c:pt idx="1061">
                  <c:v>110.98789075284057</c:v>
                </c:pt>
                <c:pt idx="1062">
                  <c:v>109.1776182913069</c:v>
                </c:pt>
                <c:pt idx="1063">
                  <c:v>108.08189410943953</c:v>
                </c:pt>
                <c:pt idx="1064">
                  <c:v>111.83765988664501</c:v>
                </c:pt>
                <c:pt idx="1065">
                  <c:v>113.96301660557275</c:v>
                </c:pt>
                <c:pt idx="1066">
                  <c:v>113.31533111783699</c:v>
                </c:pt>
                <c:pt idx="1067">
                  <c:v>113.44431197923036</c:v>
                </c:pt>
                <c:pt idx="1068">
                  <c:v>112.48299290591164</c:v>
                </c:pt>
                <c:pt idx="1069">
                  <c:v>114.72030834128842</c:v>
                </c:pt>
                <c:pt idx="1070">
                  <c:v>113.74584833115237</c:v>
                </c:pt>
                <c:pt idx="1071">
                  <c:v>114.91247938806464</c:v>
                </c:pt>
                <c:pt idx="1072">
                  <c:v>114.73760783641991</c:v>
                </c:pt>
                <c:pt idx="1073">
                  <c:v>112.85929991438026</c:v>
                </c:pt>
                <c:pt idx="1074">
                  <c:v>111.65476266147448</c:v>
                </c:pt>
                <c:pt idx="1075">
                  <c:v>113.61807084604685</c:v>
                </c:pt>
                <c:pt idx="1076">
                  <c:v>113.74928767880147</c:v>
                </c:pt>
                <c:pt idx="1077">
                  <c:v>113.66419340945627</c:v>
                </c:pt>
                <c:pt idx="1078">
                  <c:v>112.02468745360645</c:v>
                </c:pt>
                <c:pt idx="1079">
                  <c:v>111.98082794006024</c:v>
                </c:pt>
                <c:pt idx="1080">
                  <c:v>113.57273879858596</c:v>
                </c:pt>
                <c:pt idx="1081">
                  <c:v>112.36328295296241</c:v>
                </c:pt>
                <c:pt idx="1082">
                  <c:v>110.55858855540029</c:v>
                </c:pt>
                <c:pt idx="1083">
                  <c:v>116.6879428214325</c:v>
                </c:pt>
                <c:pt idx="1084">
                  <c:v>115.51060134517503</c:v>
                </c:pt>
                <c:pt idx="1085">
                  <c:v>115.52542239953212</c:v>
                </c:pt>
                <c:pt idx="1086">
                  <c:v>117.03130519272777</c:v>
                </c:pt>
                <c:pt idx="1087">
                  <c:v>118.19485887660716</c:v>
                </c:pt>
                <c:pt idx="1088">
                  <c:v>119.82514232387287</c:v>
                </c:pt>
                <c:pt idx="1089">
                  <c:v>123.48288081582589</c:v>
                </c:pt>
                <c:pt idx="1090">
                  <c:v>121.12958456931716</c:v>
                </c:pt>
                <c:pt idx="1091">
                  <c:v>120.8411351721912</c:v>
                </c:pt>
                <c:pt idx="1092">
                  <c:v>118.22799530805746</c:v>
                </c:pt>
                <c:pt idx="1093">
                  <c:v>119.87122740554815</c:v>
                </c:pt>
                <c:pt idx="1094">
                  <c:v>117.18615582813237</c:v>
                </c:pt>
                <c:pt idx="1095">
                  <c:v>114.51817668534596</c:v>
                </c:pt>
                <c:pt idx="1096">
                  <c:v>117.22646790537684</c:v>
                </c:pt>
                <c:pt idx="1097">
                  <c:v>116.39230498957232</c:v>
                </c:pt>
                <c:pt idx="1098">
                  <c:v>116.95242471863996</c:v>
                </c:pt>
                <c:pt idx="1099">
                  <c:v>117.50378223241823</c:v>
                </c:pt>
                <c:pt idx="1100">
                  <c:v>117.7389752785044</c:v>
                </c:pt>
                <c:pt idx="1101">
                  <c:v>118.17348801124604</c:v>
                </c:pt>
                <c:pt idx="1102">
                  <c:v>118.07659648754229</c:v>
                </c:pt>
                <c:pt idx="1103">
                  <c:v>121.58352122590956</c:v>
                </c:pt>
                <c:pt idx="1104">
                  <c:v>122.03467811602928</c:v>
                </c:pt>
                <c:pt idx="1105">
                  <c:v>122.5079613551323</c:v>
                </c:pt>
                <c:pt idx="1106">
                  <c:v>121.97256708580214</c:v>
                </c:pt>
                <c:pt idx="1107">
                  <c:v>121.39414689351592</c:v>
                </c:pt>
                <c:pt idx="1108">
                  <c:v>120.89493009259817</c:v>
                </c:pt>
                <c:pt idx="1109">
                  <c:v>120.89465031713377</c:v>
                </c:pt>
                <c:pt idx="1110">
                  <c:v>121.21718092383394</c:v>
                </c:pt>
                <c:pt idx="1111">
                  <c:v>119.423500565572</c:v>
                </c:pt>
                <c:pt idx="1112">
                  <c:v>120.02707799399148</c:v>
                </c:pt>
                <c:pt idx="1113">
                  <c:v>120.81002956862126</c:v>
                </c:pt>
                <c:pt idx="1114">
                  <c:v>118.86049956850951</c:v>
                </c:pt>
                <c:pt idx="1115">
                  <c:v>117.46679171897382</c:v>
                </c:pt>
                <c:pt idx="1116">
                  <c:v>117.67019449834218</c:v>
                </c:pt>
                <c:pt idx="1117">
                  <c:v>119.1638467997676</c:v>
                </c:pt>
                <c:pt idx="1118">
                  <c:v>117.09103132507585</c:v>
                </c:pt>
                <c:pt idx="1119">
                  <c:v>117.13354064325912</c:v>
                </c:pt>
                <c:pt idx="1120">
                  <c:v>116.99908040219826</c:v>
                </c:pt>
                <c:pt idx="1121">
                  <c:v>119.5882437209237</c:v>
                </c:pt>
                <c:pt idx="1122">
                  <c:v>118.1864067626304</c:v>
                </c:pt>
                <c:pt idx="1123">
                  <c:v>114.86281146445732</c:v>
                </c:pt>
                <c:pt idx="1124">
                  <c:v>113.6745126522175</c:v>
                </c:pt>
                <c:pt idx="1125">
                  <c:v>116.58909981008475</c:v>
                </c:pt>
                <c:pt idx="1126">
                  <c:v>114.37872610910679</c:v>
                </c:pt>
                <c:pt idx="1127">
                  <c:v>114.13002068758756</c:v>
                </c:pt>
                <c:pt idx="1128">
                  <c:v>116.72326638501399</c:v>
                </c:pt>
                <c:pt idx="1129">
                  <c:v>112.10167321817627</c:v>
                </c:pt>
                <c:pt idx="1130">
                  <c:v>114.36141264771528</c:v>
                </c:pt>
                <c:pt idx="1131">
                  <c:v>114.46190037243166</c:v>
                </c:pt>
                <c:pt idx="1132">
                  <c:v>119.18239141860244</c:v>
                </c:pt>
                <c:pt idx="1133">
                  <c:v>116.04082423461823</c:v>
                </c:pt>
                <c:pt idx="1134">
                  <c:v>117.5378674133003</c:v>
                </c:pt>
                <c:pt idx="1135">
                  <c:v>116.72364951862248</c:v>
                </c:pt>
                <c:pt idx="1136">
                  <c:v>116.48168360860838</c:v>
                </c:pt>
                <c:pt idx="1137">
                  <c:v>112.64484435264806</c:v>
                </c:pt>
                <c:pt idx="1138">
                  <c:v>114.26419654285282</c:v>
                </c:pt>
                <c:pt idx="1139">
                  <c:v>114.30548613688109</c:v>
                </c:pt>
                <c:pt idx="1140">
                  <c:v>113.55085496549937</c:v>
                </c:pt>
                <c:pt idx="1141">
                  <c:v>114.30050214311413</c:v>
                </c:pt>
                <c:pt idx="1142">
                  <c:v>111.33960091323934</c:v>
                </c:pt>
                <c:pt idx="1143">
                  <c:v>112.08958865656517</c:v>
                </c:pt>
                <c:pt idx="1144">
                  <c:v>111.53834587777266</c:v>
                </c:pt>
                <c:pt idx="1145">
                  <c:v>112.04128778184037</c:v>
                </c:pt>
                <c:pt idx="1146">
                  <c:v>111.79802501286227</c:v>
                </c:pt>
                <c:pt idx="1147">
                  <c:v>112.32039382123908</c:v>
                </c:pt>
                <c:pt idx="1148">
                  <c:v>113.67579127508485</c:v>
                </c:pt>
                <c:pt idx="1149">
                  <c:v>114.88169031652241</c:v>
                </c:pt>
                <c:pt idx="1150">
                  <c:v>114.05689589877129</c:v>
                </c:pt>
                <c:pt idx="1151">
                  <c:v>114.13179843375866</c:v>
                </c:pt>
                <c:pt idx="1152">
                  <c:v>114.1092773441231</c:v>
                </c:pt>
                <c:pt idx="1153">
                  <c:v>115.58520766184409</c:v>
                </c:pt>
                <c:pt idx="1154">
                  <c:v>113.9818069298439</c:v>
                </c:pt>
                <c:pt idx="1155">
                  <c:v>113.13086949084119</c:v>
                </c:pt>
                <c:pt idx="1156">
                  <c:v>114.53368585601315</c:v>
                </c:pt>
                <c:pt idx="1157">
                  <c:v>113.9378528890573</c:v>
                </c:pt>
                <c:pt idx="1158">
                  <c:v>112.89534253713654</c:v>
                </c:pt>
                <c:pt idx="1159">
                  <c:v>112.89752190397425</c:v>
                </c:pt>
                <c:pt idx="1160">
                  <c:v>111.02631557086328</c:v>
                </c:pt>
                <c:pt idx="1161">
                  <c:v>111.94208489485455</c:v>
                </c:pt>
                <c:pt idx="1162">
                  <c:v>112.23975380330801</c:v>
                </c:pt>
                <c:pt idx="1163">
                  <c:v>110.5225050938959</c:v>
                </c:pt>
                <c:pt idx="1164">
                  <c:v>111.27455300547879</c:v>
                </c:pt>
                <c:pt idx="1165">
                  <c:v>110.31632741903005</c:v>
                </c:pt>
                <c:pt idx="1166">
                  <c:v>112.47391753925783</c:v>
                </c:pt>
                <c:pt idx="1167">
                  <c:v>113.11125119641285</c:v>
                </c:pt>
                <c:pt idx="1168">
                  <c:v>115.537601327293</c:v>
                </c:pt>
                <c:pt idx="1169">
                  <c:v>115.91487631418291</c:v>
                </c:pt>
                <c:pt idx="1170">
                  <c:v>114.81216584995808</c:v>
                </c:pt>
                <c:pt idx="1171">
                  <c:v>112.36018113345419</c:v>
                </c:pt>
                <c:pt idx="1172">
                  <c:v>113.10975556579639</c:v>
                </c:pt>
                <c:pt idx="1173">
                  <c:v>113.75555455787887</c:v>
                </c:pt>
                <c:pt idx="1174">
                  <c:v>115.48966747122311</c:v>
                </c:pt>
                <c:pt idx="1175">
                  <c:v>114.56809522162224</c:v>
                </c:pt>
                <c:pt idx="1176">
                  <c:v>117.85738930711288</c:v>
                </c:pt>
                <c:pt idx="1177">
                  <c:v>117.00895730715933</c:v>
                </c:pt>
                <c:pt idx="1178">
                  <c:v>117.29973018387817</c:v>
                </c:pt>
                <c:pt idx="1179">
                  <c:v>116.48370821615462</c:v>
                </c:pt>
                <c:pt idx="1180">
                  <c:v>116.2199915694069</c:v>
                </c:pt>
                <c:pt idx="1181">
                  <c:v>114.83747289259273</c:v>
                </c:pt>
                <c:pt idx="1182">
                  <c:v>115.41733320663242</c:v>
                </c:pt>
                <c:pt idx="1183">
                  <c:v>116.85921251160792</c:v>
                </c:pt>
                <c:pt idx="1184">
                  <c:v>116.62820715255141</c:v>
                </c:pt>
                <c:pt idx="1185">
                  <c:v>114.22945801710829</c:v>
                </c:pt>
                <c:pt idx="1186">
                  <c:v>115.80169812594961</c:v>
                </c:pt>
                <c:pt idx="1187">
                  <c:v>116.9607297278841</c:v>
                </c:pt>
                <c:pt idx="1188">
                  <c:v>117.91572939380306</c:v>
                </c:pt>
                <c:pt idx="1189">
                  <c:v>116.3374564786065</c:v>
                </c:pt>
                <c:pt idx="1190">
                  <c:v>116.41997590328435</c:v>
                </c:pt>
                <c:pt idx="1191">
                  <c:v>115.30975286819742</c:v>
                </c:pt>
                <c:pt idx="1192">
                  <c:v>118.3823322575907</c:v>
                </c:pt>
                <c:pt idx="1193">
                  <c:v>118.77429523973608</c:v>
                </c:pt>
                <c:pt idx="1194">
                  <c:v>119.55790900483541</c:v>
                </c:pt>
                <c:pt idx="1195">
                  <c:v>119.51633755524666</c:v>
                </c:pt>
                <c:pt idx="1196">
                  <c:v>119.61768055645999</c:v>
                </c:pt>
                <c:pt idx="1197">
                  <c:v>121.44280969925168</c:v>
                </c:pt>
                <c:pt idx="1198">
                  <c:v>120.84766990392814</c:v>
                </c:pt>
                <c:pt idx="1199">
                  <c:v>121.78622915932091</c:v>
                </c:pt>
                <c:pt idx="1200">
                  <c:v>121.05316066343102</c:v>
                </c:pt>
                <c:pt idx="1201">
                  <c:v>121.29675770924652</c:v>
                </c:pt>
                <c:pt idx="1202">
                  <c:v>122.90223520335458</c:v>
                </c:pt>
                <c:pt idx="1203">
                  <c:v>122.34558143625776</c:v>
                </c:pt>
                <c:pt idx="1204">
                  <c:v>124.5096304015747</c:v>
                </c:pt>
                <c:pt idx="1205">
                  <c:v>125.03281267138344</c:v>
                </c:pt>
                <c:pt idx="1206">
                  <c:v>125.16249440384159</c:v>
                </c:pt>
                <c:pt idx="1207">
                  <c:v>125.20266677864534</c:v>
                </c:pt>
                <c:pt idx="1208">
                  <c:v>125.33172888931425</c:v>
                </c:pt>
                <c:pt idx="1209">
                  <c:v>124.53843642760596</c:v>
                </c:pt>
                <c:pt idx="1210">
                  <c:v>123.27613052962</c:v>
                </c:pt>
                <c:pt idx="1211">
                  <c:v>123.46884819014092</c:v>
                </c:pt>
                <c:pt idx="1212">
                  <c:v>123.80125348314361</c:v>
                </c:pt>
                <c:pt idx="1213">
                  <c:v>125.33028344105739</c:v>
                </c:pt>
                <c:pt idx="1214">
                  <c:v>123.09553970492021</c:v>
                </c:pt>
                <c:pt idx="1215">
                  <c:v>123.11123277481181</c:v>
                </c:pt>
                <c:pt idx="1216">
                  <c:v>122.30628771318221</c:v>
                </c:pt>
                <c:pt idx="1217">
                  <c:v>122.81265900128321</c:v>
                </c:pt>
                <c:pt idx="1218">
                  <c:v>125.17466779243698</c:v>
                </c:pt>
                <c:pt idx="1219">
                  <c:v>121.19828063195956</c:v>
                </c:pt>
                <c:pt idx="1220">
                  <c:v>122.04438163196457</c:v>
                </c:pt>
                <c:pt idx="1221">
                  <c:v>121.25669563295044</c:v>
                </c:pt>
                <c:pt idx="1222">
                  <c:v>124.11480361608973</c:v>
                </c:pt>
                <c:pt idx="1223">
                  <c:v>124.31633255746422</c:v>
                </c:pt>
                <c:pt idx="1224">
                  <c:v>124.20186912516772</c:v>
                </c:pt>
                <c:pt idx="1225">
                  <c:v>123.03027261023846</c:v>
                </c:pt>
                <c:pt idx="1226">
                  <c:v>119.87544905537887</c:v>
                </c:pt>
                <c:pt idx="1227">
                  <c:v>121.38017070214784</c:v>
                </c:pt>
                <c:pt idx="1228">
                  <c:v>120.77759428503539</c:v>
                </c:pt>
                <c:pt idx="1229">
                  <c:v>121.81066912669662</c:v>
                </c:pt>
                <c:pt idx="1230">
                  <c:v>122.49950407968255</c:v>
                </c:pt>
                <c:pt idx="1231">
                  <c:v>122.68574123496542</c:v>
                </c:pt>
                <c:pt idx="1232">
                  <c:v>120.08390817255206</c:v>
                </c:pt>
                <c:pt idx="1233">
                  <c:v>121.28022499295091</c:v>
                </c:pt>
                <c:pt idx="1234">
                  <c:v>122.46821083472075</c:v>
                </c:pt>
                <c:pt idx="1235">
                  <c:v>121.84596301283064</c:v>
                </c:pt>
                <c:pt idx="1236">
                  <c:v>122.10637111860083</c:v>
                </c:pt>
                <c:pt idx="1237">
                  <c:v>123.88531579684731</c:v>
                </c:pt>
                <c:pt idx="1238">
                  <c:v>122.99402623286706</c:v>
                </c:pt>
                <c:pt idx="1239">
                  <c:v>119.86691459084089</c:v>
                </c:pt>
                <c:pt idx="1240">
                  <c:v>122.67449496198707</c:v>
                </c:pt>
                <c:pt idx="1241">
                  <c:v>121.31645383253102</c:v>
                </c:pt>
                <c:pt idx="1242">
                  <c:v>122.58260173813692</c:v>
                </c:pt>
                <c:pt idx="1243">
                  <c:v>122.35486593315134</c:v>
                </c:pt>
                <c:pt idx="1244">
                  <c:v>120.07312628238856</c:v>
                </c:pt>
                <c:pt idx="1245">
                  <c:v>119.79679369552781</c:v>
                </c:pt>
                <c:pt idx="1246">
                  <c:v>119.56348478442622</c:v>
                </c:pt>
                <c:pt idx="1247">
                  <c:v>120.13713939967076</c:v>
                </c:pt>
                <c:pt idx="1248">
                  <c:v>122.05435554490754</c:v>
                </c:pt>
                <c:pt idx="1249">
                  <c:v>118.64735738881161</c:v>
                </c:pt>
                <c:pt idx="1250">
                  <c:v>119.62342285321499</c:v>
                </c:pt>
                <c:pt idx="1251">
                  <c:v>120.57747048748136</c:v>
                </c:pt>
                <c:pt idx="1252">
                  <c:v>120.50265544260787</c:v>
                </c:pt>
                <c:pt idx="1253">
                  <c:v>119.38371979889695</c:v>
                </c:pt>
                <c:pt idx="1254">
                  <c:v>122.68284022931502</c:v>
                </c:pt>
                <c:pt idx="1255">
                  <c:v>122.23346988804177</c:v>
                </c:pt>
                <c:pt idx="1256">
                  <c:v>122.35440655978704</c:v>
                </c:pt>
                <c:pt idx="1257">
                  <c:v>120.83350060082353</c:v>
                </c:pt>
                <c:pt idx="1258">
                  <c:v>120.81454939415268</c:v>
                </c:pt>
                <c:pt idx="1259">
                  <c:v>123.93332003427635</c:v>
                </c:pt>
                <c:pt idx="1260">
                  <c:v>122.97355873087777</c:v>
                </c:pt>
                <c:pt idx="1261">
                  <c:v>121.9486658489718</c:v>
                </c:pt>
                <c:pt idx="1262">
                  <c:v>119.33300166224359</c:v>
                </c:pt>
                <c:pt idx="1263">
                  <c:v>119.59729369093623</c:v>
                </c:pt>
                <c:pt idx="1264">
                  <c:v>118.33078429838562</c:v>
                </c:pt>
                <c:pt idx="1265">
                  <c:v>118.81138376755155</c:v>
                </c:pt>
                <c:pt idx="1266">
                  <c:v>118.43339750211074</c:v>
                </c:pt>
                <c:pt idx="1267">
                  <c:v>116.32229119616207</c:v>
                </c:pt>
                <c:pt idx="1268">
                  <c:v>119.52903865122681</c:v>
                </c:pt>
                <c:pt idx="1269">
                  <c:v>120.44357629922034</c:v>
                </c:pt>
                <c:pt idx="1270">
                  <c:v>119.025921189348</c:v>
                </c:pt>
                <c:pt idx="1271">
                  <c:v>119.47482876289756</c:v>
                </c:pt>
                <c:pt idx="1272">
                  <c:v>119.57679925056502</c:v>
                </c:pt>
                <c:pt idx="1273">
                  <c:v>119.62246001163732</c:v>
                </c:pt>
                <c:pt idx="1274">
                  <c:v>118.87621760769332</c:v>
                </c:pt>
                <c:pt idx="1275">
                  <c:v>118.97966383469611</c:v>
                </c:pt>
                <c:pt idx="1276">
                  <c:v>119.5707571829501</c:v>
                </c:pt>
                <c:pt idx="1277">
                  <c:v>119.50519518198516</c:v>
                </c:pt>
                <c:pt idx="1278">
                  <c:v>118.92322792260157</c:v>
                </c:pt>
                <c:pt idx="1279">
                  <c:v>118.7715063393974</c:v>
                </c:pt>
                <c:pt idx="1280">
                  <c:v>117.39643504505935</c:v>
                </c:pt>
                <c:pt idx="1281">
                  <c:v>117.36334244025343</c:v>
                </c:pt>
                <c:pt idx="1282">
                  <c:v>120.3740435941517</c:v>
                </c:pt>
                <c:pt idx="1283">
                  <c:v>117.5924732638908</c:v>
                </c:pt>
                <c:pt idx="1284">
                  <c:v>117.61699634500617</c:v>
                </c:pt>
                <c:pt idx="1285">
                  <c:v>115.79551738487865</c:v>
                </c:pt>
                <c:pt idx="1286">
                  <c:v>114.74502911508731</c:v>
                </c:pt>
                <c:pt idx="1287">
                  <c:v>115.1386828269213</c:v>
                </c:pt>
                <c:pt idx="1288">
                  <c:v>116.12203080180775</c:v>
                </c:pt>
                <c:pt idx="1289">
                  <c:v>114.44096244762282</c:v>
                </c:pt>
                <c:pt idx="1290">
                  <c:v>116.84063110595108</c:v>
                </c:pt>
                <c:pt idx="1291">
                  <c:v>116.2137481213955</c:v>
                </c:pt>
                <c:pt idx="1292">
                  <c:v>115.44952880778197</c:v>
                </c:pt>
                <c:pt idx="1293">
                  <c:v>115.78819699834587</c:v>
                </c:pt>
                <c:pt idx="1294">
                  <c:v>115.90839511092821</c:v>
                </c:pt>
                <c:pt idx="1295">
                  <c:v>114.4174512948547</c:v>
                </c:pt>
                <c:pt idx="1296">
                  <c:v>114.85585273495377</c:v>
                </c:pt>
                <c:pt idx="1297">
                  <c:v>114.56946705677889</c:v>
                </c:pt>
                <c:pt idx="1298">
                  <c:v>114.01162784730882</c:v>
                </c:pt>
                <c:pt idx="1299">
                  <c:v>115.76590495173423</c:v>
                </c:pt>
                <c:pt idx="1300">
                  <c:v>115.76883932472107</c:v>
                </c:pt>
                <c:pt idx="1301">
                  <c:v>115.06087568914094</c:v>
                </c:pt>
                <c:pt idx="1302">
                  <c:v>113.88862283440794</c:v>
                </c:pt>
                <c:pt idx="1303">
                  <c:v>114.97535576015196</c:v>
                </c:pt>
                <c:pt idx="1304">
                  <c:v>116.08443453666384</c:v>
                </c:pt>
                <c:pt idx="1305">
                  <c:v>115.10402796627393</c:v>
                </c:pt>
                <c:pt idx="1306">
                  <c:v>113.34111380611596</c:v>
                </c:pt>
                <c:pt idx="1307">
                  <c:v>112.692129778554</c:v>
                </c:pt>
                <c:pt idx="1308">
                  <c:v>111.67683337378722</c:v>
                </c:pt>
                <c:pt idx="1309">
                  <c:v>113.00878252949188</c:v>
                </c:pt>
                <c:pt idx="1310">
                  <c:v>111.80547545161149</c:v>
                </c:pt>
                <c:pt idx="1311">
                  <c:v>113.41998305308421</c:v>
                </c:pt>
                <c:pt idx="1312">
                  <c:v>114.37661194466502</c:v>
                </c:pt>
                <c:pt idx="1313">
                  <c:v>113.59544375945165</c:v>
                </c:pt>
                <c:pt idx="1314">
                  <c:v>113.56820544153561</c:v>
                </c:pt>
                <c:pt idx="1315">
                  <c:v>113.13918216538588</c:v>
                </c:pt>
                <c:pt idx="1316">
                  <c:v>112.73281272012488</c:v>
                </c:pt>
                <c:pt idx="1317">
                  <c:v>110.68937770731615</c:v>
                </c:pt>
                <c:pt idx="1318">
                  <c:v>111.55490732577796</c:v>
                </c:pt>
                <c:pt idx="1319">
                  <c:v>113.19040675746612</c:v>
                </c:pt>
                <c:pt idx="1320">
                  <c:v>113.9839617297614</c:v>
                </c:pt>
                <c:pt idx="1321">
                  <c:v>114.15964046511664</c:v>
                </c:pt>
                <c:pt idx="1322">
                  <c:v>114.56931632147955</c:v>
                </c:pt>
                <c:pt idx="1323">
                  <c:v>115.5078605911912</c:v>
                </c:pt>
              </c:numCache>
            </c:numRef>
          </c:val>
          <c:smooth val="0"/>
          <c:extLst>
            <c:ext xmlns:c16="http://schemas.microsoft.com/office/drawing/2014/chart" uri="{C3380CC4-5D6E-409C-BE32-E72D297353CC}">
              <c16:uniqueId val="{00000001-3BB0-49B5-B2D9-E9DFA641F2F2}"/>
            </c:ext>
          </c:extLst>
        </c:ser>
        <c:dLbls>
          <c:showLegendKey val="0"/>
          <c:showVal val="0"/>
          <c:showCatName val="0"/>
          <c:showSerName val="0"/>
          <c:showPercent val="0"/>
          <c:showBubbleSize val="0"/>
        </c:dLbls>
        <c:marker val="1"/>
        <c:smooth val="0"/>
        <c:axId val="134923008"/>
        <c:axId val="134924544"/>
      </c:lineChart>
      <c:lineChart>
        <c:grouping val="standard"/>
        <c:varyColors val="0"/>
        <c:ser>
          <c:idx val="1"/>
          <c:order val="0"/>
          <c:tx>
            <c:strRef>
              <c:f>'HC Data (2)'!$W$8</c:f>
              <c:strCache>
                <c:ptCount val="1"/>
                <c:pt idx="0">
                  <c:v>Price - USA/Europe </c:v>
                </c:pt>
              </c:strCache>
            </c:strRef>
          </c:tx>
          <c:spPr>
            <a:ln w="22225">
              <a:solidFill>
                <a:schemeClr val="tx2"/>
              </a:solidFill>
              <a:prstDash val="solid"/>
            </a:ln>
          </c:spPr>
          <c:marker>
            <c:symbol val="none"/>
          </c:marker>
          <c:cat>
            <c:numRef>
              <c:f>'HC Data (2)'!$V$9:$V$1332</c:f>
              <c:numCache>
                <c:formatCode>m/d/yyyy</c:formatCode>
                <c:ptCount val="1324"/>
                <c:pt idx="0">
                  <c:v>43101</c:v>
                </c:pt>
                <c:pt idx="1">
                  <c:v>43102</c:v>
                </c:pt>
                <c:pt idx="2">
                  <c:v>43103</c:v>
                </c:pt>
                <c:pt idx="3">
                  <c:v>43104</c:v>
                </c:pt>
                <c:pt idx="4">
                  <c:v>43105</c:v>
                </c:pt>
                <c:pt idx="5">
                  <c:v>43108</c:v>
                </c:pt>
                <c:pt idx="6">
                  <c:v>43109</c:v>
                </c:pt>
                <c:pt idx="7">
                  <c:v>43110</c:v>
                </c:pt>
                <c:pt idx="8">
                  <c:v>43111</c:v>
                </c:pt>
                <c:pt idx="9">
                  <c:v>43112</c:v>
                </c:pt>
                <c:pt idx="10">
                  <c:v>43115</c:v>
                </c:pt>
                <c:pt idx="11">
                  <c:v>43116</c:v>
                </c:pt>
                <c:pt idx="12">
                  <c:v>43117</c:v>
                </c:pt>
                <c:pt idx="13">
                  <c:v>43118</c:v>
                </c:pt>
                <c:pt idx="14">
                  <c:v>43119</c:v>
                </c:pt>
                <c:pt idx="15">
                  <c:v>43122</c:v>
                </c:pt>
                <c:pt idx="16">
                  <c:v>43123</c:v>
                </c:pt>
                <c:pt idx="17">
                  <c:v>43124</c:v>
                </c:pt>
                <c:pt idx="18">
                  <c:v>43125</c:v>
                </c:pt>
                <c:pt idx="19">
                  <c:v>43126</c:v>
                </c:pt>
                <c:pt idx="20">
                  <c:v>43129</c:v>
                </c:pt>
                <c:pt idx="21">
                  <c:v>43130</c:v>
                </c:pt>
                <c:pt idx="22">
                  <c:v>43131</c:v>
                </c:pt>
                <c:pt idx="23">
                  <c:v>43132</c:v>
                </c:pt>
                <c:pt idx="24">
                  <c:v>43133</c:v>
                </c:pt>
                <c:pt idx="25">
                  <c:v>43136</c:v>
                </c:pt>
                <c:pt idx="26">
                  <c:v>43137</c:v>
                </c:pt>
                <c:pt idx="27">
                  <c:v>43138</c:v>
                </c:pt>
                <c:pt idx="28">
                  <c:v>43139</c:v>
                </c:pt>
                <c:pt idx="29">
                  <c:v>43140</c:v>
                </c:pt>
                <c:pt idx="30">
                  <c:v>43143</c:v>
                </c:pt>
                <c:pt idx="31">
                  <c:v>43144</c:v>
                </c:pt>
                <c:pt idx="32">
                  <c:v>43145</c:v>
                </c:pt>
                <c:pt idx="33">
                  <c:v>43146</c:v>
                </c:pt>
                <c:pt idx="34">
                  <c:v>43147</c:v>
                </c:pt>
                <c:pt idx="35">
                  <c:v>43150</c:v>
                </c:pt>
                <c:pt idx="36">
                  <c:v>43151</c:v>
                </c:pt>
                <c:pt idx="37">
                  <c:v>43152</c:v>
                </c:pt>
                <c:pt idx="38">
                  <c:v>43153</c:v>
                </c:pt>
                <c:pt idx="39">
                  <c:v>43154</c:v>
                </c:pt>
                <c:pt idx="40">
                  <c:v>43157</c:v>
                </c:pt>
                <c:pt idx="41">
                  <c:v>43158</c:v>
                </c:pt>
                <c:pt idx="42">
                  <c:v>43159</c:v>
                </c:pt>
                <c:pt idx="43">
                  <c:v>43160</c:v>
                </c:pt>
                <c:pt idx="44">
                  <c:v>43161</c:v>
                </c:pt>
                <c:pt idx="45">
                  <c:v>43164</c:v>
                </c:pt>
                <c:pt idx="46">
                  <c:v>43165</c:v>
                </c:pt>
                <c:pt idx="47">
                  <c:v>43166</c:v>
                </c:pt>
                <c:pt idx="48">
                  <c:v>43167</c:v>
                </c:pt>
                <c:pt idx="49">
                  <c:v>43168</c:v>
                </c:pt>
                <c:pt idx="50">
                  <c:v>43171</c:v>
                </c:pt>
                <c:pt idx="51">
                  <c:v>43172</c:v>
                </c:pt>
                <c:pt idx="52">
                  <c:v>43173</c:v>
                </c:pt>
                <c:pt idx="53">
                  <c:v>43174</c:v>
                </c:pt>
                <c:pt idx="54">
                  <c:v>43175</c:v>
                </c:pt>
                <c:pt idx="55">
                  <c:v>43178</c:v>
                </c:pt>
                <c:pt idx="56">
                  <c:v>43179</c:v>
                </c:pt>
                <c:pt idx="57">
                  <c:v>43180</c:v>
                </c:pt>
                <c:pt idx="58">
                  <c:v>43181</c:v>
                </c:pt>
                <c:pt idx="59">
                  <c:v>43182</c:v>
                </c:pt>
                <c:pt idx="60">
                  <c:v>43185</c:v>
                </c:pt>
                <c:pt idx="61">
                  <c:v>43186</c:v>
                </c:pt>
                <c:pt idx="62">
                  <c:v>43187</c:v>
                </c:pt>
                <c:pt idx="63">
                  <c:v>43188</c:v>
                </c:pt>
                <c:pt idx="64">
                  <c:v>43189</c:v>
                </c:pt>
                <c:pt idx="65">
                  <c:v>43192</c:v>
                </c:pt>
                <c:pt idx="66">
                  <c:v>43193</c:v>
                </c:pt>
                <c:pt idx="67">
                  <c:v>43194</c:v>
                </c:pt>
                <c:pt idx="68">
                  <c:v>43195</c:v>
                </c:pt>
                <c:pt idx="69">
                  <c:v>43196</c:v>
                </c:pt>
                <c:pt idx="70">
                  <c:v>43199</c:v>
                </c:pt>
                <c:pt idx="71">
                  <c:v>43200</c:v>
                </c:pt>
                <c:pt idx="72">
                  <c:v>43201</c:v>
                </c:pt>
                <c:pt idx="73">
                  <c:v>43202</c:v>
                </c:pt>
                <c:pt idx="74">
                  <c:v>43203</c:v>
                </c:pt>
                <c:pt idx="75">
                  <c:v>43206</c:v>
                </c:pt>
                <c:pt idx="76">
                  <c:v>43207</c:v>
                </c:pt>
                <c:pt idx="77">
                  <c:v>43208</c:v>
                </c:pt>
                <c:pt idx="78">
                  <c:v>43209</c:v>
                </c:pt>
                <c:pt idx="79">
                  <c:v>43210</c:v>
                </c:pt>
                <c:pt idx="80">
                  <c:v>43213</c:v>
                </c:pt>
                <c:pt idx="81">
                  <c:v>43214</c:v>
                </c:pt>
                <c:pt idx="82">
                  <c:v>43215</c:v>
                </c:pt>
                <c:pt idx="83">
                  <c:v>43216</c:v>
                </c:pt>
                <c:pt idx="84">
                  <c:v>43217</c:v>
                </c:pt>
                <c:pt idx="85">
                  <c:v>43220</c:v>
                </c:pt>
                <c:pt idx="86">
                  <c:v>43221</c:v>
                </c:pt>
                <c:pt idx="87">
                  <c:v>43222</c:v>
                </c:pt>
                <c:pt idx="88">
                  <c:v>43223</c:v>
                </c:pt>
                <c:pt idx="89">
                  <c:v>43224</c:v>
                </c:pt>
                <c:pt idx="90">
                  <c:v>43227</c:v>
                </c:pt>
                <c:pt idx="91">
                  <c:v>43228</c:v>
                </c:pt>
                <c:pt idx="92">
                  <c:v>43229</c:v>
                </c:pt>
                <c:pt idx="93">
                  <c:v>43230</c:v>
                </c:pt>
                <c:pt idx="94">
                  <c:v>43231</c:v>
                </c:pt>
                <c:pt idx="95">
                  <c:v>43234</c:v>
                </c:pt>
                <c:pt idx="96">
                  <c:v>43235</c:v>
                </c:pt>
                <c:pt idx="97">
                  <c:v>43236</c:v>
                </c:pt>
                <c:pt idx="98">
                  <c:v>43237</c:v>
                </c:pt>
                <c:pt idx="99">
                  <c:v>43238</c:v>
                </c:pt>
                <c:pt idx="100">
                  <c:v>43241</c:v>
                </c:pt>
                <c:pt idx="101">
                  <c:v>43242</c:v>
                </c:pt>
                <c:pt idx="102">
                  <c:v>43243</c:v>
                </c:pt>
                <c:pt idx="103">
                  <c:v>43244</c:v>
                </c:pt>
                <c:pt idx="104">
                  <c:v>43245</c:v>
                </c:pt>
                <c:pt idx="105">
                  <c:v>43248</c:v>
                </c:pt>
                <c:pt idx="106">
                  <c:v>43249</c:v>
                </c:pt>
                <c:pt idx="107">
                  <c:v>43250</c:v>
                </c:pt>
                <c:pt idx="108">
                  <c:v>43251</c:v>
                </c:pt>
                <c:pt idx="109">
                  <c:v>43252</c:v>
                </c:pt>
                <c:pt idx="110">
                  <c:v>43255</c:v>
                </c:pt>
                <c:pt idx="111">
                  <c:v>43256</c:v>
                </c:pt>
                <c:pt idx="112">
                  <c:v>43257</c:v>
                </c:pt>
                <c:pt idx="113">
                  <c:v>43258</c:v>
                </c:pt>
                <c:pt idx="114">
                  <c:v>43259</c:v>
                </c:pt>
                <c:pt idx="115">
                  <c:v>43262</c:v>
                </c:pt>
                <c:pt idx="116">
                  <c:v>43263</c:v>
                </c:pt>
                <c:pt idx="117">
                  <c:v>43264</c:v>
                </c:pt>
                <c:pt idx="118">
                  <c:v>43265</c:v>
                </c:pt>
                <c:pt idx="119">
                  <c:v>43266</c:v>
                </c:pt>
                <c:pt idx="120">
                  <c:v>43269</c:v>
                </c:pt>
                <c:pt idx="121">
                  <c:v>43270</c:v>
                </c:pt>
                <c:pt idx="122">
                  <c:v>43271</c:v>
                </c:pt>
                <c:pt idx="123">
                  <c:v>43272</c:v>
                </c:pt>
                <c:pt idx="124">
                  <c:v>43273</c:v>
                </c:pt>
                <c:pt idx="125">
                  <c:v>43276</c:v>
                </c:pt>
                <c:pt idx="126">
                  <c:v>43277</c:v>
                </c:pt>
                <c:pt idx="127">
                  <c:v>43278</c:v>
                </c:pt>
                <c:pt idx="128">
                  <c:v>43279</c:v>
                </c:pt>
                <c:pt idx="129">
                  <c:v>43280</c:v>
                </c:pt>
                <c:pt idx="130">
                  <c:v>43283</c:v>
                </c:pt>
                <c:pt idx="131">
                  <c:v>43284</c:v>
                </c:pt>
                <c:pt idx="132">
                  <c:v>43285</c:v>
                </c:pt>
                <c:pt idx="133">
                  <c:v>43286</c:v>
                </c:pt>
                <c:pt idx="134">
                  <c:v>43287</c:v>
                </c:pt>
                <c:pt idx="135">
                  <c:v>43290</c:v>
                </c:pt>
                <c:pt idx="136">
                  <c:v>43291</c:v>
                </c:pt>
                <c:pt idx="137">
                  <c:v>43292</c:v>
                </c:pt>
                <c:pt idx="138">
                  <c:v>43293</c:v>
                </c:pt>
                <c:pt idx="139">
                  <c:v>43294</c:v>
                </c:pt>
                <c:pt idx="140">
                  <c:v>43297</c:v>
                </c:pt>
                <c:pt idx="141">
                  <c:v>43298</c:v>
                </c:pt>
                <c:pt idx="142">
                  <c:v>43299</c:v>
                </c:pt>
                <c:pt idx="143">
                  <c:v>43300</c:v>
                </c:pt>
                <c:pt idx="144">
                  <c:v>43301</c:v>
                </c:pt>
                <c:pt idx="145">
                  <c:v>43304</c:v>
                </c:pt>
                <c:pt idx="146">
                  <c:v>43305</c:v>
                </c:pt>
                <c:pt idx="147">
                  <c:v>43306</c:v>
                </c:pt>
                <c:pt idx="148">
                  <c:v>43307</c:v>
                </c:pt>
                <c:pt idx="149">
                  <c:v>43308</c:v>
                </c:pt>
                <c:pt idx="150">
                  <c:v>43311</c:v>
                </c:pt>
                <c:pt idx="151">
                  <c:v>43312</c:v>
                </c:pt>
                <c:pt idx="152">
                  <c:v>43313</c:v>
                </c:pt>
                <c:pt idx="153">
                  <c:v>43314</c:v>
                </c:pt>
                <c:pt idx="154">
                  <c:v>43315</c:v>
                </c:pt>
                <c:pt idx="155">
                  <c:v>43318</c:v>
                </c:pt>
                <c:pt idx="156">
                  <c:v>43319</c:v>
                </c:pt>
                <c:pt idx="157">
                  <c:v>43320</c:v>
                </c:pt>
                <c:pt idx="158">
                  <c:v>43321</c:v>
                </c:pt>
                <c:pt idx="159">
                  <c:v>43322</c:v>
                </c:pt>
                <c:pt idx="160">
                  <c:v>43325</c:v>
                </c:pt>
                <c:pt idx="161">
                  <c:v>43326</c:v>
                </c:pt>
                <c:pt idx="162">
                  <c:v>43327</c:v>
                </c:pt>
                <c:pt idx="163">
                  <c:v>43328</c:v>
                </c:pt>
                <c:pt idx="164">
                  <c:v>43329</c:v>
                </c:pt>
                <c:pt idx="165">
                  <c:v>43332</c:v>
                </c:pt>
                <c:pt idx="166">
                  <c:v>43333</c:v>
                </c:pt>
                <c:pt idx="167">
                  <c:v>43334</c:v>
                </c:pt>
                <c:pt idx="168">
                  <c:v>43335</c:v>
                </c:pt>
                <c:pt idx="169">
                  <c:v>43336</c:v>
                </c:pt>
                <c:pt idx="170">
                  <c:v>43339</c:v>
                </c:pt>
                <c:pt idx="171">
                  <c:v>43340</c:v>
                </c:pt>
                <c:pt idx="172">
                  <c:v>43341</c:v>
                </c:pt>
                <c:pt idx="173">
                  <c:v>43342</c:v>
                </c:pt>
                <c:pt idx="174">
                  <c:v>43343</c:v>
                </c:pt>
                <c:pt idx="175">
                  <c:v>43346</c:v>
                </c:pt>
                <c:pt idx="176">
                  <c:v>43347</c:v>
                </c:pt>
                <c:pt idx="177">
                  <c:v>43348</c:v>
                </c:pt>
                <c:pt idx="178">
                  <c:v>43349</c:v>
                </c:pt>
                <c:pt idx="179">
                  <c:v>43350</c:v>
                </c:pt>
                <c:pt idx="180">
                  <c:v>43353</c:v>
                </c:pt>
                <c:pt idx="181">
                  <c:v>43354</c:v>
                </c:pt>
                <c:pt idx="182">
                  <c:v>43355</c:v>
                </c:pt>
                <c:pt idx="183">
                  <c:v>43356</c:v>
                </c:pt>
                <c:pt idx="184">
                  <c:v>43357</c:v>
                </c:pt>
                <c:pt idx="185">
                  <c:v>43360</c:v>
                </c:pt>
                <c:pt idx="186">
                  <c:v>43361</c:v>
                </c:pt>
                <c:pt idx="187">
                  <c:v>43362</c:v>
                </c:pt>
                <c:pt idx="188">
                  <c:v>43363</c:v>
                </c:pt>
                <c:pt idx="189">
                  <c:v>43364</c:v>
                </c:pt>
                <c:pt idx="190">
                  <c:v>43367</c:v>
                </c:pt>
                <c:pt idx="191">
                  <c:v>43368</c:v>
                </c:pt>
                <c:pt idx="192">
                  <c:v>43369</c:v>
                </c:pt>
                <c:pt idx="193">
                  <c:v>43370</c:v>
                </c:pt>
                <c:pt idx="194">
                  <c:v>43371</c:v>
                </c:pt>
                <c:pt idx="195">
                  <c:v>43374</c:v>
                </c:pt>
                <c:pt idx="196">
                  <c:v>43375</c:v>
                </c:pt>
                <c:pt idx="197">
                  <c:v>43376</c:v>
                </c:pt>
                <c:pt idx="198">
                  <c:v>43377</c:v>
                </c:pt>
                <c:pt idx="199">
                  <c:v>43378</c:v>
                </c:pt>
                <c:pt idx="200">
                  <c:v>43381</c:v>
                </c:pt>
                <c:pt idx="201">
                  <c:v>43382</c:v>
                </c:pt>
                <c:pt idx="202">
                  <c:v>43383</c:v>
                </c:pt>
                <c:pt idx="203">
                  <c:v>43384</c:v>
                </c:pt>
                <c:pt idx="204">
                  <c:v>43385</c:v>
                </c:pt>
                <c:pt idx="205">
                  <c:v>43388</c:v>
                </c:pt>
                <c:pt idx="206">
                  <c:v>43389</c:v>
                </c:pt>
                <c:pt idx="207">
                  <c:v>43390</c:v>
                </c:pt>
                <c:pt idx="208">
                  <c:v>43391</c:v>
                </c:pt>
                <c:pt idx="209">
                  <c:v>43392</c:v>
                </c:pt>
                <c:pt idx="210">
                  <c:v>43395</c:v>
                </c:pt>
                <c:pt idx="211">
                  <c:v>43396</c:v>
                </c:pt>
                <c:pt idx="212">
                  <c:v>43397</c:v>
                </c:pt>
                <c:pt idx="213">
                  <c:v>43398</c:v>
                </c:pt>
                <c:pt idx="214">
                  <c:v>43399</c:v>
                </c:pt>
                <c:pt idx="215">
                  <c:v>43402</c:v>
                </c:pt>
                <c:pt idx="216">
                  <c:v>43403</c:v>
                </c:pt>
                <c:pt idx="217">
                  <c:v>43404</c:v>
                </c:pt>
                <c:pt idx="218">
                  <c:v>43405</c:v>
                </c:pt>
                <c:pt idx="219">
                  <c:v>43406</c:v>
                </c:pt>
                <c:pt idx="220">
                  <c:v>43409</c:v>
                </c:pt>
                <c:pt idx="221">
                  <c:v>43410</c:v>
                </c:pt>
                <c:pt idx="222">
                  <c:v>43411</c:v>
                </c:pt>
                <c:pt idx="223">
                  <c:v>43412</c:v>
                </c:pt>
                <c:pt idx="224">
                  <c:v>43413</c:v>
                </c:pt>
                <c:pt idx="225">
                  <c:v>43416</c:v>
                </c:pt>
                <c:pt idx="226">
                  <c:v>43417</c:v>
                </c:pt>
                <c:pt idx="227">
                  <c:v>43418</c:v>
                </c:pt>
                <c:pt idx="228">
                  <c:v>43419</c:v>
                </c:pt>
                <c:pt idx="229">
                  <c:v>43420</c:v>
                </c:pt>
                <c:pt idx="230">
                  <c:v>43423</c:v>
                </c:pt>
                <c:pt idx="231">
                  <c:v>43424</c:v>
                </c:pt>
                <c:pt idx="232">
                  <c:v>43425</c:v>
                </c:pt>
                <c:pt idx="233">
                  <c:v>43426</c:v>
                </c:pt>
                <c:pt idx="234">
                  <c:v>43427</c:v>
                </c:pt>
                <c:pt idx="235">
                  <c:v>43430</c:v>
                </c:pt>
                <c:pt idx="236">
                  <c:v>43431</c:v>
                </c:pt>
                <c:pt idx="237">
                  <c:v>43432</c:v>
                </c:pt>
                <c:pt idx="238">
                  <c:v>43433</c:v>
                </c:pt>
                <c:pt idx="239">
                  <c:v>43434</c:v>
                </c:pt>
                <c:pt idx="240">
                  <c:v>43437</c:v>
                </c:pt>
                <c:pt idx="241">
                  <c:v>43438</c:v>
                </c:pt>
                <c:pt idx="242">
                  <c:v>43439</c:v>
                </c:pt>
                <c:pt idx="243">
                  <c:v>43440</c:v>
                </c:pt>
                <c:pt idx="244">
                  <c:v>43441</c:v>
                </c:pt>
                <c:pt idx="245">
                  <c:v>43444</c:v>
                </c:pt>
                <c:pt idx="246">
                  <c:v>43445</c:v>
                </c:pt>
                <c:pt idx="247">
                  <c:v>43446</c:v>
                </c:pt>
                <c:pt idx="248">
                  <c:v>43447</c:v>
                </c:pt>
                <c:pt idx="249">
                  <c:v>43448</c:v>
                </c:pt>
                <c:pt idx="250">
                  <c:v>43451</c:v>
                </c:pt>
                <c:pt idx="251">
                  <c:v>43452</c:v>
                </c:pt>
                <c:pt idx="252">
                  <c:v>43453</c:v>
                </c:pt>
                <c:pt idx="253">
                  <c:v>43454</c:v>
                </c:pt>
                <c:pt idx="254">
                  <c:v>43455</c:v>
                </c:pt>
                <c:pt idx="255">
                  <c:v>43458</c:v>
                </c:pt>
                <c:pt idx="256">
                  <c:v>43459</c:v>
                </c:pt>
                <c:pt idx="257">
                  <c:v>43460</c:v>
                </c:pt>
                <c:pt idx="258">
                  <c:v>43461</c:v>
                </c:pt>
                <c:pt idx="259">
                  <c:v>43462</c:v>
                </c:pt>
                <c:pt idx="260">
                  <c:v>43465</c:v>
                </c:pt>
                <c:pt idx="261">
                  <c:v>43466</c:v>
                </c:pt>
                <c:pt idx="262">
                  <c:v>43467</c:v>
                </c:pt>
                <c:pt idx="263">
                  <c:v>43468</c:v>
                </c:pt>
                <c:pt idx="264">
                  <c:v>43469</c:v>
                </c:pt>
                <c:pt idx="265">
                  <c:v>43472</c:v>
                </c:pt>
                <c:pt idx="266">
                  <c:v>43473</c:v>
                </c:pt>
                <c:pt idx="267">
                  <c:v>43474</c:v>
                </c:pt>
                <c:pt idx="268">
                  <c:v>43475</c:v>
                </c:pt>
                <c:pt idx="269">
                  <c:v>43476</c:v>
                </c:pt>
                <c:pt idx="270">
                  <c:v>43479</c:v>
                </c:pt>
                <c:pt idx="271">
                  <c:v>43480</c:v>
                </c:pt>
                <c:pt idx="272">
                  <c:v>43481</c:v>
                </c:pt>
                <c:pt idx="273">
                  <c:v>43482</c:v>
                </c:pt>
                <c:pt idx="274">
                  <c:v>43483</c:v>
                </c:pt>
                <c:pt idx="275">
                  <c:v>43486</c:v>
                </c:pt>
                <c:pt idx="276">
                  <c:v>43487</c:v>
                </c:pt>
                <c:pt idx="277">
                  <c:v>43488</c:v>
                </c:pt>
                <c:pt idx="278">
                  <c:v>43489</c:v>
                </c:pt>
                <c:pt idx="279">
                  <c:v>43490</c:v>
                </c:pt>
                <c:pt idx="280">
                  <c:v>43493</c:v>
                </c:pt>
                <c:pt idx="281">
                  <c:v>43494</c:v>
                </c:pt>
                <c:pt idx="282">
                  <c:v>43495</c:v>
                </c:pt>
                <c:pt idx="283">
                  <c:v>43496</c:v>
                </c:pt>
                <c:pt idx="284">
                  <c:v>43497</c:v>
                </c:pt>
                <c:pt idx="285">
                  <c:v>43500</c:v>
                </c:pt>
                <c:pt idx="286">
                  <c:v>43501</c:v>
                </c:pt>
                <c:pt idx="287">
                  <c:v>43502</c:v>
                </c:pt>
                <c:pt idx="288">
                  <c:v>43503</c:v>
                </c:pt>
                <c:pt idx="289">
                  <c:v>43504</c:v>
                </c:pt>
                <c:pt idx="290">
                  <c:v>43507</c:v>
                </c:pt>
                <c:pt idx="291">
                  <c:v>43508</c:v>
                </c:pt>
                <c:pt idx="292">
                  <c:v>43509</c:v>
                </c:pt>
                <c:pt idx="293">
                  <c:v>43510</c:v>
                </c:pt>
                <c:pt idx="294">
                  <c:v>43511</c:v>
                </c:pt>
                <c:pt idx="295">
                  <c:v>43514</c:v>
                </c:pt>
                <c:pt idx="296">
                  <c:v>43515</c:v>
                </c:pt>
                <c:pt idx="297">
                  <c:v>43516</c:v>
                </c:pt>
                <c:pt idx="298">
                  <c:v>43517</c:v>
                </c:pt>
                <c:pt idx="299">
                  <c:v>43518</c:v>
                </c:pt>
                <c:pt idx="300">
                  <c:v>43521</c:v>
                </c:pt>
                <c:pt idx="301">
                  <c:v>43522</c:v>
                </c:pt>
                <c:pt idx="302">
                  <c:v>43523</c:v>
                </c:pt>
                <c:pt idx="303">
                  <c:v>43524</c:v>
                </c:pt>
                <c:pt idx="304">
                  <c:v>43525</c:v>
                </c:pt>
                <c:pt idx="305">
                  <c:v>43528</c:v>
                </c:pt>
                <c:pt idx="306">
                  <c:v>43529</c:v>
                </c:pt>
                <c:pt idx="307">
                  <c:v>43530</c:v>
                </c:pt>
                <c:pt idx="308">
                  <c:v>43531</c:v>
                </c:pt>
                <c:pt idx="309">
                  <c:v>43532</c:v>
                </c:pt>
                <c:pt idx="310">
                  <c:v>43535</c:v>
                </c:pt>
                <c:pt idx="311">
                  <c:v>43536</c:v>
                </c:pt>
                <c:pt idx="312">
                  <c:v>43537</c:v>
                </c:pt>
                <c:pt idx="313">
                  <c:v>43538</c:v>
                </c:pt>
                <c:pt idx="314">
                  <c:v>43539</c:v>
                </c:pt>
                <c:pt idx="315">
                  <c:v>43542</c:v>
                </c:pt>
                <c:pt idx="316">
                  <c:v>43543</c:v>
                </c:pt>
                <c:pt idx="317">
                  <c:v>43544</c:v>
                </c:pt>
                <c:pt idx="318">
                  <c:v>43545</c:v>
                </c:pt>
                <c:pt idx="319">
                  <c:v>43546</c:v>
                </c:pt>
                <c:pt idx="320">
                  <c:v>43549</c:v>
                </c:pt>
                <c:pt idx="321">
                  <c:v>43550</c:v>
                </c:pt>
                <c:pt idx="322">
                  <c:v>43551</c:v>
                </c:pt>
                <c:pt idx="323">
                  <c:v>43552</c:v>
                </c:pt>
                <c:pt idx="324">
                  <c:v>43553</c:v>
                </c:pt>
                <c:pt idx="325">
                  <c:v>43556</c:v>
                </c:pt>
                <c:pt idx="326">
                  <c:v>43557</c:v>
                </c:pt>
                <c:pt idx="327">
                  <c:v>43558</c:v>
                </c:pt>
                <c:pt idx="328">
                  <c:v>43559</c:v>
                </c:pt>
                <c:pt idx="329">
                  <c:v>43560</c:v>
                </c:pt>
                <c:pt idx="330">
                  <c:v>43563</c:v>
                </c:pt>
                <c:pt idx="331">
                  <c:v>43564</c:v>
                </c:pt>
                <c:pt idx="332">
                  <c:v>43565</c:v>
                </c:pt>
                <c:pt idx="333">
                  <c:v>43566</c:v>
                </c:pt>
                <c:pt idx="334">
                  <c:v>43567</c:v>
                </c:pt>
                <c:pt idx="335">
                  <c:v>43570</c:v>
                </c:pt>
                <c:pt idx="336">
                  <c:v>43571</c:v>
                </c:pt>
                <c:pt idx="337">
                  <c:v>43572</c:v>
                </c:pt>
                <c:pt idx="338">
                  <c:v>43573</c:v>
                </c:pt>
                <c:pt idx="339">
                  <c:v>43574</c:v>
                </c:pt>
                <c:pt idx="340">
                  <c:v>43577</c:v>
                </c:pt>
                <c:pt idx="341">
                  <c:v>43578</c:v>
                </c:pt>
                <c:pt idx="342">
                  <c:v>43579</c:v>
                </c:pt>
                <c:pt idx="343">
                  <c:v>43580</c:v>
                </c:pt>
                <c:pt idx="344">
                  <c:v>43581</c:v>
                </c:pt>
                <c:pt idx="345">
                  <c:v>43584</c:v>
                </c:pt>
                <c:pt idx="346">
                  <c:v>43585</c:v>
                </c:pt>
                <c:pt idx="347">
                  <c:v>43586</c:v>
                </c:pt>
                <c:pt idx="348">
                  <c:v>43587</c:v>
                </c:pt>
                <c:pt idx="349">
                  <c:v>43588</c:v>
                </c:pt>
                <c:pt idx="350">
                  <c:v>43591</c:v>
                </c:pt>
                <c:pt idx="351">
                  <c:v>43592</c:v>
                </c:pt>
                <c:pt idx="352">
                  <c:v>43593</c:v>
                </c:pt>
                <c:pt idx="353">
                  <c:v>43594</c:v>
                </c:pt>
                <c:pt idx="354">
                  <c:v>43595</c:v>
                </c:pt>
                <c:pt idx="355">
                  <c:v>43598</c:v>
                </c:pt>
                <c:pt idx="356">
                  <c:v>43599</c:v>
                </c:pt>
                <c:pt idx="357">
                  <c:v>43600</c:v>
                </c:pt>
                <c:pt idx="358">
                  <c:v>43601</c:v>
                </c:pt>
                <c:pt idx="359">
                  <c:v>43602</c:v>
                </c:pt>
                <c:pt idx="360">
                  <c:v>43605</c:v>
                </c:pt>
                <c:pt idx="361">
                  <c:v>43606</c:v>
                </c:pt>
                <c:pt idx="362">
                  <c:v>43607</c:v>
                </c:pt>
                <c:pt idx="363">
                  <c:v>43608</c:v>
                </c:pt>
                <c:pt idx="364">
                  <c:v>43609</c:v>
                </c:pt>
                <c:pt idx="365">
                  <c:v>43612</c:v>
                </c:pt>
                <c:pt idx="366">
                  <c:v>43613</c:v>
                </c:pt>
                <c:pt idx="367">
                  <c:v>43614</c:v>
                </c:pt>
                <c:pt idx="368">
                  <c:v>43615</c:v>
                </c:pt>
                <c:pt idx="369">
                  <c:v>43616</c:v>
                </c:pt>
                <c:pt idx="370">
                  <c:v>43619</c:v>
                </c:pt>
                <c:pt idx="371">
                  <c:v>43620</c:v>
                </c:pt>
                <c:pt idx="372">
                  <c:v>43621</c:v>
                </c:pt>
                <c:pt idx="373">
                  <c:v>43622</c:v>
                </c:pt>
                <c:pt idx="374">
                  <c:v>43623</c:v>
                </c:pt>
                <c:pt idx="375">
                  <c:v>43626</c:v>
                </c:pt>
                <c:pt idx="376">
                  <c:v>43627</c:v>
                </c:pt>
                <c:pt idx="377">
                  <c:v>43628</c:v>
                </c:pt>
                <c:pt idx="378">
                  <c:v>43629</c:v>
                </c:pt>
                <c:pt idx="379">
                  <c:v>43630</c:v>
                </c:pt>
                <c:pt idx="380">
                  <c:v>43633</c:v>
                </c:pt>
                <c:pt idx="381">
                  <c:v>43634</c:v>
                </c:pt>
                <c:pt idx="382">
                  <c:v>43635</c:v>
                </c:pt>
                <c:pt idx="383">
                  <c:v>43636</c:v>
                </c:pt>
                <c:pt idx="384">
                  <c:v>43637</c:v>
                </c:pt>
                <c:pt idx="385">
                  <c:v>43640</c:v>
                </c:pt>
                <c:pt idx="386">
                  <c:v>43641</c:v>
                </c:pt>
                <c:pt idx="387">
                  <c:v>43642</c:v>
                </c:pt>
                <c:pt idx="388">
                  <c:v>43643</c:v>
                </c:pt>
                <c:pt idx="389">
                  <c:v>43644</c:v>
                </c:pt>
                <c:pt idx="390">
                  <c:v>43647</c:v>
                </c:pt>
                <c:pt idx="391">
                  <c:v>43648</c:v>
                </c:pt>
                <c:pt idx="392">
                  <c:v>43649</c:v>
                </c:pt>
                <c:pt idx="393">
                  <c:v>43650</c:v>
                </c:pt>
                <c:pt idx="394">
                  <c:v>43651</c:v>
                </c:pt>
                <c:pt idx="395">
                  <c:v>43654</c:v>
                </c:pt>
                <c:pt idx="396">
                  <c:v>43655</c:v>
                </c:pt>
                <c:pt idx="397">
                  <c:v>43656</c:v>
                </c:pt>
                <c:pt idx="398">
                  <c:v>43657</c:v>
                </c:pt>
                <c:pt idx="399">
                  <c:v>43658</c:v>
                </c:pt>
                <c:pt idx="400">
                  <c:v>43661</c:v>
                </c:pt>
                <c:pt idx="401">
                  <c:v>43662</c:v>
                </c:pt>
                <c:pt idx="402">
                  <c:v>43663</c:v>
                </c:pt>
                <c:pt idx="403">
                  <c:v>43664</c:v>
                </c:pt>
                <c:pt idx="404">
                  <c:v>43665</c:v>
                </c:pt>
                <c:pt idx="405">
                  <c:v>43668</c:v>
                </c:pt>
                <c:pt idx="406">
                  <c:v>43669</c:v>
                </c:pt>
                <c:pt idx="407">
                  <c:v>43670</c:v>
                </c:pt>
                <c:pt idx="408">
                  <c:v>43671</c:v>
                </c:pt>
                <c:pt idx="409">
                  <c:v>43672</c:v>
                </c:pt>
                <c:pt idx="410">
                  <c:v>43675</c:v>
                </c:pt>
                <c:pt idx="411">
                  <c:v>43676</c:v>
                </c:pt>
                <c:pt idx="412">
                  <c:v>43677</c:v>
                </c:pt>
                <c:pt idx="413">
                  <c:v>43678</c:v>
                </c:pt>
                <c:pt idx="414">
                  <c:v>43679</c:v>
                </c:pt>
                <c:pt idx="415">
                  <c:v>43682</c:v>
                </c:pt>
                <c:pt idx="416">
                  <c:v>43683</c:v>
                </c:pt>
                <c:pt idx="417">
                  <c:v>43684</c:v>
                </c:pt>
                <c:pt idx="418">
                  <c:v>43685</c:v>
                </c:pt>
                <c:pt idx="419">
                  <c:v>43686</c:v>
                </c:pt>
                <c:pt idx="420">
                  <c:v>43689</c:v>
                </c:pt>
                <c:pt idx="421">
                  <c:v>43690</c:v>
                </c:pt>
                <c:pt idx="422">
                  <c:v>43691</c:v>
                </c:pt>
                <c:pt idx="423">
                  <c:v>43692</c:v>
                </c:pt>
                <c:pt idx="424">
                  <c:v>43693</c:v>
                </c:pt>
                <c:pt idx="425">
                  <c:v>43696</c:v>
                </c:pt>
                <c:pt idx="426">
                  <c:v>43697</c:v>
                </c:pt>
                <c:pt idx="427">
                  <c:v>43698</c:v>
                </c:pt>
                <c:pt idx="428">
                  <c:v>43699</c:v>
                </c:pt>
                <c:pt idx="429">
                  <c:v>43700</c:v>
                </c:pt>
                <c:pt idx="430">
                  <c:v>43703</c:v>
                </c:pt>
                <c:pt idx="431">
                  <c:v>43704</c:v>
                </c:pt>
                <c:pt idx="432">
                  <c:v>43705</c:v>
                </c:pt>
                <c:pt idx="433">
                  <c:v>43706</c:v>
                </c:pt>
                <c:pt idx="434">
                  <c:v>43707</c:v>
                </c:pt>
                <c:pt idx="435">
                  <c:v>43710</c:v>
                </c:pt>
                <c:pt idx="436">
                  <c:v>43711</c:v>
                </c:pt>
                <c:pt idx="437">
                  <c:v>43712</c:v>
                </c:pt>
                <c:pt idx="438">
                  <c:v>43713</c:v>
                </c:pt>
                <c:pt idx="439">
                  <c:v>43714</c:v>
                </c:pt>
                <c:pt idx="440">
                  <c:v>43717</c:v>
                </c:pt>
                <c:pt idx="441">
                  <c:v>43718</c:v>
                </c:pt>
                <c:pt idx="442">
                  <c:v>43719</c:v>
                </c:pt>
                <c:pt idx="443">
                  <c:v>43720</c:v>
                </c:pt>
                <c:pt idx="444">
                  <c:v>43721</c:v>
                </c:pt>
                <c:pt idx="445">
                  <c:v>43724</c:v>
                </c:pt>
                <c:pt idx="446">
                  <c:v>43725</c:v>
                </c:pt>
                <c:pt idx="447">
                  <c:v>43726</c:v>
                </c:pt>
                <c:pt idx="448">
                  <c:v>43727</c:v>
                </c:pt>
                <c:pt idx="449">
                  <c:v>43728</c:v>
                </c:pt>
                <c:pt idx="450">
                  <c:v>43731</c:v>
                </c:pt>
                <c:pt idx="451">
                  <c:v>43732</c:v>
                </c:pt>
                <c:pt idx="452">
                  <c:v>43733</c:v>
                </c:pt>
                <c:pt idx="453">
                  <c:v>43734</c:v>
                </c:pt>
                <c:pt idx="454">
                  <c:v>43735</c:v>
                </c:pt>
                <c:pt idx="455">
                  <c:v>43738</c:v>
                </c:pt>
                <c:pt idx="456">
                  <c:v>43739</c:v>
                </c:pt>
                <c:pt idx="457">
                  <c:v>43740</c:v>
                </c:pt>
                <c:pt idx="458">
                  <c:v>43741</c:v>
                </c:pt>
                <c:pt idx="459">
                  <c:v>43742</c:v>
                </c:pt>
                <c:pt idx="460">
                  <c:v>43745</c:v>
                </c:pt>
                <c:pt idx="461">
                  <c:v>43746</c:v>
                </c:pt>
                <c:pt idx="462">
                  <c:v>43747</c:v>
                </c:pt>
                <c:pt idx="463">
                  <c:v>43748</c:v>
                </c:pt>
                <c:pt idx="464">
                  <c:v>43749</c:v>
                </c:pt>
                <c:pt idx="465">
                  <c:v>43752</c:v>
                </c:pt>
                <c:pt idx="466">
                  <c:v>43753</c:v>
                </c:pt>
                <c:pt idx="467">
                  <c:v>43754</c:v>
                </c:pt>
                <c:pt idx="468">
                  <c:v>43755</c:v>
                </c:pt>
                <c:pt idx="469">
                  <c:v>43756</c:v>
                </c:pt>
                <c:pt idx="470">
                  <c:v>43759</c:v>
                </c:pt>
                <c:pt idx="471">
                  <c:v>43760</c:v>
                </c:pt>
                <c:pt idx="472">
                  <c:v>43761</c:v>
                </c:pt>
                <c:pt idx="473">
                  <c:v>43762</c:v>
                </c:pt>
                <c:pt idx="474">
                  <c:v>43763</c:v>
                </c:pt>
                <c:pt idx="475">
                  <c:v>43766</c:v>
                </c:pt>
                <c:pt idx="476">
                  <c:v>43767</c:v>
                </c:pt>
                <c:pt idx="477">
                  <c:v>43768</c:v>
                </c:pt>
                <c:pt idx="478">
                  <c:v>43769</c:v>
                </c:pt>
                <c:pt idx="479">
                  <c:v>43770</c:v>
                </c:pt>
                <c:pt idx="480">
                  <c:v>43773</c:v>
                </c:pt>
                <c:pt idx="481">
                  <c:v>43774</c:v>
                </c:pt>
                <c:pt idx="482">
                  <c:v>43775</c:v>
                </c:pt>
                <c:pt idx="483">
                  <c:v>43776</c:v>
                </c:pt>
                <c:pt idx="484">
                  <c:v>43777</c:v>
                </c:pt>
                <c:pt idx="485">
                  <c:v>43780</c:v>
                </c:pt>
                <c:pt idx="486">
                  <c:v>43781</c:v>
                </c:pt>
                <c:pt idx="487">
                  <c:v>43782</c:v>
                </c:pt>
                <c:pt idx="488">
                  <c:v>43783</c:v>
                </c:pt>
                <c:pt idx="489">
                  <c:v>43784</c:v>
                </c:pt>
                <c:pt idx="490">
                  <c:v>43787</c:v>
                </c:pt>
                <c:pt idx="491">
                  <c:v>43788</c:v>
                </c:pt>
                <c:pt idx="492">
                  <c:v>43789</c:v>
                </c:pt>
                <c:pt idx="493">
                  <c:v>43790</c:v>
                </c:pt>
                <c:pt idx="494">
                  <c:v>43791</c:v>
                </c:pt>
                <c:pt idx="495">
                  <c:v>43794</c:v>
                </c:pt>
                <c:pt idx="496">
                  <c:v>43795</c:v>
                </c:pt>
                <c:pt idx="497">
                  <c:v>43796</c:v>
                </c:pt>
                <c:pt idx="498">
                  <c:v>43797</c:v>
                </c:pt>
                <c:pt idx="499">
                  <c:v>43798</c:v>
                </c:pt>
                <c:pt idx="500">
                  <c:v>43801</c:v>
                </c:pt>
                <c:pt idx="501">
                  <c:v>43802</c:v>
                </c:pt>
                <c:pt idx="502">
                  <c:v>43803</c:v>
                </c:pt>
                <c:pt idx="503">
                  <c:v>43804</c:v>
                </c:pt>
                <c:pt idx="504">
                  <c:v>43805</c:v>
                </c:pt>
                <c:pt idx="505">
                  <c:v>43808</c:v>
                </c:pt>
                <c:pt idx="506">
                  <c:v>43809</c:v>
                </c:pt>
                <c:pt idx="507">
                  <c:v>43810</c:v>
                </c:pt>
                <c:pt idx="508">
                  <c:v>43811</c:v>
                </c:pt>
                <c:pt idx="509">
                  <c:v>43812</c:v>
                </c:pt>
                <c:pt idx="510">
                  <c:v>43815</c:v>
                </c:pt>
                <c:pt idx="511">
                  <c:v>43816</c:v>
                </c:pt>
                <c:pt idx="512">
                  <c:v>43817</c:v>
                </c:pt>
                <c:pt idx="513">
                  <c:v>43818</c:v>
                </c:pt>
                <c:pt idx="514">
                  <c:v>43819</c:v>
                </c:pt>
                <c:pt idx="515">
                  <c:v>43822</c:v>
                </c:pt>
                <c:pt idx="516">
                  <c:v>43823</c:v>
                </c:pt>
                <c:pt idx="517">
                  <c:v>43824</c:v>
                </c:pt>
                <c:pt idx="518">
                  <c:v>43825</c:v>
                </c:pt>
                <c:pt idx="519">
                  <c:v>43826</c:v>
                </c:pt>
                <c:pt idx="520">
                  <c:v>43829</c:v>
                </c:pt>
                <c:pt idx="521">
                  <c:v>43830</c:v>
                </c:pt>
                <c:pt idx="522">
                  <c:v>43831</c:v>
                </c:pt>
                <c:pt idx="523">
                  <c:v>43832</c:v>
                </c:pt>
                <c:pt idx="524">
                  <c:v>43833</c:v>
                </c:pt>
                <c:pt idx="525">
                  <c:v>43836</c:v>
                </c:pt>
                <c:pt idx="526">
                  <c:v>43837</c:v>
                </c:pt>
                <c:pt idx="527">
                  <c:v>43838</c:v>
                </c:pt>
                <c:pt idx="528">
                  <c:v>43839</c:v>
                </c:pt>
                <c:pt idx="529">
                  <c:v>43840</c:v>
                </c:pt>
                <c:pt idx="530">
                  <c:v>43843</c:v>
                </c:pt>
                <c:pt idx="531">
                  <c:v>43844</c:v>
                </c:pt>
                <c:pt idx="532">
                  <c:v>43845</c:v>
                </c:pt>
                <c:pt idx="533">
                  <c:v>43846</c:v>
                </c:pt>
                <c:pt idx="534">
                  <c:v>43847</c:v>
                </c:pt>
                <c:pt idx="535">
                  <c:v>43850</c:v>
                </c:pt>
                <c:pt idx="536">
                  <c:v>43851</c:v>
                </c:pt>
                <c:pt idx="537">
                  <c:v>43852</c:v>
                </c:pt>
                <c:pt idx="538">
                  <c:v>43853</c:v>
                </c:pt>
                <c:pt idx="539">
                  <c:v>43854</c:v>
                </c:pt>
                <c:pt idx="540">
                  <c:v>43857</c:v>
                </c:pt>
                <c:pt idx="541">
                  <c:v>43858</c:v>
                </c:pt>
                <c:pt idx="542">
                  <c:v>43859</c:v>
                </c:pt>
                <c:pt idx="543">
                  <c:v>43860</c:v>
                </c:pt>
                <c:pt idx="544">
                  <c:v>43861</c:v>
                </c:pt>
                <c:pt idx="545">
                  <c:v>43864</c:v>
                </c:pt>
                <c:pt idx="546">
                  <c:v>43865</c:v>
                </c:pt>
                <c:pt idx="547">
                  <c:v>43866</c:v>
                </c:pt>
                <c:pt idx="548">
                  <c:v>43867</c:v>
                </c:pt>
                <c:pt idx="549">
                  <c:v>43868</c:v>
                </c:pt>
                <c:pt idx="550">
                  <c:v>43871</c:v>
                </c:pt>
                <c:pt idx="551">
                  <c:v>43872</c:v>
                </c:pt>
                <c:pt idx="552">
                  <c:v>43873</c:v>
                </c:pt>
                <c:pt idx="553">
                  <c:v>43874</c:v>
                </c:pt>
                <c:pt idx="554">
                  <c:v>43875</c:v>
                </c:pt>
                <c:pt idx="555">
                  <c:v>43878</c:v>
                </c:pt>
                <c:pt idx="556">
                  <c:v>43879</c:v>
                </c:pt>
                <c:pt idx="557">
                  <c:v>43880</c:v>
                </c:pt>
                <c:pt idx="558">
                  <c:v>43881</c:v>
                </c:pt>
                <c:pt idx="559">
                  <c:v>43882</c:v>
                </c:pt>
                <c:pt idx="560">
                  <c:v>43885</c:v>
                </c:pt>
                <c:pt idx="561">
                  <c:v>43886</c:v>
                </c:pt>
                <c:pt idx="562">
                  <c:v>43887</c:v>
                </c:pt>
                <c:pt idx="563">
                  <c:v>43888</c:v>
                </c:pt>
                <c:pt idx="564">
                  <c:v>43889</c:v>
                </c:pt>
                <c:pt idx="565">
                  <c:v>43892</c:v>
                </c:pt>
                <c:pt idx="566">
                  <c:v>43893</c:v>
                </c:pt>
                <c:pt idx="567">
                  <c:v>43894</c:v>
                </c:pt>
                <c:pt idx="568">
                  <c:v>43895</c:v>
                </c:pt>
                <c:pt idx="569">
                  <c:v>43896</c:v>
                </c:pt>
                <c:pt idx="570">
                  <c:v>43899</c:v>
                </c:pt>
                <c:pt idx="571">
                  <c:v>43900</c:v>
                </c:pt>
                <c:pt idx="572">
                  <c:v>43901</c:v>
                </c:pt>
                <c:pt idx="573">
                  <c:v>43902</c:v>
                </c:pt>
                <c:pt idx="574">
                  <c:v>43903</c:v>
                </c:pt>
                <c:pt idx="575">
                  <c:v>43906</c:v>
                </c:pt>
                <c:pt idx="576">
                  <c:v>43907</c:v>
                </c:pt>
                <c:pt idx="577">
                  <c:v>43908</c:v>
                </c:pt>
                <c:pt idx="578">
                  <c:v>43909</c:v>
                </c:pt>
                <c:pt idx="579">
                  <c:v>43910</c:v>
                </c:pt>
                <c:pt idx="580">
                  <c:v>43913</c:v>
                </c:pt>
                <c:pt idx="581">
                  <c:v>43914</c:v>
                </c:pt>
                <c:pt idx="582">
                  <c:v>43915</c:v>
                </c:pt>
                <c:pt idx="583">
                  <c:v>43916</c:v>
                </c:pt>
                <c:pt idx="584">
                  <c:v>43917</c:v>
                </c:pt>
                <c:pt idx="585">
                  <c:v>43920</c:v>
                </c:pt>
                <c:pt idx="586">
                  <c:v>43921</c:v>
                </c:pt>
                <c:pt idx="587">
                  <c:v>43922</c:v>
                </c:pt>
                <c:pt idx="588">
                  <c:v>43923</c:v>
                </c:pt>
                <c:pt idx="589">
                  <c:v>43924</c:v>
                </c:pt>
                <c:pt idx="590">
                  <c:v>43927</c:v>
                </c:pt>
                <c:pt idx="591">
                  <c:v>43928</c:v>
                </c:pt>
                <c:pt idx="592">
                  <c:v>43929</c:v>
                </c:pt>
                <c:pt idx="593">
                  <c:v>43930</c:v>
                </c:pt>
                <c:pt idx="594">
                  <c:v>43931</c:v>
                </c:pt>
                <c:pt idx="595">
                  <c:v>43934</c:v>
                </c:pt>
                <c:pt idx="596">
                  <c:v>43935</c:v>
                </c:pt>
                <c:pt idx="597">
                  <c:v>43936</c:v>
                </c:pt>
                <c:pt idx="598">
                  <c:v>43937</c:v>
                </c:pt>
                <c:pt idx="599">
                  <c:v>43938</c:v>
                </c:pt>
                <c:pt idx="600">
                  <c:v>43941</c:v>
                </c:pt>
                <c:pt idx="601">
                  <c:v>43942</c:v>
                </c:pt>
                <c:pt idx="602">
                  <c:v>43943</c:v>
                </c:pt>
                <c:pt idx="603">
                  <c:v>43944</c:v>
                </c:pt>
                <c:pt idx="604">
                  <c:v>43945</c:v>
                </c:pt>
                <c:pt idx="605">
                  <c:v>43948</c:v>
                </c:pt>
                <c:pt idx="606">
                  <c:v>43949</c:v>
                </c:pt>
                <c:pt idx="607">
                  <c:v>43950</c:v>
                </c:pt>
                <c:pt idx="608">
                  <c:v>43951</c:v>
                </c:pt>
                <c:pt idx="609">
                  <c:v>43952</c:v>
                </c:pt>
                <c:pt idx="610">
                  <c:v>43955</c:v>
                </c:pt>
                <c:pt idx="611">
                  <c:v>43956</c:v>
                </c:pt>
                <c:pt idx="612">
                  <c:v>43957</c:v>
                </c:pt>
                <c:pt idx="613">
                  <c:v>43958</c:v>
                </c:pt>
                <c:pt idx="614">
                  <c:v>43959</c:v>
                </c:pt>
                <c:pt idx="615">
                  <c:v>43962</c:v>
                </c:pt>
                <c:pt idx="616">
                  <c:v>43963</c:v>
                </c:pt>
                <c:pt idx="617">
                  <c:v>43964</c:v>
                </c:pt>
                <c:pt idx="618">
                  <c:v>43965</c:v>
                </c:pt>
                <c:pt idx="619">
                  <c:v>43966</c:v>
                </c:pt>
                <c:pt idx="620">
                  <c:v>43969</c:v>
                </c:pt>
                <c:pt idx="621">
                  <c:v>43970</c:v>
                </c:pt>
                <c:pt idx="622">
                  <c:v>43971</c:v>
                </c:pt>
                <c:pt idx="623">
                  <c:v>43972</c:v>
                </c:pt>
                <c:pt idx="624">
                  <c:v>43973</c:v>
                </c:pt>
                <c:pt idx="625">
                  <c:v>43976</c:v>
                </c:pt>
                <c:pt idx="626">
                  <c:v>43977</c:v>
                </c:pt>
                <c:pt idx="627">
                  <c:v>43978</c:v>
                </c:pt>
                <c:pt idx="628">
                  <c:v>43979</c:v>
                </c:pt>
                <c:pt idx="629">
                  <c:v>43980</c:v>
                </c:pt>
                <c:pt idx="630">
                  <c:v>43983</c:v>
                </c:pt>
                <c:pt idx="631">
                  <c:v>43984</c:v>
                </c:pt>
                <c:pt idx="632">
                  <c:v>43985</c:v>
                </c:pt>
                <c:pt idx="633">
                  <c:v>43986</c:v>
                </c:pt>
                <c:pt idx="634">
                  <c:v>43987</c:v>
                </c:pt>
                <c:pt idx="635">
                  <c:v>43990</c:v>
                </c:pt>
                <c:pt idx="636">
                  <c:v>43991</c:v>
                </c:pt>
                <c:pt idx="637">
                  <c:v>43992</c:v>
                </c:pt>
                <c:pt idx="638">
                  <c:v>43993</c:v>
                </c:pt>
                <c:pt idx="639">
                  <c:v>43994</c:v>
                </c:pt>
                <c:pt idx="640">
                  <c:v>43997</c:v>
                </c:pt>
                <c:pt idx="641">
                  <c:v>43998</c:v>
                </c:pt>
                <c:pt idx="642">
                  <c:v>43999</c:v>
                </c:pt>
                <c:pt idx="643">
                  <c:v>44000</c:v>
                </c:pt>
                <c:pt idx="644">
                  <c:v>44001</c:v>
                </c:pt>
                <c:pt idx="645">
                  <c:v>44004</c:v>
                </c:pt>
                <c:pt idx="646">
                  <c:v>44005</c:v>
                </c:pt>
                <c:pt idx="647">
                  <c:v>44006</c:v>
                </c:pt>
                <c:pt idx="648">
                  <c:v>44007</c:v>
                </c:pt>
                <c:pt idx="649">
                  <c:v>44008</c:v>
                </c:pt>
                <c:pt idx="650">
                  <c:v>44011</c:v>
                </c:pt>
                <c:pt idx="651">
                  <c:v>44012</c:v>
                </c:pt>
                <c:pt idx="652">
                  <c:v>44013</c:v>
                </c:pt>
                <c:pt idx="653">
                  <c:v>44014</c:v>
                </c:pt>
                <c:pt idx="654">
                  <c:v>44015</c:v>
                </c:pt>
                <c:pt idx="655">
                  <c:v>44018</c:v>
                </c:pt>
                <c:pt idx="656">
                  <c:v>44019</c:v>
                </c:pt>
                <c:pt idx="657">
                  <c:v>44020</c:v>
                </c:pt>
                <c:pt idx="658">
                  <c:v>44021</c:v>
                </c:pt>
                <c:pt idx="659">
                  <c:v>44022</c:v>
                </c:pt>
                <c:pt idx="660">
                  <c:v>44025</c:v>
                </c:pt>
                <c:pt idx="661">
                  <c:v>44026</c:v>
                </c:pt>
                <c:pt idx="662">
                  <c:v>44027</c:v>
                </c:pt>
                <c:pt idx="663">
                  <c:v>44028</c:v>
                </c:pt>
                <c:pt idx="664">
                  <c:v>44029</c:v>
                </c:pt>
                <c:pt idx="665">
                  <c:v>44032</c:v>
                </c:pt>
                <c:pt idx="666">
                  <c:v>44033</c:v>
                </c:pt>
                <c:pt idx="667">
                  <c:v>44034</c:v>
                </c:pt>
                <c:pt idx="668">
                  <c:v>44035</c:v>
                </c:pt>
                <c:pt idx="669">
                  <c:v>44036</c:v>
                </c:pt>
                <c:pt idx="670">
                  <c:v>44039</c:v>
                </c:pt>
                <c:pt idx="671">
                  <c:v>44040</c:v>
                </c:pt>
                <c:pt idx="672">
                  <c:v>44041</c:v>
                </c:pt>
                <c:pt idx="673">
                  <c:v>44042</c:v>
                </c:pt>
                <c:pt idx="674">
                  <c:v>44043</c:v>
                </c:pt>
                <c:pt idx="675">
                  <c:v>44046</c:v>
                </c:pt>
                <c:pt idx="676">
                  <c:v>44047</c:v>
                </c:pt>
                <c:pt idx="677">
                  <c:v>44048</c:v>
                </c:pt>
                <c:pt idx="678">
                  <c:v>44049</c:v>
                </c:pt>
                <c:pt idx="679">
                  <c:v>44050</c:v>
                </c:pt>
                <c:pt idx="680">
                  <c:v>44053</c:v>
                </c:pt>
                <c:pt idx="681">
                  <c:v>44054</c:v>
                </c:pt>
                <c:pt idx="682">
                  <c:v>44055</c:v>
                </c:pt>
                <c:pt idx="683">
                  <c:v>44056</c:v>
                </c:pt>
                <c:pt idx="684">
                  <c:v>44057</c:v>
                </c:pt>
                <c:pt idx="685">
                  <c:v>44060</c:v>
                </c:pt>
                <c:pt idx="686">
                  <c:v>44061</c:v>
                </c:pt>
                <c:pt idx="687">
                  <c:v>44062</c:v>
                </c:pt>
                <c:pt idx="688">
                  <c:v>44063</c:v>
                </c:pt>
                <c:pt idx="689">
                  <c:v>44064</c:v>
                </c:pt>
                <c:pt idx="690">
                  <c:v>44067</c:v>
                </c:pt>
                <c:pt idx="691">
                  <c:v>44068</c:v>
                </c:pt>
                <c:pt idx="692">
                  <c:v>44069</c:v>
                </c:pt>
                <c:pt idx="693">
                  <c:v>44070</c:v>
                </c:pt>
                <c:pt idx="694">
                  <c:v>44071</c:v>
                </c:pt>
                <c:pt idx="695">
                  <c:v>44074</c:v>
                </c:pt>
                <c:pt idx="696">
                  <c:v>44075</c:v>
                </c:pt>
                <c:pt idx="697">
                  <c:v>44076</c:v>
                </c:pt>
                <c:pt idx="698">
                  <c:v>44077</c:v>
                </c:pt>
                <c:pt idx="699">
                  <c:v>44078</c:v>
                </c:pt>
                <c:pt idx="700">
                  <c:v>44081</c:v>
                </c:pt>
                <c:pt idx="701">
                  <c:v>44082</c:v>
                </c:pt>
                <c:pt idx="702">
                  <c:v>44083</c:v>
                </c:pt>
                <c:pt idx="703">
                  <c:v>44084</c:v>
                </c:pt>
                <c:pt idx="704">
                  <c:v>44085</c:v>
                </c:pt>
                <c:pt idx="705">
                  <c:v>44088</c:v>
                </c:pt>
                <c:pt idx="706">
                  <c:v>44089</c:v>
                </c:pt>
                <c:pt idx="707">
                  <c:v>44090</c:v>
                </c:pt>
                <c:pt idx="708">
                  <c:v>44091</c:v>
                </c:pt>
                <c:pt idx="709">
                  <c:v>44092</c:v>
                </c:pt>
                <c:pt idx="710">
                  <c:v>44095</c:v>
                </c:pt>
                <c:pt idx="711">
                  <c:v>44096</c:v>
                </c:pt>
                <c:pt idx="712">
                  <c:v>44097</c:v>
                </c:pt>
                <c:pt idx="713">
                  <c:v>44098</c:v>
                </c:pt>
                <c:pt idx="714">
                  <c:v>44099</c:v>
                </c:pt>
                <c:pt idx="715">
                  <c:v>44102</c:v>
                </c:pt>
                <c:pt idx="716">
                  <c:v>44103</c:v>
                </c:pt>
                <c:pt idx="717">
                  <c:v>44104</c:v>
                </c:pt>
                <c:pt idx="718">
                  <c:v>44105</c:v>
                </c:pt>
                <c:pt idx="719">
                  <c:v>44106</c:v>
                </c:pt>
                <c:pt idx="720">
                  <c:v>44109</c:v>
                </c:pt>
                <c:pt idx="721">
                  <c:v>44110</c:v>
                </c:pt>
                <c:pt idx="722">
                  <c:v>44111</c:v>
                </c:pt>
                <c:pt idx="723">
                  <c:v>44112</c:v>
                </c:pt>
                <c:pt idx="724">
                  <c:v>44113</c:v>
                </c:pt>
                <c:pt idx="725">
                  <c:v>44116</c:v>
                </c:pt>
                <c:pt idx="726">
                  <c:v>44117</c:v>
                </c:pt>
                <c:pt idx="727">
                  <c:v>44118</c:v>
                </c:pt>
                <c:pt idx="728">
                  <c:v>44119</c:v>
                </c:pt>
                <c:pt idx="729">
                  <c:v>44120</c:v>
                </c:pt>
                <c:pt idx="730">
                  <c:v>44123</c:v>
                </c:pt>
                <c:pt idx="731">
                  <c:v>44124</c:v>
                </c:pt>
                <c:pt idx="732">
                  <c:v>44125</c:v>
                </c:pt>
                <c:pt idx="733">
                  <c:v>44126</c:v>
                </c:pt>
                <c:pt idx="734">
                  <c:v>44127</c:v>
                </c:pt>
                <c:pt idx="735">
                  <c:v>44130</c:v>
                </c:pt>
                <c:pt idx="736">
                  <c:v>44131</c:v>
                </c:pt>
                <c:pt idx="737">
                  <c:v>44132</c:v>
                </c:pt>
                <c:pt idx="738">
                  <c:v>44133</c:v>
                </c:pt>
                <c:pt idx="739">
                  <c:v>44134</c:v>
                </c:pt>
                <c:pt idx="740">
                  <c:v>44137</c:v>
                </c:pt>
                <c:pt idx="741">
                  <c:v>44138</c:v>
                </c:pt>
                <c:pt idx="742">
                  <c:v>44139</c:v>
                </c:pt>
                <c:pt idx="743">
                  <c:v>44140</c:v>
                </c:pt>
                <c:pt idx="744">
                  <c:v>44141</c:v>
                </c:pt>
                <c:pt idx="745">
                  <c:v>44144</c:v>
                </c:pt>
                <c:pt idx="746">
                  <c:v>44145</c:v>
                </c:pt>
                <c:pt idx="747">
                  <c:v>44146</c:v>
                </c:pt>
                <c:pt idx="748">
                  <c:v>44147</c:v>
                </c:pt>
                <c:pt idx="749">
                  <c:v>44148</c:v>
                </c:pt>
                <c:pt idx="750">
                  <c:v>44151</c:v>
                </c:pt>
                <c:pt idx="751">
                  <c:v>44152</c:v>
                </c:pt>
                <c:pt idx="752">
                  <c:v>44153</c:v>
                </c:pt>
                <c:pt idx="753">
                  <c:v>44154</c:v>
                </c:pt>
                <c:pt idx="754">
                  <c:v>44155</c:v>
                </c:pt>
                <c:pt idx="755">
                  <c:v>44158</c:v>
                </c:pt>
                <c:pt idx="756">
                  <c:v>44159</c:v>
                </c:pt>
                <c:pt idx="757">
                  <c:v>44160</c:v>
                </c:pt>
                <c:pt idx="758">
                  <c:v>44161</c:v>
                </c:pt>
                <c:pt idx="759">
                  <c:v>44162</c:v>
                </c:pt>
                <c:pt idx="760">
                  <c:v>44165</c:v>
                </c:pt>
                <c:pt idx="761">
                  <c:v>44166</c:v>
                </c:pt>
                <c:pt idx="762">
                  <c:v>44167</c:v>
                </c:pt>
                <c:pt idx="763">
                  <c:v>44168</c:v>
                </c:pt>
                <c:pt idx="764">
                  <c:v>44169</c:v>
                </c:pt>
                <c:pt idx="765">
                  <c:v>44172</c:v>
                </c:pt>
                <c:pt idx="766">
                  <c:v>44173</c:v>
                </c:pt>
                <c:pt idx="767">
                  <c:v>44174</c:v>
                </c:pt>
                <c:pt idx="768">
                  <c:v>44175</c:v>
                </c:pt>
                <c:pt idx="769">
                  <c:v>44176</c:v>
                </c:pt>
                <c:pt idx="770">
                  <c:v>44179</c:v>
                </c:pt>
                <c:pt idx="771">
                  <c:v>44180</c:v>
                </c:pt>
                <c:pt idx="772">
                  <c:v>44181</c:v>
                </c:pt>
                <c:pt idx="773">
                  <c:v>44182</c:v>
                </c:pt>
                <c:pt idx="774">
                  <c:v>44183</c:v>
                </c:pt>
                <c:pt idx="775">
                  <c:v>44186</c:v>
                </c:pt>
                <c:pt idx="776">
                  <c:v>44187</c:v>
                </c:pt>
                <c:pt idx="777">
                  <c:v>44188</c:v>
                </c:pt>
                <c:pt idx="778">
                  <c:v>44189</c:v>
                </c:pt>
                <c:pt idx="779">
                  <c:v>44190</c:v>
                </c:pt>
                <c:pt idx="780">
                  <c:v>44193</c:v>
                </c:pt>
                <c:pt idx="781">
                  <c:v>44194</c:v>
                </c:pt>
                <c:pt idx="782">
                  <c:v>44195</c:v>
                </c:pt>
                <c:pt idx="783">
                  <c:v>44196</c:v>
                </c:pt>
                <c:pt idx="784">
                  <c:v>44197</c:v>
                </c:pt>
                <c:pt idx="785">
                  <c:v>44200</c:v>
                </c:pt>
                <c:pt idx="786">
                  <c:v>44201</c:v>
                </c:pt>
                <c:pt idx="787">
                  <c:v>44202</c:v>
                </c:pt>
                <c:pt idx="788">
                  <c:v>44203</c:v>
                </c:pt>
                <c:pt idx="789">
                  <c:v>44204</c:v>
                </c:pt>
                <c:pt idx="790">
                  <c:v>44207</c:v>
                </c:pt>
                <c:pt idx="791">
                  <c:v>44208</c:v>
                </c:pt>
                <c:pt idx="792">
                  <c:v>44209</c:v>
                </c:pt>
                <c:pt idx="793">
                  <c:v>44210</c:v>
                </c:pt>
                <c:pt idx="794">
                  <c:v>44211</c:v>
                </c:pt>
                <c:pt idx="795">
                  <c:v>44214</c:v>
                </c:pt>
                <c:pt idx="796">
                  <c:v>44215</c:v>
                </c:pt>
                <c:pt idx="797">
                  <c:v>44216</c:v>
                </c:pt>
                <c:pt idx="798">
                  <c:v>44217</c:v>
                </c:pt>
                <c:pt idx="799">
                  <c:v>44218</c:v>
                </c:pt>
                <c:pt idx="800">
                  <c:v>44221</c:v>
                </c:pt>
                <c:pt idx="801">
                  <c:v>44222</c:v>
                </c:pt>
                <c:pt idx="802">
                  <c:v>44223</c:v>
                </c:pt>
                <c:pt idx="803">
                  <c:v>44224</c:v>
                </c:pt>
                <c:pt idx="804">
                  <c:v>44225</c:v>
                </c:pt>
                <c:pt idx="805">
                  <c:v>44228</c:v>
                </c:pt>
                <c:pt idx="806">
                  <c:v>44229</c:v>
                </c:pt>
                <c:pt idx="807">
                  <c:v>44230</c:v>
                </c:pt>
                <c:pt idx="808">
                  <c:v>44231</c:v>
                </c:pt>
                <c:pt idx="809">
                  <c:v>44232</c:v>
                </c:pt>
                <c:pt idx="810">
                  <c:v>44235</c:v>
                </c:pt>
                <c:pt idx="811">
                  <c:v>44236</c:v>
                </c:pt>
                <c:pt idx="812">
                  <c:v>44237</c:v>
                </c:pt>
                <c:pt idx="813">
                  <c:v>44238</c:v>
                </c:pt>
                <c:pt idx="814">
                  <c:v>44239</c:v>
                </c:pt>
                <c:pt idx="815">
                  <c:v>44242</c:v>
                </c:pt>
                <c:pt idx="816">
                  <c:v>44243</c:v>
                </c:pt>
                <c:pt idx="817">
                  <c:v>44244</c:v>
                </c:pt>
                <c:pt idx="818">
                  <c:v>44245</c:v>
                </c:pt>
                <c:pt idx="819">
                  <c:v>44246</c:v>
                </c:pt>
                <c:pt idx="820">
                  <c:v>44249</c:v>
                </c:pt>
                <c:pt idx="821">
                  <c:v>44250</c:v>
                </c:pt>
                <c:pt idx="822">
                  <c:v>44251</c:v>
                </c:pt>
                <c:pt idx="823">
                  <c:v>44252</c:v>
                </c:pt>
                <c:pt idx="824">
                  <c:v>44253</c:v>
                </c:pt>
                <c:pt idx="825">
                  <c:v>44256</c:v>
                </c:pt>
                <c:pt idx="826">
                  <c:v>44257</c:v>
                </c:pt>
                <c:pt idx="827">
                  <c:v>44258</c:v>
                </c:pt>
                <c:pt idx="828">
                  <c:v>44259</c:v>
                </c:pt>
                <c:pt idx="829">
                  <c:v>44260</c:v>
                </c:pt>
                <c:pt idx="830">
                  <c:v>44263</c:v>
                </c:pt>
                <c:pt idx="831">
                  <c:v>44264</c:v>
                </c:pt>
                <c:pt idx="832">
                  <c:v>44265</c:v>
                </c:pt>
                <c:pt idx="833">
                  <c:v>44266</c:v>
                </c:pt>
                <c:pt idx="834">
                  <c:v>44267</c:v>
                </c:pt>
                <c:pt idx="835">
                  <c:v>44270</c:v>
                </c:pt>
                <c:pt idx="836">
                  <c:v>44271</c:v>
                </c:pt>
                <c:pt idx="837">
                  <c:v>44272</c:v>
                </c:pt>
                <c:pt idx="838">
                  <c:v>44273</c:v>
                </c:pt>
                <c:pt idx="839">
                  <c:v>44274</c:v>
                </c:pt>
                <c:pt idx="840">
                  <c:v>44277</c:v>
                </c:pt>
                <c:pt idx="841">
                  <c:v>44278</c:v>
                </c:pt>
                <c:pt idx="842">
                  <c:v>44279</c:v>
                </c:pt>
                <c:pt idx="843">
                  <c:v>44280</c:v>
                </c:pt>
                <c:pt idx="844">
                  <c:v>44281</c:v>
                </c:pt>
                <c:pt idx="845">
                  <c:v>44284</c:v>
                </c:pt>
                <c:pt idx="846">
                  <c:v>44285</c:v>
                </c:pt>
                <c:pt idx="847">
                  <c:v>44286</c:v>
                </c:pt>
                <c:pt idx="848">
                  <c:v>44287</c:v>
                </c:pt>
                <c:pt idx="849">
                  <c:v>44288</c:v>
                </c:pt>
                <c:pt idx="850">
                  <c:v>44291</c:v>
                </c:pt>
                <c:pt idx="851">
                  <c:v>44292</c:v>
                </c:pt>
                <c:pt idx="852">
                  <c:v>44293</c:v>
                </c:pt>
                <c:pt idx="853">
                  <c:v>44294</c:v>
                </c:pt>
                <c:pt idx="854">
                  <c:v>44295</c:v>
                </c:pt>
                <c:pt idx="855">
                  <c:v>44298</c:v>
                </c:pt>
                <c:pt idx="856">
                  <c:v>44299</c:v>
                </c:pt>
                <c:pt idx="857">
                  <c:v>44300</c:v>
                </c:pt>
                <c:pt idx="858">
                  <c:v>44301</c:v>
                </c:pt>
                <c:pt idx="859">
                  <c:v>44302</c:v>
                </c:pt>
                <c:pt idx="860">
                  <c:v>44305</c:v>
                </c:pt>
                <c:pt idx="861">
                  <c:v>44306</c:v>
                </c:pt>
                <c:pt idx="862">
                  <c:v>44307</c:v>
                </c:pt>
                <c:pt idx="863">
                  <c:v>44308</c:v>
                </c:pt>
                <c:pt idx="864">
                  <c:v>44309</c:v>
                </c:pt>
                <c:pt idx="865">
                  <c:v>44312</c:v>
                </c:pt>
                <c:pt idx="866">
                  <c:v>44313</c:v>
                </c:pt>
                <c:pt idx="867">
                  <c:v>44314</c:v>
                </c:pt>
                <c:pt idx="868">
                  <c:v>44315</c:v>
                </c:pt>
                <c:pt idx="869">
                  <c:v>44316</c:v>
                </c:pt>
                <c:pt idx="870">
                  <c:v>44319</c:v>
                </c:pt>
                <c:pt idx="871">
                  <c:v>44320</c:v>
                </c:pt>
                <c:pt idx="872">
                  <c:v>44321</c:v>
                </c:pt>
                <c:pt idx="873">
                  <c:v>44322</c:v>
                </c:pt>
                <c:pt idx="874">
                  <c:v>44323</c:v>
                </c:pt>
                <c:pt idx="875">
                  <c:v>44326</c:v>
                </c:pt>
                <c:pt idx="876">
                  <c:v>44327</c:v>
                </c:pt>
                <c:pt idx="877">
                  <c:v>44328</c:v>
                </c:pt>
                <c:pt idx="878">
                  <c:v>44329</c:v>
                </c:pt>
                <c:pt idx="879">
                  <c:v>44330</c:v>
                </c:pt>
                <c:pt idx="880">
                  <c:v>44333</c:v>
                </c:pt>
                <c:pt idx="881">
                  <c:v>44334</c:v>
                </c:pt>
                <c:pt idx="882">
                  <c:v>44335</c:v>
                </c:pt>
                <c:pt idx="883">
                  <c:v>44336</c:v>
                </c:pt>
                <c:pt idx="884">
                  <c:v>44337</c:v>
                </c:pt>
                <c:pt idx="885">
                  <c:v>44340</c:v>
                </c:pt>
                <c:pt idx="886">
                  <c:v>44341</c:v>
                </c:pt>
                <c:pt idx="887">
                  <c:v>44342</c:v>
                </c:pt>
                <c:pt idx="888">
                  <c:v>44343</c:v>
                </c:pt>
                <c:pt idx="889">
                  <c:v>44344</c:v>
                </c:pt>
                <c:pt idx="890">
                  <c:v>44347</c:v>
                </c:pt>
                <c:pt idx="891">
                  <c:v>44348</c:v>
                </c:pt>
                <c:pt idx="892">
                  <c:v>44349</c:v>
                </c:pt>
                <c:pt idx="893">
                  <c:v>44350</c:v>
                </c:pt>
                <c:pt idx="894">
                  <c:v>44351</c:v>
                </c:pt>
                <c:pt idx="895">
                  <c:v>44354</c:v>
                </c:pt>
                <c:pt idx="896">
                  <c:v>44355</c:v>
                </c:pt>
                <c:pt idx="897">
                  <c:v>44356</c:v>
                </c:pt>
                <c:pt idx="898">
                  <c:v>44357</c:v>
                </c:pt>
                <c:pt idx="899">
                  <c:v>44358</c:v>
                </c:pt>
                <c:pt idx="900">
                  <c:v>44361</c:v>
                </c:pt>
                <c:pt idx="901">
                  <c:v>44362</c:v>
                </c:pt>
                <c:pt idx="902">
                  <c:v>44363</c:v>
                </c:pt>
                <c:pt idx="903">
                  <c:v>44364</c:v>
                </c:pt>
                <c:pt idx="904">
                  <c:v>44365</c:v>
                </c:pt>
                <c:pt idx="905">
                  <c:v>44368</c:v>
                </c:pt>
                <c:pt idx="906">
                  <c:v>44369</c:v>
                </c:pt>
                <c:pt idx="907">
                  <c:v>44370</c:v>
                </c:pt>
                <c:pt idx="908">
                  <c:v>44371</c:v>
                </c:pt>
                <c:pt idx="909">
                  <c:v>44372</c:v>
                </c:pt>
                <c:pt idx="910">
                  <c:v>44375</c:v>
                </c:pt>
                <c:pt idx="911">
                  <c:v>44376</c:v>
                </c:pt>
                <c:pt idx="912">
                  <c:v>44377</c:v>
                </c:pt>
                <c:pt idx="913">
                  <c:v>44378</c:v>
                </c:pt>
                <c:pt idx="914">
                  <c:v>44379</c:v>
                </c:pt>
                <c:pt idx="915">
                  <c:v>44382</c:v>
                </c:pt>
                <c:pt idx="916">
                  <c:v>44383</c:v>
                </c:pt>
                <c:pt idx="917">
                  <c:v>44384</c:v>
                </c:pt>
                <c:pt idx="918">
                  <c:v>44385</c:v>
                </c:pt>
                <c:pt idx="919">
                  <c:v>44386</c:v>
                </c:pt>
                <c:pt idx="920">
                  <c:v>44389</c:v>
                </c:pt>
                <c:pt idx="921">
                  <c:v>44390</c:v>
                </c:pt>
                <c:pt idx="922">
                  <c:v>44391</c:v>
                </c:pt>
                <c:pt idx="923">
                  <c:v>44392</c:v>
                </c:pt>
                <c:pt idx="924">
                  <c:v>44393</c:v>
                </c:pt>
                <c:pt idx="925">
                  <c:v>44396</c:v>
                </c:pt>
                <c:pt idx="926">
                  <c:v>44397</c:v>
                </c:pt>
                <c:pt idx="927">
                  <c:v>44398</c:v>
                </c:pt>
                <c:pt idx="928">
                  <c:v>44399</c:v>
                </c:pt>
                <c:pt idx="929">
                  <c:v>44400</c:v>
                </c:pt>
                <c:pt idx="930">
                  <c:v>44403</c:v>
                </c:pt>
                <c:pt idx="931">
                  <c:v>44404</c:v>
                </c:pt>
                <c:pt idx="932">
                  <c:v>44405</c:v>
                </c:pt>
                <c:pt idx="933">
                  <c:v>44406</c:v>
                </c:pt>
                <c:pt idx="934">
                  <c:v>44407</c:v>
                </c:pt>
                <c:pt idx="935">
                  <c:v>44410</c:v>
                </c:pt>
                <c:pt idx="936">
                  <c:v>44411</c:v>
                </c:pt>
                <c:pt idx="937">
                  <c:v>44412</c:v>
                </c:pt>
                <c:pt idx="938">
                  <c:v>44413</c:v>
                </c:pt>
                <c:pt idx="939">
                  <c:v>44414</c:v>
                </c:pt>
                <c:pt idx="940">
                  <c:v>44417</c:v>
                </c:pt>
                <c:pt idx="941">
                  <c:v>44418</c:v>
                </c:pt>
                <c:pt idx="942">
                  <c:v>44419</c:v>
                </c:pt>
                <c:pt idx="943">
                  <c:v>44420</c:v>
                </c:pt>
                <c:pt idx="944">
                  <c:v>44421</c:v>
                </c:pt>
                <c:pt idx="945">
                  <c:v>44424</c:v>
                </c:pt>
                <c:pt idx="946">
                  <c:v>44425</c:v>
                </c:pt>
                <c:pt idx="947">
                  <c:v>44426</c:v>
                </c:pt>
                <c:pt idx="948">
                  <c:v>44427</c:v>
                </c:pt>
                <c:pt idx="949">
                  <c:v>44428</c:v>
                </c:pt>
                <c:pt idx="950">
                  <c:v>44431</c:v>
                </c:pt>
                <c:pt idx="951">
                  <c:v>44432</c:v>
                </c:pt>
                <c:pt idx="952">
                  <c:v>44433</c:v>
                </c:pt>
                <c:pt idx="953">
                  <c:v>44434</c:v>
                </c:pt>
                <c:pt idx="954">
                  <c:v>44435</c:v>
                </c:pt>
                <c:pt idx="955">
                  <c:v>44438</c:v>
                </c:pt>
                <c:pt idx="956">
                  <c:v>44439</c:v>
                </c:pt>
                <c:pt idx="957">
                  <c:v>44440</c:v>
                </c:pt>
                <c:pt idx="958">
                  <c:v>44441</c:v>
                </c:pt>
                <c:pt idx="959">
                  <c:v>44442</c:v>
                </c:pt>
                <c:pt idx="960">
                  <c:v>44445</c:v>
                </c:pt>
                <c:pt idx="961">
                  <c:v>44446</c:v>
                </c:pt>
                <c:pt idx="962">
                  <c:v>44447</c:v>
                </c:pt>
                <c:pt idx="963">
                  <c:v>44448</c:v>
                </c:pt>
                <c:pt idx="964">
                  <c:v>44449</c:v>
                </c:pt>
                <c:pt idx="965">
                  <c:v>44452</c:v>
                </c:pt>
                <c:pt idx="966">
                  <c:v>44453</c:v>
                </c:pt>
                <c:pt idx="967">
                  <c:v>44454</c:v>
                </c:pt>
                <c:pt idx="968">
                  <c:v>44455</c:v>
                </c:pt>
                <c:pt idx="969">
                  <c:v>44456</c:v>
                </c:pt>
                <c:pt idx="970">
                  <c:v>44459</c:v>
                </c:pt>
                <c:pt idx="971">
                  <c:v>44460</c:v>
                </c:pt>
                <c:pt idx="972">
                  <c:v>44461</c:v>
                </c:pt>
                <c:pt idx="973">
                  <c:v>44462</c:v>
                </c:pt>
                <c:pt idx="974">
                  <c:v>44463</c:v>
                </c:pt>
                <c:pt idx="975">
                  <c:v>44466</c:v>
                </c:pt>
                <c:pt idx="976">
                  <c:v>44467</c:v>
                </c:pt>
                <c:pt idx="977">
                  <c:v>44468</c:v>
                </c:pt>
                <c:pt idx="978">
                  <c:v>44469</c:v>
                </c:pt>
                <c:pt idx="979">
                  <c:v>44470</c:v>
                </c:pt>
                <c:pt idx="980">
                  <c:v>44473</c:v>
                </c:pt>
                <c:pt idx="981">
                  <c:v>44474</c:v>
                </c:pt>
                <c:pt idx="982">
                  <c:v>44475</c:v>
                </c:pt>
                <c:pt idx="983">
                  <c:v>44476</c:v>
                </c:pt>
                <c:pt idx="984">
                  <c:v>44477</c:v>
                </c:pt>
                <c:pt idx="985">
                  <c:v>44480</c:v>
                </c:pt>
                <c:pt idx="986">
                  <c:v>44481</c:v>
                </c:pt>
                <c:pt idx="987">
                  <c:v>44482</c:v>
                </c:pt>
                <c:pt idx="988">
                  <c:v>44483</c:v>
                </c:pt>
                <c:pt idx="989">
                  <c:v>44484</c:v>
                </c:pt>
                <c:pt idx="990">
                  <c:v>44487</c:v>
                </c:pt>
                <c:pt idx="991">
                  <c:v>44488</c:v>
                </c:pt>
                <c:pt idx="992">
                  <c:v>44489</c:v>
                </c:pt>
                <c:pt idx="993">
                  <c:v>44490</c:v>
                </c:pt>
                <c:pt idx="994">
                  <c:v>44491</c:v>
                </c:pt>
                <c:pt idx="995">
                  <c:v>44494</c:v>
                </c:pt>
                <c:pt idx="996">
                  <c:v>44495</c:v>
                </c:pt>
                <c:pt idx="997">
                  <c:v>44496</c:v>
                </c:pt>
                <c:pt idx="998">
                  <c:v>44497</c:v>
                </c:pt>
                <c:pt idx="999">
                  <c:v>44498</c:v>
                </c:pt>
                <c:pt idx="1000">
                  <c:v>44501</c:v>
                </c:pt>
                <c:pt idx="1001">
                  <c:v>44502</c:v>
                </c:pt>
                <c:pt idx="1002">
                  <c:v>44503</c:v>
                </c:pt>
                <c:pt idx="1003">
                  <c:v>44504</c:v>
                </c:pt>
                <c:pt idx="1004">
                  <c:v>44505</c:v>
                </c:pt>
                <c:pt idx="1005">
                  <c:v>44508</c:v>
                </c:pt>
                <c:pt idx="1006">
                  <c:v>44509</c:v>
                </c:pt>
                <c:pt idx="1007">
                  <c:v>44510</c:v>
                </c:pt>
                <c:pt idx="1008">
                  <c:v>44511</c:v>
                </c:pt>
                <c:pt idx="1009">
                  <c:v>44512</c:v>
                </c:pt>
                <c:pt idx="1010">
                  <c:v>44515</c:v>
                </c:pt>
                <c:pt idx="1011">
                  <c:v>44516</c:v>
                </c:pt>
                <c:pt idx="1012">
                  <c:v>44517</c:v>
                </c:pt>
                <c:pt idx="1013">
                  <c:v>44518</c:v>
                </c:pt>
                <c:pt idx="1014">
                  <c:v>44519</c:v>
                </c:pt>
                <c:pt idx="1015">
                  <c:v>44522</c:v>
                </c:pt>
                <c:pt idx="1016">
                  <c:v>44523</c:v>
                </c:pt>
                <c:pt idx="1017">
                  <c:v>44524</c:v>
                </c:pt>
                <c:pt idx="1018">
                  <c:v>44525</c:v>
                </c:pt>
                <c:pt idx="1019">
                  <c:v>44526</c:v>
                </c:pt>
                <c:pt idx="1020">
                  <c:v>44529</c:v>
                </c:pt>
                <c:pt idx="1021">
                  <c:v>44530</c:v>
                </c:pt>
                <c:pt idx="1022">
                  <c:v>44531</c:v>
                </c:pt>
                <c:pt idx="1023">
                  <c:v>44532</c:v>
                </c:pt>
                <c:pt idx="1024">
                  <c:v>44533</c:v>
                </c:pt>
                <c:pt idx="1025">
                  <c:v>44536</c:v>
                </c:pt>
                <c:pt idx="1026">
                  <c:v>44537</c:v>
                </c:pt>
                <c:pt idx="1027">
                  <c:v>44538</c:v>
                </c:pt>
                <c:pt idx="1028">
                  <c:v>44539</c:v>
                </c:pt>
                <c:pt idx="1029">
                  <c:v>44540</c:v>
                </c:pt>
                <c:pt idx="1030">
                  <c:v>44543</c:v>
                </c:pt>
                <c:pt idx="1031">
                  <c:v>44544</c:v>
                </c:pt>
                <c:pt idx="1032">
                  <c:v>44545</c:v>
                </c:pt>
                <c:pt idx="1033">
                  <c:v>44546</c:v>
                </c:pt>
                <c:pt idx="1034">
                  <c:v>44547</c:v>
                </c:pt>
                <c:pt idx="1035">
                  <c:v>44550</c:v>
                </c:pt>
                <c:pt idx="1036">
                  <c:v>44551</c:v>
                </c:pt>
                <c:pt idx="1037">
                  <c:v>44552</c:v>
                </c:pt>
                <c:pt idx="1038">
                  <c:v>44553</c:v>
                </c:pt>
                <c:pt idx="1039">
                  <c:v>44554</c:v>
                </c:pt>
                <c:pt idx="1040">
                  <c:v>44557</c:v>
                </c:pt>
                <c:pt idx="1041">
                  <c:v>44558</c:v>
                </c:pt>
                <c:pt idx="1042">
                  <c:v>44559</c:v>
                </c:pt>
                <c:pt idx="1043">
                  <c:v>44560</c:v>
                </c:pt>
                <c:pt idx="1044">
                  <c:v>44561</c:v>
                </c:pt>
                <c:pt idx="1045">
                  <c:v>44564</c:v>
                </c:pt>
                <c:pt idx="1046">
                  <c:v>44565</c:v>
                </c:pt>
                <c:pt idx="1047">
                  <c:v>44566</c:v>
                </c:pt>
                <c:pt idx="1048">
                  <c:v>44567</c:v>
                </c:pt>
                <c:pt idx="1049">
                  <c:v>44568</c:v>
                </c:pt>
                <c:pt idx="1050">
                  <c:v>44571</c:v>
                </c:pt>
                <c:pt idx="1051">
                  <c:v>44572</c:v>
                </c:pt>
                <c:pt idx="1052">
                  <c:v>44573</c:v>
                </c:pt>
                <c:pt idx="1053">
                  <c:v>44574</c:v>
                </c:pt>
                <c:pt idx="1054">
                  <c:v>44575</c:v>
                </c:pt>
                <c:pt idx="1055">
                  <c:v>44578</c:v>
                </c:pt>
                <c:pt idx="1056">
                  <c:v>44579</c:v>
                </c:pt>
                <c:pt idx="1057">
                  <c:v>44580</c:v>
                </c:pt>
                <c:pt idx="1058">
                  <c:v>44581</c:v>
                </c:pt>
                <c:pt idx="1059">
                  <c:v>44582</c:v>
                </c:pt>
                <c:pt idx="1060">
                  <c:v>44585</c:v>
                </c:pt>
                <c:pt idx="1061">
                  <c:v>44586</c:v>
                </c:pt>
                <c:pt idx="1062">
                  <c:v>44587</c:v>
                </c:pt>
                <c:pt idx="1063">
                  <c:v>44588</c:v>
                </c:pt>
                <c:pt idx="1064">
                  <c:v>44589</c:v>
                </c:pt>
                <c:pt idx="1065">
                  <c:v>44592</c:v>
                </c:pt>
                <c:pt idx="1066">
                  <c:v>44593</c:v>
                </c:pt>
                <c:pt idx="1067">
                  <c:v>44594</c:v>
                </c:pt>
                <c:pt idx="1068">
                  <c:v>44595</c:v>
                </c:pt>
                <c:pt idx="1069">
                  <c:v>44596</c:v>
                </c:pt>
                <c:pt idx="1070">
                  <c:v>44599</c:v>
                </c:pt>
                <c:pt idx="1071">
                  <c:v>44600</c:v>
                </c:pt>
                <c:pt idx="1072">
                  <c:v>44601</c:v>
                </c:pt>
                <c:pt idx="1073">
                  <c:v>44602</c:v>
                </c:pt>
                <c:pt idx="1074">
                  <c:v>44603</c:v>
                </c:pt>
                <c:pt idx="1075">
                  <c:v>44606</c:v>
                </c:pt>
                <c:pt idx="1076">
                  <c:v>44607</c:v>
                </c:pt>
                <c:pt idx="1077">
                  <c:v>44608</c:v>
                </c:pt>
                <c:pt idx="1078">
                  <c:v>44609</c:v>
                </c:pt>
                <c:pt idx="1079">
                  <c:v>44610</c:v>
                </c:pt>
                <c:pt idx="1080">
                  <c:v>44613</c:v>
                </c:pt>
                <c:pt idx="1081">
                  <c:v>44614</c:v>
                </c:pt>
                <c:pt idx="1082">
                  <c:v>44615</c:v>
                </c:pt>
                <c:pt idx="1083">
                  <c:v>44616</c:v>
                </c:pt>
                <c:pt idx="1084">
                  <c:v>44617</c:v>
                </c:pt>
                <c:pt idx="1085">
                  <c:v>44620</c:v>
                </c:pt>
                <c:pt idx="1086">
                  <c:v>44621</c:v>
                </c:pt>
                <c:pt idx="1087">
                  <c:v>44622</c:v>
                </c:pt>
                <c:pt idx="1088">
                  <c:v>44623</c:v>
                </c:pt>
                <c:pt idx="1089">
                  <c:v>44624</c:v>
                </c:pt>
                <c:pt idx="1090">
                  <c:v>44627</c:v>
                </c:pt>
                <c:pt idx="1091">
                  <c:v>44628</c:v>
                </c:pt>
                <c:pt idx="1092">
                  <c:v>44629</c:v>
                </c:pt>
                <c:pt idx="1093">
                  <c:v>44630</c:v>
                </c:pt>
                <c:pt idx="1094">
                  <c:v>44631</c:v>
                </c:pt>
                <c:pt idx="1095">
                  <c:v>44634</c:v>
                </c:pt>
                <c:pt idx="1096">
                  <c:v>44635</c:v>
                </c:pt>
                <c:pt idx="1097">
                  <c:v>44636</c:v>
                </c:pt>
                <c:pt idx="1098">
                  <c:v>44637</c:v>
                </c:pt>
                <c:pt idx="1099">
                  <c:v>44638</c:v>
                </c:pt>
                <c:pt idx="1100">
                  <c:v>44641</c:v>
                </c:pt>
                <c:pt idx="1101">
                  <c:v>44642</c:v>
                </c:pt>
                <c:pt idx="1102">
                  <c:v>44643</c:v>
                </c:pt>
                <c:pt idx="1103">
                  <c:v>44644</c:v>
                </c:pt>
                <c:pt idx="1104">
                  <c:v>44645</c:v>
                </c:pt>
                <c:pt idx="1105">
                  <c:v>44648</c:v>
                </c:pt>
                <c:pt idx="1106">
                  <c:v>44649</c:v>
                </c:pt>
                <c:pt idx="1107">
                  <c:v>44650</c:v>
                </c:pt>
                <c:pt idx="1108">
                  <c:v>44651</c:v>
                </c:pt>
                <c:pt idx="1109">
                  <c:v>44652</c:v>
                </c:pt>
                <c:pt idx="1110">
                  <c:v>44655</c:v>
                </c:pt>
                <c:pt idx="1111">
                  <c:v>44656</c:v>
                </c:pt>
                <c:pt idx="1112">
                  <c:v>44657</c:v>
                </c:pt>
                <c:pt idx="1113">
                  <c:v>44658</c:v>
                </c:pt>
                <c:pt idx="1114">
                  <c:v>44659</c:v>
                </c:pt>
                <c:pt idx="1115">
                  <c:v>44662</c:v>
                </c:pt>
                <c:pt idx="1116">
                  <c:v>44663</c:v>
                </c:pt>
                <c:pt idx="1117">
                  <c:v>44664</c:v>
                </c:pt>
                <c:pt idx="1118">
                  <c:v>44665</c:v>
                </c:pt>
                <c:pt idx="1119">
                  <c:v>44666</c:v>
                </c:pt>
                <c:pt idx="1120">
                  <c:v>44669</c:v>
                </c:pt>
                <c:pt idx="1121">
                  <c:v>44670</c:v>
                </c:pt>
                <c:pt idx="1122">
                  <c:v>44671</c:v>
                </c:pt>
                <c:pt idx="1123">
                  <c:v>44672</c:v>
                </c:pt>
                <c:pt idx="1124">
                  <c:v>44673</c:v>
                </c:pt>
                <c:pt idx="1125">
                  <c:v>44676</c:v>
                </c:pt>
                <c:pt idx="1126">
                  <c:v>44677</c:v>
                </c:pt>
                <c:pt idx="1127">
                  <c:v>44678</c:v>
                </c:pt>
                <c:pt idx="1128">
                  <c:v>44679</c:v>
                </c:pt>
                <c:pt idx="1129">
                  <c:v>44680</c:v>
                </c:pt>
                <c:pt idx="1130">
                  <c:v>44683</c:v>
                </c:pt>
                <c:pt idx="1131">
                  <c:v>44684</c:v>
                </c:pt>
                <c:pt idx="1132">
                  <c:v>44685</c:v>
                </c:pt>
                <c:pt idx="1133">
                  <c:v>44686</c:v>
                </c:pt>
                <c:pt idx="1134">
                  <c:v>44687</c:v>
                </c:pt>
                <c:pt idx="1135">
                  <c:v>44690</c:v>
                </c:pt>
                <c:pt idx="1136">
                  <c:v>44691</c:v>
                </c:pt>
                <c:pt idx="1137">
                  <c:v>44692</c:v>
                </c:pt>
                <c:pt idx="1138">
                  <c:v>44693</c:v>
                </c:pt>
                <c:pt idx="1139">
                  <c:v>44694</c:v>
                </c:pt>
                <c:pt idx="1140">
                  <c:v>44697</c:v>
                </c:pt>
                <c:pt idx="1141">
                  <c:v>44698</c:v>
                </c:pt>
                <c:pt idx="1142">
                  <c:v>44699</c:v>
                </c:pt>
                <c:pt idx="1143">
                  <c:v>44700</c:v>
                </c:pt>
                <c:pt idx="1144">
                  <c:v>44701</c:v>
                </c:pt>
                <c:pt idx="1145">
                  <c:v>44704</c:v>
                </c:pt>
                <c:pt idx="1146">
                  <c:v>44705</c:v>
                </c:pt>
                <c:pt idx="1147">
                  <c:v>44706</c:v>
                </c:pt>
                <c:pt idx="1148">
                  <c:v>44707</c:v>
                </c:pt>
                <c:pt idx="1149">
                  <c:v>44708</c:v>
                </c:pt>
                <c:pt idx="1150">
                  <c:v>44711</c:v>
                </c:pt>
                <c:pt idx="1151">
                  <c:v>44712</c:v>
                </c:pt>
                <c:pt idx="1152">
                  <c:v>44713</c:v>
                </c:pt>
                <c:pt idx="1153">
                  <c:v>44714</c:v>
                </c:pt>
                <c:pt idx="1154">
                  <c:v>44715</c:v>
                </c:pt>
                <c:pt idx="1155">
                  <c:v>44718</c:v>
                </c:pt>
                <c:pt idx="1156">
                  <c:v>44719</c:v>
                </c:pt>
                <c:pt idx="1157">
                  <c:v>44720</c:v>
                </c:pt>
                <c:pt idx="1158">
                  <c:v>44721</c:v>
                </c:pt>
                <c:pt idx="1159">
                  <c:v>44722</c:v>
                </c:pt>
                <c:pt idx="1160">
                  <c:v>44725</c:v>
                </c:pt>
                <c:pt idx="1161">
                  <c:v>44726</c:v>
                </c:pt>
                <c:pt idx="1162">
                  <c:v>44727</c:v>
                </c:pt>
                <c:pt idx="1163">
                  <c:v>44728</c:v>
                </c:pt>
                <c:pt idx="1164">
                  <c:v>44729</c:v>
                </c:pt>
                <c:pt idx="1165">
                  <c:v>44732</c:v>
                </c:pt>
                <c:pt idx="1166">
                  <c:v>44733</c:v>
                </c:pt>
                <c:pt idx="1167">
                  <c:v>44734</c:v>
                </c:pt>
                <c:pt idx="1168">
                  <c:v>44735</c:v>
                </c:pt>
                <c:pt idx="1169">
                  <c:v>44736</c:v>
                </c:pt>
                <c:pt idx="1170">
                  <c:v>44739</c:v>
                </c:pt>
                <c:pt idx="1171">
                  <c:v>44740</c:v>
                </c:pt>
                <c:pt idx="1172">
                  <c:v>44741</c:v>
                </c:pt>
                <c:pt idx="1173">
                  <c:v>44742</c:v>
                </c:pt>
                <c:pt idx="1174">
                  <c:v>44743</c:v>
                </c:pt>
                <c:pt idx="1175">
                  <c:v>44746</c:v>
                </c:pt>
                <c:pt idx="1176">
                  <c:v>44747</c:v>
                </c:pt>
                <c:pt idx="1177">
                  <c:v>44748</c:v>
                </c:pt>
                <c:pt idx="1178">
                  <c:v>44749</c:v>
                </c:pt>
                <c:pt idx="1179">
                  <c:v>44750</c:v>
                </c:pt>
                <c:pt idx="1180">
                  <c:v>44753</c:v>
                </c:pt>
                <c:pt idx="1181">
                  <c:v>44754</c:v>
                </c:pt>
                <c:pt idx="1182">
                  <c:v>44755</c:v>
                </c:pt>
                <c:pt idx="1183">
                  <c:v>44756</c:v>
                </c:pt>
                <c:pt idx="1184">
                  <c:v>44757</c:v>
                </c:pt>
                <c:pt idx="1185">
                  <c:v>44760</c:v>
                </c:pt>
                <c:pt idx="1186">
                  <c:v>44761</c:v>
                </c:pt>
                <c:pt idx="1187">
                  <c:v>44762</c:v>
                </c:pt>
                <c:pt idx="1188">
                  <c:v>44763</c:v>
                </c:pt>
                <c:pt idx="1189">
                  <c:v>44764</c:v>
                </c:pt>
                <c:pt idx="1190">
                  <c:v>44767</c:v>
                </c:pt>
                <c:pt idx="1191">
                  <c:v>44768</c:v>
                </c:pt>
                <c:pt idx="1192">
                  <c:v>44769</c:v>
                </c:pt>
                <c:pt idx="1193">
                  <c:v>44770</c:v>
                </c:pt>
                <c:pt idx="1194">
                  <c:v>44771</c:v>
                </c:pt>
                <c:pt idx="1195">
                  <c:v>44774</c:v>
                </c:pt>
                <c:pt idx="1196">
                  <c:v>44775</c:v>
                </c:pt>
                <c:pt idx="1197">
                  <c:v>44776</c:v>
                </c:pt>
                <c:pt idx="1198">
                  <c:v>44777</c:v>
                </c:pt>
                <c:pt idx="1199">
                  <c:v>44778</c:v>
                </c:pt>
                <c:pt idx="1200">
                  <c:v>44781</c:v>
                </c:pt>
                <c:pt idx="1201">
                  <c:v>44782</c:v>
                </c:pt>
                <c:pt idx="1202">
                  <c:v>44783</c:v>
                </c:pt>
                <c:pt idx="1203">
                  <c:v>44784</c:v>
                </c:pt>
                <c:pt idx="1204">
                  <c:v>44785</c:v>
                </c:pt>
                <c:pt idx="1205">
                  <c:v>44788</c:v>
                </c:pt>
                <c:pt idx="1206">
                  <c:v>44789</c:v>
                </c:pt>
                <c:pt idx="1207">
                  <c:v>44790</c:v>
                </c:pt>
                <c:pt idx="1208">
                  <c:v>44791</c:v>
                </c:pt>
                <c:pt idx="1209">
                  <c:v>44792</c:v>
                </c:pt>
                <c:pt idx="1210">
                  <c:v>44795</c:v>
                </c:pt>
                <c:pt idx="1211">
                  <c:v>44796</c:v>
                </c:pt>
                <c:pt idx="1212">
                  <c:v>44797</c:v>
                </c:pt>
                <c:pt idx="1213">
                  <c:v>44798</c:v>
                </c:pt>
                <c:pt idx="1214">
                  <c:v>44799</c:v>
                </c:pt>
                <c:pt idx="1215">
                  <c:v>44802</c:v>
                </c:pt>
                <c:pt idx="1216">
                  <c:v>44803</c:v>
                </c:pt>
                <c:pt idx="1217">
                  <c:v>44804</c:v>
                </c:pt>
                <c:pt idx="1218">
                  <c:v>44805</c:v>
                </c:pt>
                <c:pt idx="1219">
                  <c:v>44806</c:v>
                </c:pt>
                <c:pt idx="1220">
                  <c:v>44809</c:v>
                </c:pt>
                <c:pt idx="1221">
                  <c:v>44810</c:v>
                </c:pt>
                <c:pt idx="1222">
                  <c:v>44811</c:v>
                </c:pt>
                <c:pt idx="1223">
                  <c:v>44812</c:v>
                </c:pt>
                <c:pt idx="1224">
                  <c:v>44813</c:v>
                </c:pt>
                <c:pt idx="1225">
                  <c:v>44816</c:v>
                </c:pt>
                <c:pt idx="1226">
                  <c:v>44817</c:v>
                </c:pt>
                <c:pt idx="1227">
                  <c:v>44818</c:v>
                </c:pt>
                <c:pt idx="1228">
                  <c:v>44819</c:v>
                </c:pt>
                <c:pt idx="1229">
                  <c:v>44820</c:v>
                </c:pt>
                <c:pt idx="1230">
                  <c:v>44823</c:v>
                </c:pt>
                <c:pt idx="1231">
                  <c:v>44824</c:v>
                </c:pt>
                <c:pt idx="1232">
                  <c:v>44825</c:v>
                </c:pt>
                <c:pt idx="1233">
                  <c:v>44826</c:v>
                </c:pt>
                <c:pt idx="1234">
                  <c:v>44827</c:v>
                </c:pt>
                <c:pt idx="1235">
                  <c:v>44830</c:v>
                </c:pt>
                <c:pt idx="1236">
                  <c:v>44831</c:v>
                </c:pt>
                <c:pt idx="1237">
                  <c:v>44832</c:v>
                </c:pt>
                <c:pt idx="1238">
                  <c:v>44833</c:v>
                </c:pt>
                <c:pt idx="1239">
                  <c:v>44834</c:v>
                </c:pt>
                <c:pt idx="1240">
                  <c:v>44837</c:v>
                </c:pt>
                <c:pt idx="1241">
                  <c:v>44838</c:v>
                </c:pt>
                <c:pt idx="1242">
                  <c:v>44839</c:v>
                </c:pt>
                <c:pt idx="1243">
                  <c:v>44840</c:v>
                </c:pt>
                <c:pt idx="1244">
                  <c:v>44841</c:v>
                </c:pt>
                <c:pt idx="1245">
                  <c:v>44844</c:v>
                </c:pt>
                <c:pt idx="1246">
                  <c:v>44845</c:v>
                </c:pt>
                <c:pt idx="1247">
                  <c:v>44846</c:v>
                </c:pt>
                <c:pt idx="1248">
                  <c:v>44847</c:v>
                </c:pt>
                <c:pt idx="1249">
                  <c:v>44848</c:v>
                </c:pt>
                <c:pt idx="1250">
                  <c:v>44851</c:v>
                </c:pt>
                <c:pt idx="1251">
                  <c:v>44852</c:v>
                </c:pt>
                <c:pt idx="1252">
                  <c:v>44853</c:v>
                </c:pt>
                <c:pt idx="1253">
                  <c:v>44854</c:v>
                </c:pt>
                <c:pt idx="1254">
                  <c:v>44855</c:v>
                </c:pt>
                <c:pt idx="1255">
                  <c:v>44858</c:v>
                </c:pt>
                <c:pt idx="1256">
                  <c:v>44859</c:v>
                </c:pt>
                <c:pt idx="1257">
                  <c:v>44860</c:v>
                </c:pt>
                <c:pt idx="1258">
                  <c:v>44861</c:v>
                </c:pt>
                <c:pt idx="1259">
                  <c:v>44862</c:v>
                </c:pt>
                <c:pt idx="1260">
                  <c:v>44865</c:v>
                </c:pt>
                <c:pt idx="1261">
                  <c:v>44866</c:v>
                </c:pt>
                <c:pt idx="1262">
                  <c:v>44867</c:v>
                </c:pt>
                <c:pt idx="1263">
                  <c:v>44868</c:v>
                </c:pt>
                <c:pt idx="1264">
                  <c:v>44869</c:v>
                </c:pt>
                <c:pt idx="1265">
                  <c:v>44872</c:v>
                </c:pt>
                <c:pt idx="1266">
                  <c:v>44873</c:v>
                </c:pt>
                <c:pt idx="1267">
                  <c:v>44874</c:v>
                </c:pt>
                <c:pt idx="1268">
                  <c:v>44875</c:v>
                </c:pt>
                <c:pt idx="1269">
                  <c:v>44876</c:v>
                </c:pt>
                <c:pt idx="1270">
                  <c:v>44879</c:v>
                </c:pt>
                <c:pt idx="1271">
                  <c:v>44880</c:v>
                </c:pt>
                <c:pt idx="1272">
                  <c:v>44881</c:v>
                </c:pt>
                <c:pt idx="1273">
                  <c:v>44882</c:v>
                </c:pt>
                <c:pt idx="1274">
                  <c:v>44883</c:v>
                </c:pt>
                <c:pt idx="1275">
                  <c:v>44886</c:v>
                </c:pt>
                <c:pt idx="1276">
                  <c:v>44887</c:v>
                </c:pt>
                <c:pt idx="1277">
                  <c:v>44888</c:v>
                </c:pt>
                <c:pt idx="1278">
                  <c:v>44889</c:v>
                </c:pt>
                <c:pt idx="1279">
                  <c:v>44890</c:v>
                </c:pt>
                <c:pt idx="1280">
                  <c:v>44893</c:v>
                </c:pt>
                <c:pt idx="1281">
                  <c:v>44894</c:v>
                </c:pt>
                <c:pt idx="1282">
                  <c:v>44895</c:v>
                </c:pt>
                <c:pt idx="1283">
                  <c:v>44896</c:v>
                </c:pt>
                <c:pt idx="1284">
                  <c:v>44897</c:v>
                </c:pt>
                <c:pt idx="1285">
                  <c:v>44900</c:v>
                </c:pt>
                <c:pt idx="1286">
                  <c:v>44901</c:v>
                </c:pt>
                <c:pt idx="1287">
                  <c:v>44902</c:v>
                </c:pt>
                <c:pt idx="1288">
                  <c:v>44903</c:v>
                </c:pt>
                <c:pt idx="1289">
                  <c:v>44904</c:v>
                </c:pt>
                <c:pt idx="1290">
                  <c:v>44907</c:v>
                </c:pt>
                <c:pt idx="1291">
                  <c:v>44908</c:v>
                </c:pt>
                <c:pt idx="1292">
                  <c:v>44909</c:v>
                </c:pt>
                <c:pt idx="1293">
                  <c:v>44910</c:v>
                </c:pt>
                <c:pt idx="1294">
                  <c:v>44911</c:v>
                </c:pt>
                <c:pt idx="1295">
                  <c:v>44914</c:v>
                </c:pt>
                <c:pt idx="1296">
                  <c:v>44915</c:v>
                </c:pt>
                <c:pt idx="1297">
                  <c:v>44916</c:v>
                </c:pt>
                <c:pt idx="1298">
                  <c:v>44917</c:v>
                </c:pt>
                <c:pt idx="1299">
                  <c:v>44918</c:v>
                </c:pt>
                <c:pt idx="1300">
                  <c:v>44921</c:v>
                </c:pt>
                <c:pt idx="1301">
                  <c:v>44922</c:v>
                </c:pt>
                <c:pt idx="1302">
                  <c:v>44923</c:v>
                </c:pt>
                <c:pt idx="1303">
                  <c:v>44924</c:v>
                </c:pt>
                <c:pt idx="1304">
                  <c:v>44925</c:v>
                </c:pt>
                <c:pt idx="1305">
                  <c:v>44928</c:v>
                </c:pt>
                <c:pt idx="1306">
                  <c:v>44929</c:v>
                </c:pt>
                <c:pt idx="1307">
                  <c:v>44930</c:v>
                </c:pt>
                <c:pt idx="1308">
                  <c:v>44931</c:v>
                </c:pt>
                <c:pt idx="1309">
                  <c:v>44932</c:v>
                </c:pt>
                <c:pt idx="1310">
                  <c:v>44935</c:v>
                </c:pt>
                <c:pt idx="1311">
                  <c:v>44936</c:v>
                </c:pt>
                <c:pt idx="1312">
                  <c:v>44937</c:v>
                </c:pt>
                <c:pt idx="1313">
                  <c:v>44938</c:v>
                </c:pt>
                <c:pt idx="1314">
                  <c:v>44939</c:v>
                </c:pt>
                <c:pt idx="1315">
                  <c:v>44940</c:v>
                </c:pt>
                <c:pt idx="1316">
                  <c:v>44941</c:v>
                </c:pt>
                <c:pt idx="1317">
                  <c:v>44942</c:v>
                </c:pt>
                <c:pt idx="1318">
                  <c:v>44943</c:v>
                </c:pt>
                <c:pt idx="1319">
                  <c:v>44944</c:v>
                </c:pt>
                <c:pt idx="1320">
                  <c:v>44945</c:v>
                </c:pt>
                <c:pt idx="1321">
                  <c:v>44946</c:v>
                </c:pt>
                <c:pt idx="1322">
                  <c:v>44947</c:v>
                </c:pt>
                <c:pt idx="1323">
                  <c:v>44948</c:v>
                </c:pt>
              </c:numCache>
            </c:numRef>
          </c:cat>
          <c:val>
            <c:numRef>
              <c:f>'HC Data (2)'!$W$9:$W$1332</c:f>
              <c:numCache>
                <c:formatCode>0.00</c:formatCode>
                <c:ptCount val="1324"/>
                <c:pt idx="0" formatCode="General">
                  <c:v>100</c:v>
                </c:pt>
                <c:pt idx="1">
                  <c:v>100.87189394140704</c:v>
                </c:pt>
                <c:pt idx="2">
                  <c:v>101.1959535276762</c:v>
                </c:pt>
                <c:pt idx="3">
                  <c:v>100.29085259312359</c:v>
                </c:pt>
                <c:pt idx="4">
                  <c:v>100.30237600281247</c:v>
                </c:pt>
                <c:pt idx="5">
                  <c:v>100.78554100007756</c:v>
                </c:pt>
                <c:pt idx="6">
                  <c:v>100.96643706237974</c:v>
                </c:pt>
                <c:pt idx="7">
                  <c:v>100.84246498022533</c:v>
                </c:pt>
                <c:pt idx="8">
                  <c:v>101.2385132303386</c:v>
                </c:pt>
                <c:pt idx="9">
                  <c:v>100.79273643839426</c:v>
                </c:pt>
                <c:pt idx="10">
                  <c:v>100.94274795266482</c:v>
                </c:pt>
                <c:pt idx="11">
                  <c:v>99.572104358249391</c:v>
                </c:pt>
                <c:pt idx="12">
                  <c:v>100.54669960222411</c:v>
                </c:pt>
                <c:pt idx="13">
                  <c:v>100.3855461479168</c:v>
                </c:pt>
                <c:pt idx="14">
                  <c:v>100.30176908998007</c:v>
                </c:pt>
                <c:pt idx="15">
                  <c:v>100.69870546931618</c:v>
                </c:pt>
                <c:pt idx="16">
                  <c:v>100.4744922377661</c:v>
                </c:pt>
                <c:pt idx="17">
                  <c:v>100.03045393196314</c:v>
                </c:pt>
                <c:pt idx="18">
                  <c:v>99.84676626107489</c:v>
                </c:pt>
                <c:pt idx="19">
                  <c:v>100.95748212477798</c:v>
                </c:pt>
                <c:pt idx="20">
                  <c:v>100.99303026701999</c:v>
                </c:pt>
                <c:pt idx="21">
                  <c:v>100.54089207536872</c:v>
                </c:pt>
                <c:pt idx="22">
                  <c:v>100.71884967587782</c:v>
                </c:pt>
                <c:pt idx="23">
                  <c:v>100.7062641574234</c:v>
                </c:pt>
                <c:pt idx="24">
                  <c:v>100.04144610337084</c:v>
                </c:pt>
                <c:pt idx="25">
                  <c:v>97.813355930067132</c:v>
                </c:pt>
                <c:pt idx="26">
                  <c:v>102.27188442295352</c:v>
                </c:pt>
                <c:pt idx="27">
                  <c:v>100.83699770058867</c:v>
                </c:pt>
                <c:pt idx="28">
                  <c:v>98.784519258322106</c:v>
                </c:pt>
                <c:pt idx="29">
                  <c:v>102.03228773767836</c:v>
                </c:pt>
                <c:pt idx="30">
                  <c:v>101.70626324578301</c:v>
                </c:pt>
                <c:pt idx="31">
                  <c:v>101.9947692657414</c:v>
                </c:pt>
                <c:pt idx="32">
                  <c:v>101.79455277029119</c:v>
                </c:pt>
                <c:pt idx="33">
                  <c:v>102.06677801889958</c:v>
                </c:pt>
                <c:pt idx="34">
                  <c:v>101.24962274769598</c:v>
                </c:pt>
                <c:pt idx="35">
                  <c:v>101.89295656025978</c:v>
                </c:pt>
                <c:pt idx="36">
                  <c:v>101.48012237939687</c:v>
                </c:pt>
                <c:pt idx="37">
                  <c:v>100.90195664865152</c:v>
                </c:pt>
                <c:pt idx="38">
                  <c:v>101.08101085347403</c:v>
                </c:pt>
                <c:pt idx="39">
                  <c:v>102.73213846426266</c:v>
                </c:pt>
                <c:pt idx="40">
                  <c:v>103.33039319026852</c:v>
                </c:pt>
                <c:pt idx="41">
                  <c:v>102.71957314310531</c:v>
                </c:pt>
                <c:pt idx="42">
                  <c:v>102.63648592242814</c:v>
                </c:pt>
                <c:pt idx="43">
                  <c:v>102.5558400127815</c:v>
                </c:pt>
                <c:pt idx="44">
                  <c:v>104.48624404971832</c:v>
                </c:pt>
                <c:pt idx="45">
                  <c:v>104.3707450341862</c:v>
                </c:pt>
                <c:pt idx="46">
                  <c:v>104.0551165805703</c:v>
                </c:pt>
                <c:pt idx="47">
                  <c:v>103.63648860521118</c:v>
                </c:pt>
                <c:pt idx="48">
                  <c:v>103.70857649651872</c:v>
                </c:pt>
                <c:pt idx="49">
                  <c:v>105.05090504552155</c:v>
                </c:pt>
                <c:pt idx="50">
                  <c:v>104.58857224195715</c:v>
                </c:pt>
                <c:pt idx="51">
                  <c:v>104.44193339388035</c:v>
                </c:pt>
                <c:pt idx="52">
                  <c:v>104.1471798466778</c:v>
                </c:pt>
                <c:pt idx="53">
                  <c:v>103.85374103276612</c:v>
                </c:pt>
                <c:pt idx="54">
                  <c:v>104.16113338808299</c:v>
                </c:pt>
                <c:pt idx="55">
                  <c:v>103.35021122095507</c:v>
                </c:pt>
                <c:pt idx="56">
                  <c:v>103.67876441692393</c:v>
                </c:pt>
                <c:pt idx="57">
                  <c:v>103.51841082287852</c:v>
                </c:pt>
                <c:pt idx="58">
                  <c:v>102.30538244448725</c:v>
                </c:pt>
                <c:pt idx="59">
                  <c:v>100.6121295744363</c:v>
                </c:pt>
                <c:pt idx="60">
                  <c:v>103.34639225720481</c:v>
                </c:pt>
                <c:pt idx="61">
                  <c:v>100.55841918648656</c:v>
                </c:pt>
                <c:pt idx="62">
                  <c:v>100.30051545727741</c:v>
                </c:pt>
                <c:pt idx="63">
                  <c:v>101.70169563399216</c:v>
                </c:pt>
                <c:pt idx="64">
                  <c:v>101.70169563399216</c:v>
                </c:pt>
                <c:pt idx="65">
                  <c:v>99.380413168627541</c:v>
                </c:pt>
                <c:pt idx="66">
                  <c:v>101.33967866137142</c:v>
                </c:pt>
                <c:pt idx="67">
                  <c:v>102.71957527494075</c:v>
                </c:pt>
                <c:pt idx="68">
                  <c:v>101.46819324241453</c:v>
                </c:pt>
                <c:pt idx="69">
                  <c:v>99.293181241205573</c:v>
                </c:pt>
                <c:pt idx="70">
                  <c:v>99.138507707365264</c:v>
                </c:pt>
                <c:pt idx="71">
                  <c:v>99.798537453071916</c:v>
                </c:pt>
                <c:pt idx="72">
                  <c:v>99.576179128135067</c:v>
                </c:pt>
                <c:pt idx="73">
                  <c:v>100.0552059776457</c:v>
                </c:pt>
                <c:pt idx="74">
                  <c:v>99.590811427624729</c:v>
                </c:pt>
                <c:pt idx="75">
                  <c:v>100.47196089601218</c:v>
                </c:pt>
                <c:pt idx="76">
                  <c:v>100.96847891953145</c:v>
                </c:pt>
                <c:pt idx="77">
                  <c:v>100.4756586220654</c:v>
                </c:pt>
                <c:pt idx="78">
                  <c:v>100.25968940700955</c:v>
                </c:pt>
                <c:pt idx="79">
                  <c:v>99.814055000488011</c:v>
                </c:pt>
                <c:pt idx="80">
                  <c:v>100.12357203159988</c:v>
                </c:pt>
                <c:pt idx="81">
                  <c:v>98.587862659373201</c:v>
                </c:pt>
                <c:pt idx="82">
                  <c:v>99.946997331286084</c:v>
                </c:pt>
                <c:pt idx="83">
                  <c:v>100.55301954595508</c:v>
                </c:pt>
                <c:pt idx="84">
                  <c:v>100.49464960584477</c:v>
                </c:pt>
                <c:pt idx="85">
                  <c:v>99.592890002177398</c:v>
                </c:pt>
                <c:pt idx="86">
                  <c:v>100.65068347169641</c:v>
                </c:pt>
                <c:pt idx="87">
                  <c:v>99.756630687116555</c:v>
                </c:pt>
                <c:pt idx="88">
                  <c:v>100.12610061834756</c:v>
                </c:pt>
                <c:pt idx="89">
                  <c:v>100.92607359161183</c:v>
                </c:pt>
                <c:pt idx="90">
                  <c:v>100.94957785942142</c:v>
                </c:pt>
                <c:pt idx="91">
                  <c:v>101.28245867112193</c:v>
                </c:pt>
                <c:pt idx="92">
                  <c:v>101.78027877314216</c:v>
                </c:pt>
                <c:pt idx="93">
                  <c:v>102.34595903145984</c:v>
                </c:pt>
                <c:pt idx="94">
                  <c:v>101.99119922797254</c:v>
                </c:pt>
                <c:pt idx="95">
                  <c:v>101.89222277348179</c:v>
                </c:pt>
                <c:pt idx="96">
                  <c:v>102.07182092922712</c:v>
                </c:pt>
                <c:pt idx="97">
                  <c:v>102.73456757148621</c:v>
                </c:pt>
                <c:pt idx="98">
                  <c:v>102.07571907209585</c:v>
                </c:pt>
                <c:pt idx="99">
                  <c:v>102.27965806171557</c:v>
                </c:pt>
                <c:pt idx="100">
                  <c:v>102.81412937194239</c:v>
                </c:pt>
                <c:pt idx="101">
                  <c:v>102.11098030833016</c:v>
                </c:pt>
                <c:pt idx="102">
                  <c:v>104.44502144970842</c:v>
                </c:pt>
                <c:pt idx="103">
                  <c:v>104.48838551976382</c:v>
                </c:pt>
                <c:pt idx="104">
                  <c:v>104.75543297241752</c:v>
                </c:pt>
                <c:pt idx="105">
                  <c:v>105.07420188218524</c:v>
                </c:pt>
                <c:pt idx="106">
                  <c:v>106.34988876598445</c:v>
                </c:pt>
                <c:pt idx="107">
                  <c:v>106.30001126364637</c:v>
                </c:pt>
                <c:pt idx="108">
                  <c:v>106.20968955727737</c:v>
                </c:pt>
                <c:pt idx="109">
                  <c:v>106.41538590081821</c:v>
                </c:pt>
                <c:pt idx="110">
                  <c:v>106.3968329713546</c:v>
                </c:pt>
                <c:pt idx="111">
                  <c:v>106.56792212004011</c:v>
                </c:pt>
                <c:pt idx="112">
                  <c:v>106.97443711468628</c:v>
                </c:pt>
                <c:pt idx="113">
                  <c:v>106.82637242555029</c:v>
                </c:pt>
                <c:pt idx="114">
                  <c:v>107.70102753814588</c:v>
                </c:pt>
                <c:pt idx="115">
                  <c:v>106.90507114136118</c:v>
                </c:pt>
                <c:pt idx="116">
                  <c:v>107.39418393134292</c:v>
                </c:pt>
                <c:pt idx="117">
                  <c:v>106.63835383213934</c:v>
                </c:pt>
                <c:pt idx="118">
                  <c:v>107.04362608666645</c:v>
                </c:pt>
                <c:pt idx="119">
                  <c:v>108.28136953603743</c:v>
                </c:pt>
                <c:pt idx="120">
                  <c:v>108.98041548604964</c:v>
                </c:pt>
                <c:pt idx="121">
                  <c:v>109.61011312627161</c:v>
                </c:pt>
                <c:pt idx="122">
                  <c:v>109.36723547208857</c:v>
                </c:pt>
                <c:pt idx="123">
                  <c:v>109.43745220628486</c:v>
                </c:pt>
                <c:pt idx="124">
                  <c:v>108.04253171944725</c:v>
                </c:pt>
                <c:pt idx="125">
                  <c:v>108.42761786078172</c:v>
                </c:pt>
                <c:pt idx="126">
                  <c:v>108.8940085807852</c:v>
                </c:pt>
                <c:pt idx="127">
                  <c:v>107.79039437318133</c:v>
                </c:pt>
                <c:pt idx="128">
                  <c:v>109.27910819960501</c:v>
                </c:pt>
                <c:pt idx="129">
                  <c:v>107.67741905916196</c:v>
                </c:pt>
                <c:pt idx="130">
                  <c:v>109.61655523645295</c:v>
                </c:pt>
                <c:pt idx="131">
                  <c:v>107.7402400208197</c:v>
                </c:pt>
                <c:pt idx="132">
                  <c:v>107.66457973990619</c:v>
                </c:pt>
                <c:pt idx="133">
                  <c:v>107.69335227745898</c:v>
                </c:pt>
                <c:pt idx="134">
                  <c:v>107.95923044199705</c:v>
                </c:pt>
                <c:pt idx="135">
                  <c:v>108.26181564126367</c:v>
                </c:pt>
                <c:pt idx="136">
                  <c:v>108.27664312332855</c:v>
                </c:pt>
                <c:pt idx="137">
                  <c:v>109.21742835108678</c:v>
                </c:pt>
                <c:pt idx="138">
                  <c:v>109.50190263238787</c:v>
                </c:pt>
                <c:pt idx="139">
                  <c:v>109.4735369494186</c:v>
                </c:pt>
                <c:pt idx="140">
                  <c:v>109.4013448770327</c:v>
                </c:pt>
                <c:pt idx="141">
                  <c:v>110.08161784393776</c:v>
                </c:pt>
                <c:pt idx="142">
                  <c:v>109.67701716229726</c:v>
                </c:pt>
                <c:pt idx="143">
                  <c:v>109.91544463624425</c:v>
                </c:pt>
                <c:pt idx="144">
                  <c:v>109.02096195637274</c:v>
                </c:pt>
                <c:pt idx="145">
                  <c:v>109.48578385207472</c:v>
                </c:pt>
                <c:pt idx="146">
                  <c:v>109.17800831583433</c:v>
                </c:pt>
                <c:pt idx="147">
                  <c:v>110.50389659742062</c:v>
                </c:pt>
                <c:pt idx="148">
                  <c:v>109.47912586703936</c:v>
                </c:pt>
                <c:pt idx="149">
                  <c:v>108.32205671932932</c:v>
                </c:pt>
                <c:pt idx="150">
                  <c:v>107.4455363868246</c:v>
                </c:pt>
                <c:pt idx="151">
                  <c:v>107.84989344336047</c:v>
                </c:pt>
                <c:pt idx="152">
                  <c:v>108.61531735070564</c:v>
                </c:pt>
                <c:pt idx="153">
                  <c:v>110.67369555601331</c:v>
                </c:pt>
                <c:pt idx="154">
                  <c:v>110.53172276155709</c:v>
                </c:pt>
                <c:pt idx="155">
                  <c:v>111.38705823309181</c:v>
                </c:pt>
                <c:pt idx="156">
                  <c:v>110.87700217835032</c:v>
                </c:pt>
                <c:pt idx="157">
                  <c:v>111.03774444448892</c:v>
                </c:pt>
                <c:pt idx="158">
                  <c:v>111.21342133893721</c:v>
                </c:pt>
                <c:pt idx="159">
                  <c:v>113.188598567848</c:v>
                </c:pt>
                <c:pt idx="160">
                  <c:v>113.08577604377601</c:v>
                </c:pt>
                <c:pt idx="161">
                  <c:v>114.30927243649846</c:v>
                </c:pt>
                <c:pt idx="162">
                  <c:v>114.95198498427715</c:v>
                </c:pt>
                <c:pt idx="163">
                  <c:v>115.13226283346148</c:v>
                </c:pt>
                <c:pt idx="164">
                  <c:v>115.13791524431149</c:v>
                </c:pt>
                <c:pt idx="165">
                  <c:v>114.25974348242842</c:v>
                </c:pt>
                <c:pt idx="166">
                  <c:v>113.28097512598026</c:v>
                </c:pt>
                <c:pt idx="167">
                  <c:v>113.00470957714866</c:v>
                </c:pt>
                <c:pt idx="168">
                  <c:v>113.34795446005852</c:v>
                </c:pt>
                <c:pt idx="169">
                  <c:v>113.33464333366412</c:v>
                </c:pt>
                <c:pt idx="170">
                  <c:v>112.98660977918597</c:v>
                </c:pt>
                <c:pt idx="171">
                  <c:v>112.75900614276493</c:v>
                </c:pt>
                <c:pt idx="172">
                  <c:v>113.19818025641152</c:v>
                </c:pt>
                <c:pt idx="173">
                  <c:v>113.50657730349592</c:v>
                </c:pt>
                <c:pt idx="174">
                  <c:v>115.12782078651755</c:v>
                </c:pt>
                <c:pt idx="175">
                  <c:v>115.01162936735562</c:v>
                </c:pt>
                <c:pt idx="176">
                  <c:v>115.76694229429268</c:v>
                </c:pt>
                <c:pt idx="177">
                  <c:v>116.26626015190581</c:v>
                </c:pt>
                <c:pt idx="178">
                  <c:v>116.48878027215666</c:v>
                </c:pt>
                <c:pt idx="179">
                  <c:v>116.7480954173584</c:v>
                </c:pt>
                <c:pt idx="180">
                  <c:v>116.07731202014196</c:v>
                </c:pt>
                <c:pt idx="181">
                  <c:v>116.70684666185315</c:v>
                </c:pt>
                <c:pt idx="182">
                  <c:v>115.82987941953235</c:v>
                </c:pt>
                <c:pt idx="183">
                  <c:v>116.03727565676645</c:v>
                </c:pt>
                <c:pt idx="184">
                  <c:v>116.10737038605455</c:v>
                </c:pt>
                <c:pt idx="185">
                  <c:v>114.70128579639962</c:v>
                </c:pt>
                <c:pt idx="186">
                  <c:v>115.53052639737426</c:v>
                </c:pt>
                <c:pt idx="187">
                  <c:v>114.98031328482497</c:v>
                </c:pt>
                <c:pt idx="188">
                  <c:v>114.32201977373695</c:v>
                </c:pt>
                <c:pt idx="189">
                  <c:v>113.85951299283668</c:v>
                </c:pt>
                <c:pt idx="190">
                  <c:v>113.9013560131601</c:v>
                </c:pt>
                <c:pt idx="191">
                  <c:v>113.18013178413449</c:v>
                </c:pt>
                <c:pt idx="192">
                  <c:v>112.65591796038053</c:v>
                </c:pt>
                <c:pt idx="193">
                  <c:v>113.2751576574276</c:v>
                </c:pt>
                <c:pt idx="194">
                  <c:v>114.79572433840579</c:v>
                </c:pt>
                <c:pt idx="195">
                  <c:v>115.42568227771912</c:v>
                </c:pt>
                <c:pt idx="196">
                  <c:v>116.12762251337747</c:v>
                </c:pt>
                <c:pt idx="197">
                  <c:v>115.99610997290347</c:v>
                </c:pt>
                <c:pt idx="198">
                  <c:v>116.34178287140257</c:v>
                </c:pt>
                <c:pt idx="199">
                  <c:v>116.56482256150605</c:v>
                </c:pt>
                <c:pt idx="200">
                  <c:v>118.05857963810693</c:v>
                </c:pt>
                <c:pt idx="201">
                  <c:v>117.61459805754403</c:v>
                </c:pt>
                <c:pt idx="202">
                  <c:v>114.96763723075843</c:v>
                </c:pt>
                <c:pt idx="203">
                  <c:v>114.56616159624815</c:v>
                </c:pt>
                <c:pt idx="204">
                  <c:v>116.60389900510967</c:v>
                </c:pt>
                <c:pt idx="205">
                  <c:v>115.52350229156151</c:v>
                </c:pt>
                <c:pt idx="206">
                  <c:v>116.25221636391909</c:v>
                </c:pt>
                <c:pt idx="207">
                  <c:v>117.24683976168596</c:v>
                </c:pt>
                <c:pt idx="208">
                  <c:v>116.71459536213963</c:v>
                </c:pt>
                <c:pt idx="209">
                  <c:v>116.20241161991733</c:v>
                </c:pt>
                <c:pt idx="210">
                  <c:v>116.72456910719481</c:v>
                </c:pt>
                <c:pt idx="211">
                  <c:v>117.71901277818363</c:v>
                </c:pt>
                <c:pt idx="212">
                  <c:v>115.25207464450718</c:v>
                </c:pt>
                <c:pt idx="213">
                  <c:v>117.03133486891272</c:v>
                </c:pt>
                <c:pt idx="214">
                  <c:v>115.62605089392368</c:v>
                </c:pt>
                <c:pt idx="215">
                  <c:v>113.95103988678559</c:v>
                </c:pt>
                <c:pt idx="216">
                  <c:v>116.11514808452618</c:v>
                </c:pt>
                <c:pt idx="217">
                  <c:v>115.88003826194202</c:v>
                </c:pt>
                <c:pt idx="218">
                  <c:v>115.66512121092707</c:v>
                </c:pt>
                <c:pt idx="219">
                  <c:v>114.90249513643899</c:v>
                </c:pt>
                <c:pt idx="220">
                  <c:v>115.4591932646744</c:v>
                </c:pt>
                <c:pt idx="221">
                  <c:v>116.37768737892998</c:v>
                </c:pt>
                <c:pt idx="222">
                  <c:v>117.06957486527388</c:v>
                </c:pt>
                <c:pt idx="223">
                  <c:v>117.23873415504006</c:v>
                </c:pt>
                <c:pt idx="224">
                  <c:v>117.1603052069684</c:v>
                </c:pt>
                <c:pt idx="225">
                  <c:v>116.81954871687947</c:v>
                </c:pt>
                <c:pt idx="226">
                  <c:v>115.52319025114141</c:v>
                </c:pt>
                <c:pt idx="227">
                  <c:v>115.16019867671487</c:v>
                </c:pt>
                <c:pt idx="228">
                  <c:v>117.32716590879797</c:v>
                </c:pt>
                <c:pt idx="229">
                  <c:v>116.80033751052999</c:v>
                </c:pt>
                <c:pt idx="230">
                  <c:v>115.21666735113531</c:v>
                </c:pt>
                <c:pt idx="231">
                  <c:v>115.28173046434779</c:v>
                </c:pt>
                <c:pt idx="232">
                  <c:v>114.14552514019213</c:v>
                </c:pt>
                <c:pt idx="233">
                  <c:v>114.97744779137723</c:v>
                </c:pt>
                <c:pt idx="234">
                  <c:v>114.47427240809388</c:v>
                </c:pt>
                <c:pt idx="235">
                  <c:v>114.79246405480323</c:v>
                </c:pt>
                <c:pt idx="236">
                  <c:v>115.92287872367319</c:v>
                </c:pt>
                <c:pt idx="237">
                  <c:v>117.97887111043529</c:v>
                </c:pt>
                <c:pt idx="238">
                  <c:v>117.22932815887154</c:v>
                </c:pt>
                <c:pt idx="239">
                  <c:v>118.99370848660601</c:v>
                </c:pt>
                <c:pt idx="240">
                  <c:v>118.69182069952824</c:v>
                </c:pt>
                <c:pt idx="241">
                  <c:v>115.83572804511697</c:v>
                </c:pt>
                <c:pt idx="242">
                  <c:v>117.23692772531568</c:v>
                </c:pt>
                <c:pt idx="243">
                  <c:v>120.3735007015289</c:v>
                </c:pt>
                <c:pt idx="244">
                  <c:v>116.68759771606477</c:v>
                </c:pt>
                <c:pt idx="245">
                  <c:v>119.48643799492218</c:v>
                </c:pt>
                <c:pt idx="246">
                  <c:v>118.0560457595835</c:v>
                </c:pt>
                <c:pt idx="247">
                  <c:v>116.16455053746397</c:v>
                </c:pt>
                <c:pt idx="248">
                  <c:v>116.46691338652906</c:v>
                </c:pt>
                <c:pt idx="249">
                  <c:v>115.57061491763142</c:v>
                </c:pt>
                <c:pt idx="250">
                  <c:v>113.93782259740826</c:v>
                </c:pt>
                <c:pt idx="251">
                  <c:v>114.84681352133343</c:v>
                </c:pt>
                <c:pt idx="252">
                  <c:v>112.10993338526144</c:v>
                </c:pt>
                <c:pt idx="253">
                  <c:v>111.59223935341035</c:v>
                </c:pt>
                <c:pt idx="254">
                  <c:v>109.95758246021941</c:v>
                </c:pt>
                <c:pt idx="255">
                  <c:v>107.22607648515326</c:v>
                </c:pt>
                <c:pt idx="256">
                  <c:v>107.22607648515326</c:v>
                </c:pt>
                <c:pt idx="257">
                  <c:v>113.18208334147533</c:v>
                </c:pt>
                <c:pt idx="258">
                  <c:v>115.203633002386</c:v>
                </c:pt>
                <c:pt idx="259">
                  <c:v>112.77111121615965</c:v>
                </c:pt>
                <c:pt idx="260">
                  <c:v>113.15294274087366</c:v>
                </c:pt>
                <c:pt idx="261">
                  <c:v>113.15294274087366</c:v>
                </c:pt>
                <c:pt idx="262">
                  <c:v>114.59469097890297</c:v>
                </c:pt>
                <c:pt idx="263">
                  <c:v>112.20125238237495</c:v>
                </c:pt>
                <c:pt idx="264">
                  <c:v>112.82121580783894</c:v>
                </c:pt>
                <c:pt idx="265">
                  <c:v>113.3088737544078</c:v>
                </c:pt>
                <c:pt idx="266">
                  <c:v>113.6430315486303</c:v>
                </c:pt>
                <c:pt idx="267">
                  <c:v>112.76611648982019</c:v>
                </c:pt>
                <c:pt idx="268">
                  <c:v>113.1694650619641</c:v>
                </c:pt>
                <c:pt idx="269">
                  <c:v>113.31280483956985</c:v>
                </c:pt>
                <c:pt idx="270">
                  <c:v>113.28435410065816</c:v>
                </c:pt>
                <c:pt idx="271">
                  <c:v>114.96501245542335</c:v>
                </c:pt>
                <c:pt idx="272">
                  <c:v>114.61803280630834</c:v>
                </c:pt>
                <c:pt idx="273">
                  <c:v>115.60035658296422</c:v>
                </c:pt>
                <c:pt idx="274">
                  <c:v>115.27573637830497</c:v>
                </c:pt>
                <c:pt idx="275">
                  <c:v>115.51525544491547</c:v>
                </c:pt>
                <c:pt idx="276">
                  <c:v>114.26658200644266</c:v>
                </c:pt>
                <c:pt idx="277">
                  <c:v>114.34102987891005</c:v>
                </c:pt>
                <c:pt idx="278">
                  <c:v>115.1908529937248</c:v>
                </c:pt>
                <c:pt idx="279">
                  <c:v>114.43832103628104</c:v>
                </c:pt>
                <c:pt idx="280">
                  <c:v>114.36915433769715</c:v>
                </c:pt>
                <c:pt idx="281">
                  <c:v>113.3410247984492</c:v>
                </c:pt>
                <c:pt idx="282">
                  <c:v>114.74175199687907</c:v>
                </c:pt>
                <c:pt idx="283">
                  <c:v>115.32000692423357</c:v>
                </c:pt>
                <c:pt idx="284">
                  <c:v>114.91425441304166</c:v>
                </c:pt>
                <c:pt idx="285">
                  <c:v>115.99904390355293</c:v>
                </c:pt>
                <c:pt idx="286">
                  <c:v>115.11093413176785</c:v>
                </c:pt>
                <c:pt idx="287">
                  <c:v>115.00706799820439</c:v>
                </c:pt>
                <c:pt idx="288">
                  <c:v>115.94602294832401</c:v>
                </c:pt>
                <c:pt idx="289">
                  <c:v>116.86347119490738</c:v>
                </c:pt>
                <c:pt idx="290">
                  <c:v>116.57423294663766</c:v>
                </c:pt>
                <c:pt idx="291">
                  <c:v>117.0423302891178</c:v>
                </c:pt>
                <c:pt idx="292">
                  <c:v>117.14070509474485</c:v>
                </c:pt>
                <c:pt idx="293">
                  <c:v>117.0211007364928</c:v>
                </c:pt>
                <c:pt idx="294">
                  <c:v>116.88328724011443</c:v>
                </c:pt>
                <c:pt idx="295">
                  <c:v>116.66806703304353</c:v>
                </c:pt>
                <c:pt idx="296">
                  <c:v>116.28105152094702</c:v>
                </c:pt>
                <c:pt idx="297">
                  <c:v>115.51361637921003</c:v>
                </c:pt>
                <c:pt idx="298">
                  <c:v>115.80480872844456</c:v>
                </c:pt>
                <c:pt idx="299">
                  <c:v>116.15897180739701</c:v>
                </c:pt>
                <c:pt idx="300">
                  <c:v>115.99000127295464</c:v>
                </c:pt>
                <c:pt idx="301">
                  <c:v>115.1814382782144</c:v>
                </c:pt>
                <c:pt idx="302">
                  <c:v>115.61395738046195</c:v>
                </c:pt>
                <c:pt idx="303">
                  <c:v>115.12019023429696</c:v>
                </c:pt>
                <c:pt idx="304">
                  <c:v>115.63530940967139</c:v>
                </c:pt>
                <c:pt idx="305">
                  <c:v>115.21624436266175</c:v>
                </c:pt>
                <c:pt idx="306">
                  <c:v>115.26010612036738</c:v>
                </c:pt>
                <c:pt idx="307">
                  <c:v>114.42644078010963</c:v>
                </c:pt>
                <c:pt idx="308">
                  <c:v>114.81420738030138</c:v>
                </c:pt>
                <c:pt idx="309">
                  <c:v>115.48134443479958</c:v>
                </c:pt>
                <c:pt idx="310">
                  <c:v>116.2475270099218</c:v>
                </c:pt>
                <c:pt idx="311">
                  <c:v>116.18911204754916</c:v>
                </c:pt>
                <c:pt idx="312">
                  <c:v>116.12689729050469</c:v>
                </c:pt>
                <c:pt idx="313">
                  <c:v>115.17198525613311</c:v>
                </c:pt>
                <c:pt idx="314">
                  <c:v>114.74358867572705</c:v>
                </c:pt>
                <c:pt idx="315">
                  <c:v>114.74670275004127</c:v>
                </c:pt>
                <c:pt idx="316">
                  <c:v>113.80880174102873</c:v>
                </c:pt>
                <c:pt idx="317">
                  <c:v>114.48532679357236</c:v>
                </c:pt>
                <c:pt idx="318">
                  <c:v>115.81034734038771</c:v>
                </c:pt>
                <c:pt idx="319">
                  <c:v>115.54984027986619</c:v>
                </c:pt>
                <c:pt idx="320">
                  <c:v>115.76079551640085</c:v>
                </c:pt>
                <c:pt idx="321">
                  <c:v>116.06698100476849</c:v>
                </c:pt>
                <c:pt idx="322">
                  <c:v>115.79123435972511</c:v>
                </c:pt>
                <c:pt idx="323">
                  <c:v>116.59787640039669</c:v>
                </c:pt>
                <c:pt idx="324">
                  <c:v>116.85959343465809</c:v>
                </c:pt>
                <c:pt idx="325">
                  <c:v>116.96398414287643</c:v>
                </c:pt>
                <c:pt idx="326">
                  <c:v>116.64394819570502</c:v>
                </c:pt>
                <c:pt idx="327">
                  <c:v>115.32794670504072</c:v>
                </c:pt>
                <c:pt idx="328">
                  <c:v>116.09016205081512</c:v>
                </c:pt>
                <c:pt idx="329">
                  <c:v>116.56932701171867</c:v>
                </c:pt>
                <c:pt idx="330">
                  <c:v>116.31752283250989</c:v>
                </c:pt>
                <c:pt idx="331">
                  <c:v>116.13407432264715</c:v>
                </c:pt>
                <c:pt idx="332">
                  <c:v>116.20022500724552</c:v>
                </c:pt>
                <c:pt idx="333">
                  <c:v>116.32482624670173</c:v>
                </c:pt>
                <c:pt idx="334">
                  <c:v>116.47680360089515</c:v>
                </c:pt>
                <c:pt idx="335">
                  <c:v>116.19809480432306</c:v>
                </c:pt>
                <c:pt idx="336">
                  <c:v>116.14824864614792</c:v>
                </c:pt>
                <c:pt idx="337">
                  <c:v>115.55739897873875</c:v>
                </c:pt>
                <c:pt idx="338">
                  <c:v>116.16658335485978</c:v>
                </c:pt>
                <c:pt idx="339">
                  <c:v>116.16658335485978</c:v>
                </c:pt>
                <c:pt idx="340">
                  <c:v>116.18085795697118</c:v>
                </c:pt>
                <c:pt idx="341">
                  <c:v>117.21249050120169</c:v>
                </c:pt>
                <c:pt idx="342">
                  <c:v>117.70551192502266</c:v>
                </c:pt>
                <c:pt idx="343">
                  <c:v>118.10415863849204</c:v>
                </c:pt>
                <c:pt idx="344">
                  <c:v>118.1467338413736</c:v>
                </c:pt>
                <c:pt idx="345">
                  <c:v>118.00232070045696</c:v>
                </c:pt>
                <c:pt idx="346">
                  <c:v>117.65294126985954</c:v>
                </c:pt>
                <c:pt idx="347">
                  <c:v>116.64166378115497</c:v>
                </c:pt>
                <c:pt idx="348">
                  <c:v>117.64763197167387</c:v>
                </c:pt>
                <c:pt idx="349">
                  <c:v>118.15832944672766</c:v>
                </c:pt>
                <c:pt idx="350">
                  <c:v>118.59837070519448</c:v>
                </c:pt>
                <c:pt idx="351">
                  <c:v>118.5997251432357</c:v>
                </c:pt>
                <c:pt idx="352">
                  <c:v>118.07987908296306</c:v>
                </c:pt>
                <c:pt idx="353">
                  <c:v>119.35058423823085</c:v>
                </c:pt>
                <c:pt idx="354">
                  <c:v>119.25802425786617</c:v>
                </c:pt>
                <c:pt idx="355">
                  <c:v>117.73071119397318</c:v>
                </c:pt>
                <c:pt idx="356">
                  <c:v>117.7935567728363</c:v>
                </c:pt>
                <c:pt idx="357">
                  <c:v>117.96381325913411</c:v>
                </c:pt>
                <c:pt idx="358">
                  <c:v>117.91781824034356</c:v>
                </c:pt>
                <c:pt idx="359">
                  <c:v>117.74631480910131</c:v>
                </c:pt>
                <c:pt idx="360">
                  <c:v>118.10597716528507</c:v>
                </c:pt>
                <c:pt idx="361">
                  <c:v>118.60055223009238</c:v>
                </c:pt>
                <c:pt idx="362">
                  <c:v>118.44030375501629</c:v>
                </c:pt>
                <c:pt idx="363">
                  <c:v>118.41056278457923</c:v>
                </c:pt>
                <c:pt idx="364">
                  <c:v>117.69737601674888</c:v>
                </c:pt>
                <c:pt idx="365">
                  <c:v>117.456458698497</c:v>
                </c:pt>
                <c:pt idx="366">
                  <c:v>117.1266910673431</c:v>
                </c:pt>
                <c:pt idx="367">
                  <c:v>118.3131853685846</c:v>
                </c:pt>
                <c:pt idx="368">
                  <c:v>118.05465197587603</c:v>
                </c:pt>
                <c:pt idx="369">
                  <c:v>117.221007049778</c:v>
                </c:pt>
                <c:pt idx="370">
                  <c:v>115.80199245389852</c:v>
                </c:pt>
                <c:pt idx="371">
                  <c:v>117.33641200028084</c:v>
                </c:pt>
                <c:pt idx="372">
                  <c:v>118.0038646643746</c:v>
                </c:pt>
                <c:pt idx="373">
                  <c:v>118.12608221746649</c:v>
                </c:pt>
                <c:pt idx="374">
                  <c:v>117.79115888307938</c:v>
                </c:pt>
                <c:pt idx="375">
                  <c:v>118.36228052265533</c:v>
                </c:pt>
                <c:pt idx="376">
                  <c:v>117.37821186050191</c:v>
                </c:pt>
                <c:pt idx="377">
                  <c:v>117.86766199633418</c:v>
                </c:pt>
                <c:pt idx="378">
                  <c:v>118.39750195822408</c:v>
                </c:pt>
                <c:pt idx="379">
                  <c:v>119.36515466106405</c:v>
                </c:pt>
                <c:pt idx="380">
                  <c:v>119.42027549914192</c:v>
                </c:pt>
                <c:pt idx="381">
                  <c:v>118.84182676936062</c:v>
                </c:pt>
                <c:pt idx="382">
                  <c:v>119.03122318310614</c:v>
                </c:pt>
                <c:pt idx="383">
                  <c:v>118.89344034505744</c:v>
                </c:pt>
                <c:pt idx="384">
                  <c:v>118.63031429341736</c:v>
                </c:pt>
                <c:pt idx="385">
                  <c:v>118.16715717313566</c:v>
                </c:pt>
                <c:pt idx="386">
                  <c:v>117.43019816246395</c:v>
                </c:pt>
                <c:pt idx="387">
                  <c:v>117.42555390350827</c:v>
                </c:pt>
                <c:pt idx="388">
                  <c:v>118.0850545584307</c:v>
                </c:pt>
                <c:pt idx="389">
                  <c:v>118.07210364246781</c:v>
                </c:pt>
                <c:pt idx="390">
                  <c:v>118.78173936535994</c:v>
                </c:pt>
                <c:pt idx="391">
                  <c:v>118.53037436264489</c:v>
                </c:pt>
                <c:pt idx="392">
                  <c:v>118.76537929936728</c:v>
                </c:pt>
                <c:pt idx="393">
                  <c:v>118.63984397960955</c:v>
                </c:pt>
                <c:pt idx="394">
                  <c:v>119.95742318852935</c:v>
                </c:pt>
                <c:pt idx="395">
                  <c:v>119.46077500462084</c:v>
                </c:pt>
                <c:pt idx="396">
                  <c:v>120.30796909584348</c:v>
                </c:pt>
                <c:pt idx="397">
                  <c:v>120.5441382481022</c:v>
                </c:pt>
                <c:pt idx="398">
                  <c:v>121.0329752819386</c:v>
                </c:pt>
                <c:pt idx="399">
                  <c:v>121.43756659064266</c:v>
                </c:pt>
                <c:pt idx="400">
                  <c:v>121.31722533984579</c:v>
                </c:pt>
                <c:pt idx="401">
                  <c:v>120.94536786141568</c:v>
                </c:pt>
                <c:pt idx="402">
                  <c:v>120.52954286381646</c:v>
                </c:pt>
                <c:pt idx="403">
                  <c:v>121.24565184496618</c:v>
                </c:pt>
                <c:pt idx="404">
                  <c:v>120.31694292480543</c:v>
                </c:pt>
                <c:pt idx="405">
                  <c:v>120.62390633369364</c:v>
                </c:pt>
                <c:pt idx="406">
                  <c:v>120.95825976395879</c:v>
                </c:pt>
                <c:pt idx="407">
                  <c:v>121.58149233752806</c:v>
                </c:pt>
                <c:pt idx="408">
                  <c:v>121.73335861750802</c:v>
                </c:pt>
                <c:pt idx="409">
                  <c:v>122.40406632150659</c:v>
                </c:pt>
                <c:pt idx="410">
                  <c:v>121.87286654448664</c:v>
                </c:pt>
                <c:pt idx="411">
                  <c:v>123.1825556264566</c:v>
                </c:pt>
                <c:pt idx="412">
                  <c:v>121.93868860335363</c:v>
                </c:pt>
                <c:pt idx="413">
                  <c:v>120.97233189282682</c:v>
                </c:pt>
                <c:pt idx="414">
                  <c:v>122.56595852390389</c:v>
                </c:pt>
                <c:pt idx="415">
                  <c:v>120.70909335908675</c:v>
                </c:pt>
                <c:pt idx="416">
                  <c:v>122.99058534216486</c:v>
                </c:pt>
                <c:pt idx="417">
                  <c:v>122.50612373043413</c:v>
                </c:pt>
                <c:pt idx="418">
                  <c:v>123.05390405797924</c:v>
                </c:pt>
                <c:pt idx="419">
                  <c:v>123.17964572551112</c:v>
                </c:pt>
                <c:pt idx="420">
                  <c:v>122.04168056605954</c:v>
                </c:pt>
                <c:pt idx="421">
                  <c:v>123.51354309891718</c:v>
                </c:pt>
                <c:pt idx="422">
                  <c:v>122.27622777528522</c:v>
                </c:pt>
                <c:pt idx="423">
                  <c:v>123.41450058361534</c:v>
                </c:pt>
                <c:pt idx="424">
                  <c:v>123.74364134580929</c:v>
                </c:pt>
                <c:pt idx="425">
                  <c:v>123.79982782031693</c:v>
                </c:pt>
                <c:pt idx="426">
                  <c:v>123.67330011676286</c:v>
                </c:pt>
                <c:pt idx="427">
                  <c:v>123.17340712665123</c:v>
                </c:pt>
                <c:pt idx="428">
                  <c:v>123.80114331617725</c:v>
                </c:pt>
                <c:pt idx="429">
                  <c:v>120.96744255765196</c:v>
                </c:pt>
                <c:pt idx="430">
                  <c:v>122.60202140087004</c:v>
                </c:pt>
                <c:pt idx="431">
                  <c:v>121.58607525137143</c:v>
                </c:pt>
                <c:pt idx="432">
                  <c:v>122.72585201528061</c:v>
                </c:pt>
                <c:pt idx="433">
                  <c:v>123.2673085606643</c:v>
                </c:pt>
                <c:pt idx="434">
                  <c:v>123.22590673696364</c:v>
                </c:pt>
                <c:pt idx="435">
                  <c:v>122.80317635364645</c:v>
                </c:pt>
                <c:pt idx="436">
                  <c:v>122.4180918961693</c:v>
                </c:pt>
                <c:pt idx="437">
                  <c:v>122.01953476951491</c:v>
                </c:pt>
                <c:pt idx="438">
                  <c:v>122.54274449814321</c:v>
                </c:pt>
                <c:pt idx="439">
                  <c:v>122.34332622271157</c:v>
                </c:pt>
                <c:pt idx="440">
                  <c:v>122.33086025736654</c:v>
                </c:pt>
                <c:pt idx="441">
                  <c:v>122.3403409796388</c:v>
                </c:pt>
                <c:pt idx="442">
                  <c:v>122.62877031612156</c:v>
                </c:pt>
                <c:pt idx="443">
                  <c:v>122.07488246003402</c:v>
                </c:pt>
                <c:pt idx="444">
                  <c:v>121.52577405819387</c:v>
                </c:pt>
                <c:pt idx="445">
                  <c:v>122.71262812396492</c:v>
                </c:pt>
                <c:pt idx="446">
                  <c:v>122.3752201402327</c:v>
                </c:pt>
                <c:pt idx="447">
                  <c:v>122.47482211865339</c:v>
                </c:pt>
                <c:pt idx="448">
                  <c:v>121.89850664864544</c:v>
                </c:pt>
                <c:pt idx="449">
                  <c:v>121.3658080119818</c:v>
                </c:pt>
                <c:pt idx="450">
                  <c:v>122.47971606993293</c:v>
                </c:pt>
                <c:pt idx="451">
                  <c:v>121.16754018958852</c:v>
                </c:pt>
                <c:pt idx="452">
                  <c:v>123.40026623475308</c:v>
                </c:pt>
                <c:pt idx="453">
                  <c:v>122.53733110960462</c:v>
                </c:pt>
                <c:pt idx="454">
                  <c:v>121.07488268407849</c:v>
                </c:pt>
                <c:pt idx="455">
                  <c:v>121.73827471830104</c:v>
                </c:pt>
                <c:pt idx="456">
                  <c:v>121.4504349467054</c:v>
                </c:pt>
                <c:pt idx="457">
                  <c:v>122.39062346239305</c:v>
                </c:pt>
                <c:pt idx="458">
                  <c:v>123.12929086671819</c:v>
                </c:pt>
                <c:pt idx="459">
                  <c:v>123.98092905394118</c:v>
                </c:pt>
                <c:pt idx="460">
                  <c:v>122.56283735813759</c:v>
                </c:pt>
                <c:pt idx="461">
                  <c:v>122.29419437921639</c:v>
                </c:pt>
                <c:pt idx="462">
                  <c:v>122.67217466627604</c:v>
                </c:pt>
                <c:pt idx="463">
                  <c:v>122.20330398660904</c:v>
                </c:pt>
                <c:pt idx="464">
                  <c:v>120.51284339377952</c:v>
                </c:pt>
                <c:pt idx="465">
                  <c:v>121.14983988229892</c:v>
                </c:pt>
                <c:pt idx="466">
                  <c:v>121.15658527047628</c:v>
                </c:pt>
                <c:pt idx="467">
                  <c:v>120.39788173788533</c:v>
                </c:pt>
                <c:pt idx="468">
                  <c:v>120.36438600950261</c:v>
                </c:pt>
                <c:pt idx="469">
                  <c:v>119.90963329655847</c:v>
                </c:pt>
                <c:pt idx="470">
                  <c:v>120.04710738939723</c:v>
                </c:pt>
                <c:pt idx="471">
                  <c:v>119.54857942810914</c:v>
                </c:pt>
                <c:pt idx="472">
                  <c:v>119.9831717144542</c:v>
                </c:pt>
                <c:pt idx="473">
                  <c:v>119.70792879331039</c:v>
                </c:pt>
                <c:pt idx="474">
                  <c:v>120.39588580802351</c:v>
                </c:pt>
                <c:pt idx="475">
                  <c:v>120.49354977661572</c:v>
                </c:pt>
                <c:pt idx="476">
                  <c:v>120.49702299721989</c:v>
                </c:pt>
                <c:pt idx="477">
                  <c:v>120.67273172206718</c:v>
                </c:pt>
                <c:pt idx="478">
                  <c:v>120.65990083847618</c:v>
                </c:pt>
                <c:pt idx="479">
                  <c:v>120.81821667053168</c:v>
                </c:pt>
                <c:pt idx="480">
                  <c:v>120.27058077713815</c:v>
                </c:pt>
                <c:pt idx="481">
                  <c:v>120.6306900806635</c:v>
                </c:pt>
                <c:pt idx="482">
                  <c:v>120.46621390664512</c:v>
                </c:pt>
                <c:pt idx="483">
                  <c:v>120.69161264590868</c:v>
                </c:pt>
                <c:pt idx="484">
                  <c:v>121.59700550854221</c:v>
                </c:pt>
                <c:pt idx="485">
                  <c:v>121.21190905547695</c:v>
                </c:pt>
                <c:pt idx="486">
                  <c:v>121.23747378811812</c:v>
                </c:pt>
                <c:pt idx="487">
                  <c:v>121.79584865522975</c:v>
                </c:pt>
                <c:pt idx="488">
                  <c:v>122.17474064378531</c:v>
                </c:pt>
                <c:pt idx="489">
                  <c:v>122.24830229678948</c:v>
                </c:pt>
                <c:pt idx="490">
                  <c:v>122.05554240583899</c:v>
                </c:pt>
                <c:pt idx="491">
                  <c:v>122.20550537802954</c:v>
                </c:pt>
                <c:pt idx="492">
                  <c:v>122.46809751877728</c:v>
                </c:pt>
                <c:pt idx="493">
                  <c:v>122.76330890013736</c:v>
                </c:pt>
                <c:pt idx="494">
                  <c:v>122.90268424814633</c:v>
                </c:pt>
                <c:pt idx="495">
                  <c:v>122.81441859837656</c:v>
                </c:pt>
                <c:pt idx="496">
                  <c:v>122.873622523544</c:v>
                </c:pt>
                <c:pt idx="497">
                  <c:v>123.22909535512225</c:v>
                </c:pt>
                <c:pt idx="498">
                  <c:v>123.39937555961296</c:v>
                </c:pt>
                <c:pt idx="499">
                  <c:v>123.27296171921815</c:v>
                </c:pt>
                <c:pt idx="500">
                  <c:v>123.45003406755133</c:v>
                </c:pt>
                <c:pt idx="501">
                  <c:v>123.35968409842164</c:v>
                </c:pt>
                <c:pt idx="502">
                  <c:v>122.79664624325143</c:v>
                </c:pt>
                <c:pt idx="503">
                  <c:v>122.84729885044302</c:v>
                </c:pt>
                <c:pt idx="504">
                  <c:v>123.05971614905394</c:v>
                </c:pt>
                <c:pt idx="505">
                  <c:v>122.91046056592489</c:v>
                </c:pt>
                <c:pt idx="506">
                  <c:v>122.74953113984625</c:v>
                </c:pt>
                <c:pt idx="507">
                  <c:v>122.74447468473279</c:v>
                </c:pt>
                <c:pt idx="508">
                  <c:v>123.13722179732694</c:v>
                </c:pt>
                <c:pt idx="509">
                  <c:v>121.84453259036653</c:v>
                </c:pt>
                <c:pt idx="510">
                  <c:v>120.76259298670004</c:v>
                </c:pt>
                <c:pt idx="511">
                  <c:v>121.43424529799294</c:v>
                </c:pt>
                <c:pt idx="512">
                  <c:v>121.90149608899985</c:v>
                </c:pt>
                <c:pt idx="513">
                  <c:v>122.16150879633631</c:v>
                </c:pt>
                <c:pt idx="514">
                  <c:v>122.42116953211161</c:v>
                </c:pt>
                <c:pt idx="515">
                  <c:v>122.32941115939991</c:v>
                </c:pt>
                <c:pt idx="516">
                  <c:v>122.17820167332019</c:v>
                </c:pt>
                <c:pt idx="517">
                  <c:v>122.17820167332019</c:v>
                </c:pt>
                <c:pt idx="518">
                  <c:v>122.60431289042356</c:v>
                </c:pt>
                <c:pt idx="519">
                  <c:v>121.53498258027039</c:v>
                </c:pt>
                <c:pt idx="520">
                  <c:v>121.59226340061812</c:v>
                </c:pt>
                <c:pt idx="521">
                  <c:v>121.84789709782476</c:v>
                </c:pt>
                <c:pt idx="522">
                  <c:v>121.84789709782476</c:v>
                </c:pt>
                <c:pt idx="523">
                  <c:v>122.39922767395508</c:v>
                </c:pt>
                <c:pt idx="524">
                  <c:v>121.87537316603157</c:v>
                </c:pt>
                <c:pt idx="525">
                  <c:v>122.51207716142966</c:v>
                </c:pt>
                <c:pt idx="526">
                  <c:v>122.49655630022674</c:v>
                </c:pt>
                <c:pt idx="527">
                  <c:v>123.16625158076489</c:v>
                </c:pt>
                <c:pt idx="528">
                  <c:v>123.7975012333082</c:v>
                </c:pt>
                <c:pt idx="529">
                  <c:v>123.43004659839357</c:v>
                </c:pt>
                <c:pt idx="530">
                  <c:v>124.35274136383046</c:v>
                </c:pt>
                <c:pt idx="531">
                  <c:v>123.92065209005692</c:v>
                </c:pt>
                <c:pt idx="532">
                  <c:v>123.78892561912279</c:v>
                </c:pt>
                <c:pt idx="533">
                  <c:v>124.82879965208362</c:v>
                </c:pt>
                <c:pt idx="534">
                  <c:v>124.59892214268157</c:v>
                </c:pt>
                <c:pt idx="535">
                  <c:v>124.77393291891964</c:v>
                </c:pt>
                <c:pt idx="536">
                  <c:v>124.66766236992741</c:v>
                </c:pt>
                <c:pt idx="537">
                  <c:v>124.92461804457722</c:v>
                </c:pt>
                <c:pt idx="538">
                  <c:v>126.31765549017688</c:v>
                </c:pt>
                <c:pt idx="539">
                  <c:v>124.41917549472376</c:v>
                </c:pt>
                <c:pt idx="540">
                  <c:v>125.43247399546324</c:v>
                </c:pt>
                <c:pt idx="541">
                  <c:v>125.72670229821044</c:v>
                </c:pt>
                <c:pt idx="542">
                  <c:v>125.18108913759573</c:v>
                </c:pt>
                <c:pt idx="543">
                  <c:v>126.47845002249851</c:v>
                </c:pt>
                <c:pt idx="544">
                  <c:v>125.176894514935</c:v>
                </c:pt>
                <c:pt idx="545">
                  <c:v>126.19830602596558</c:v>
                </c:pt>
                <c:pt idx="546">
                  <c:v>126.39195781143653</c:v>
                </c:pt>
                <c:pt idx="547">
                  <c:v>126.49075005621519</c:v>
                </c:pt>
                <c:pt idx="548">
                  <c:v>126.6347714546573</c:v>
                </c:pt>
                <c:pt idx="549">
                  <c:v>126.65757701223555</c:v>
                </c:pt>
                <c:pt idx="550">
                  <c:v>127.91538937695805</c:v>
                </c:pt>
                <c:pt idx="551">
                  <c:v>126.926517354449</c:v>
                </c:pt>
                <c:pt idx="552">
                  <c:v>127.44403288079242</c:v>
                </c:pt>
                <c:pt idx="553">
                  <c:v>127.85104442661651</c:v>
                </c:pt>
                <c:pt idx="554">
                  <c:v>128.34190225855389</c:v>
                </c:pt>
                <c:pt idx="555">
                  <c:v>127.92460240340675</c:v>
                </c:pt>
                <c:pt idx="556">
                  <c:v>128.53873943207557</c:v>
                </c:pt>
                <c:pt idx="557">
                  <c:v>128.24101627632675</c:v>
                </c:pt>
                <c:pt idx="558">
                  <c:v>128.90201557200712</c:v>
                </c:pt>
                <c:pt idx="559">
                  <c:v>127.44879916826213</c:v>
                </c:pt>
                <c:pt idx="560">
                  <c:v>127.84003950861336</c:v>
                </c:pt>
                <c:pt idx="561">
                  <c:v>126.00873531308709</c:v>
                </c:pt>
                <c:pt idx="562">
                  <c:v>125.50916638778637</c:v>
                </c:pt>
                <c:pt idx="563">
                  <c:v>123.45856716858576</c:v>
                </c:pt>
                <c:pt idx="564">
                  <c:v>126.62697591333443</c:v>
                </c:pt>
                <c:pt idx="565">
                  <c:v>130.04980777123325</c:v>
                </c:pt>
                <c:pt idx="566">
                  <c:v>125.16755972870693</c:v>
                </c:pt>
                <c:pt idx="567">
                  <c:v>128.88350966062231</c:v>
                </c:pt>
                <c:pt idx="568">
                  <c:v>125.38364921299397</c:v>
                </c:pt>
                <c:pt idx="569">
                  <c:v>126.87580344334386</c:v>
                </c:pt>
                <c:pt idx="570">
                  <c:v>124.96354641696455</c:v>
                </c:pt>
                <c:pt idx="571">
                  <c:v>134.16533317234945</c:v>
                </c:pt>
                <c:pt idx="572">
                  <c:v>128.88282271272394</c:v>
                </c:pt>
                <c:pt idx="573">
                  <c:v>133.06689699999606</c:v>
                </c:pt>
                <c:pt idx="574">
                  <c:v>144.44388228653136</c:v>
                </c:pt>
                <c:pt idx="575">
                  <c:v>132.34506149912127</c:v>
                </c:pt>
                <c:pt idx="576">
                  <c:v>138.91447340538016</c:v>
                </c:pt>
                <c:pt idx="577">
                  <c:v>138.75583387843909</c:v>
                </c:pt>
                <c:pt idx="578">
                  <c:v>137.64242614094226</c:v>
                </c:pt>
                <c:pt idx="579">
                  <c:v>129.80660582550328</c:v>
                </c:pt>
                <c:pt idx="580">
                  <c:v>130.61185872296534</c:v>
                </c:pt>
                <c:pt idx="581">
                  <c:v>131.59139357791193</c:v>
                </c:pt>
                <c:pt idx="582">
                  <c:v>127.91416807008787</c:v>
                </c:pt>
                <c:pt idx="583">
                  <c:v>130.63548544032446</c:v>
                </c:pt>
                <c:pt idx="584">
                  <c:v>129.85019694697448</c:v>
                </c:pt>
                <c:pt idx="585">
                  <c:v>133.26528155526802</c:v>
                </c:pt>
                <c:pt idx="586">
                  <c:v>129.6377757081234</c:v>
                </c:pt>
                <c:pt idx="587">
                  <c:v>128.00479549931157</c:v>
                </c:pt>
                <c:pt idx="588">
                  <c:v>131.10173230669898</c:v>
                </c:pt>
                <c:pt idx="589">
                  <c:v>131.02483948810001</c:v>
                </c:pt>
                <c:pt idx="590">
                  <c:v>135.21008551136876</c:v>
                </c:pt>
                <c:pt idx="591">
                  <c:v>131.58697658615426</c:v>
                </c:pt>
                <c:pt idx="592">
                  <c:v>136.59986656902217</c:v>
                </c:pt>
                <c:pt idx="593">
                  <c:v>135.73823885730357</c:v>
                </c:pt>
                <c:pt idx="594">
                  <c:v>135.73823885730357</c:v>
                </c:pt>
                <c:pt idx="595">
                  <c:v>134.427042356708</c:v>
                </c:pt>
                <c:pt idx="596">
                  <c:v>137.3122730061524</c:v>
                </c:pt>
                <c:pt idx="597">
                  <c:v>139.43243606121396</c:v>
                </c:pt>
                <c:pt idx="598">
                  <c:v>140.51164883092895</c:v>
                </c:pt>
                <c:pt idx="599">
                  <c:v>140.23744320655808</c:v>
                </c:pt>
                <c:pt idx="600">
                  <c:v>136.85274914794368</c:v>
                </c:pt>
                <c:pt idx="601">
                  <c:v>137.65666732990621</c:v>
                </c:pt>
                <c:pt idx="602">
                  <c:v>138.60292024814134</c:v>
                </c:pt>
                <c:pt idx="603">
                  <c:v>137.34150382080858</c:v>
                </c:pt>
                <c:pt idx="604">
                  <c:v>141.17318815318197</c:v>
                </c:pt>
                <c:pt idx="605">
                  <c:v>140.41973122155289</c:v>
                </c:pt>
                <c:pt idx="606">
                  <c:v>137.1589166381691</c:v>
                </c:pt>
                <c:pt idx="607">
                  <c:v>138.25417267614489</c:v>
                </c:pt>
                <c:pt idx="608">
                  <c:v>138.85375995479671</c:v>
                </c:pt>
                <c:pt idx="609">
                  <c:v>135.53260103607479</c:v>
                </c:pt>
                <c:pt idx="610">
                  <c:v>140.87719790370872</c:v>
                </c:pt>
                <c:pt idx="611">
                  <c:v>139.97273839360443</c:v>
                </c:pt>
                <c:pt idx="612">
                  <c:v>140.06227749993573</c:v>
                </c:pt>
                <c:pt idx="613">
                  <c:v>140.26373439234098</c:v>
                </c:pt>
                <c:pt idx="614">
                  <c:v>140.97250111453724</c:v>
                </c:pt>
                <c:pt idx="615">
                  <c:v>142.09914151353064</c:v>
                </c:pt>
                <c:pt idx="616">
                  <c:v>138.24087855845272</c:v>
                </c:pt>
                <c:pt idx="617">
                  <c:v>138.89309372019164</c:v>
                </c:pt>
                <c:pt idx="618">
                  <c:v>144.10955485267831</c:v>
                </c:pt>
                <c:pt idx="619">
                  <c:v>143.79760934753489</c:v>
                </c:pt>
                <c:pt idx="620">
                  <c:v>141.10900654311277</c:v>
                </c:pt>
                <c:pt idx="621">
                  <c:v>140.43295965568532</c:v>
                </c:pt>
                <c:pt idx="622">
                  <c:v>140.79274661233376</c:v>
                </c:pt>
                <c:pt idx="623">
                  <c:v>141.11366708122847</c:v>
                </c:pt>
                <c:pt idx="624">
                  <c:v>142.49313075406835</c:v>
                </c:pt>
                <c:pt idx="625">
                  <c:v>140.48548706106442</c:v>
                </c:pt>
                <c:pt idx="626">
                  <c:v>139.57946106792284</c:v>
                </c:pt>
                <c:pt idx="627">
                  <c:v>141.12904130243953</c:v>
                </c:pt>
                <c:pt idx="628">
                  <c:v>137.3566556540535</c:v>
                </c:pt>
                <c:pt idx="629">
                  <c:v>140.04658302787169</c:v>
                </c:pt>
                <c:pt idx="630">
                  <c:v>138.75345525072109</c:v>
                </c:pt>
                <c:pt idx="631">
                  <c:v>137.18354667017914</c:v>
                </c:pt>
                <c:pt idx="632">
                  <c:v>134.80837587082698</c:v>
                </c:pt>
                <c:pt idx="633">
                  <c:v>134.1035379294338</c:v>
                </c:pt>
                <c:pt idx="634">
                  <c:v>134.65630164978595</c:v>
                </c:pt>
                <c:pt idx="635">
                  <c:v>136.59965454668952</c:v>
                </c:pt>
                <c:pt idx="636">
                  <c:v>136.58220167848893</c:v>
                </c:pt>
                <c:pt idx="637">
                  <c:v>136.38026760272078</c:v>
                </c:pt>
                <c:pt idx="638">
                  <c:v>133.77931866338113</c:v>
                </c:pt>
                <c:pt idx="639">
                  <c:v>136.59103366117785</c:v>
                </c:pt>
                <c:pt idx="640">
                  <c:v>137.71121599781571</c:v>
                </c:pt>
                <c:pt idx="641">
                  <c:v>136.56242408203155</c:v>
                </c:pt>
                <c:pt idx="642">
                  <c:v>135.55742910231632</c:v>
                </c:pt>
                <c:pt idx="643">
                  <c:v>137.154615639078</c:v>
                </c:pt>
                <c:pt idx="644">
                  <c:v>135.64029532379857</c:v>
                </c:pt>
                <c:pt idx="645">
                  <c:v>136.78950998835521</c:v>
                </c:pt>
                <c:pt idx="646">
                  <c:v>134.98409250294742</c:v>
                </c:pt>
                <c:pt idx="647">
                  <c:v>135.64948582294434</c:v>
                </c:pt>
                <c:pt idx="648">
                  <c:v>136.79129484514547</c:v>
                </c:pt>
                <c:pt idx="649">
                  <c:v>134.03881636800838</c:v>
                </c:pt>
                <c:pt idx="650">
                  <c:v>135.4105248646608</c:v>
                </c:pt>
                <c:pt idx="651">
                  <c:v>137.23516686628699</c:v>
                </c:pt>
                <c:pt idx="652">
                  <c:v>137.46709328818972</c:v>
                </c:pt>
                <c:pt idx="653">
                  <c:v>135.87467524696237</c:v>
                </c:pt>
                <c:pt idx="654">
                  <c:v>137.0038896137807</c:v>
                </c:pt>
                <c:pt idx="655">
                  <c:v>136.12365078301966</c:v>
                </c:pt>
                <c:pt idx="656">
                  <c:v>135.81334595175753</c:v>
                </c:pt>
                <c:pt idx="657">
                  <c:v>137.26350770920942</c:v>
                </c:pt>
                <c:pt idx="658">
                  <c:v>138.22155047306293</c:v>
                </c:pt>
                <c:pt idx="659">
                  <c:v>138.34214180155388</c:v>
                </c:pt>
                <c:pt idx="660">
                  <c:v>134.68603207698206</c:v>
                </c:pt>
                <c:pt idx="661">
                  <c:v>137.12911668052493</c:v>
                </c:pt>
                <c:pt idx="662">
                  <c:v>136.02780447943334</c:v>
                </c:pt>
                <c:pt idx="663">
                  <c:v>136.14882380073468</c:v>
                </c:pt>
                <c:pt idx="664">
                  <c:v>136.08650823522893</c:v>
                </c:pt>
                <c:pt idx="665">
                  <c:v>136.42868290057334</c:v>
                </c:pt>
                <c:pt idx="666">
                  <c:v>135.21673645612313</c:v>
                </c:pt>
                <c:pt idx="667">
                  <c:v>136.5413211627191</c:v>
                </c:pt>
                <c:pt idx="668">
                  <c:v>134.21187617342045</c:v>
                </c:pt>
                <c:pt idx="669">
                  <c:v>135.41083497246322</c:v>
                </c:pt>
                <c:pt idx="670">
                  <c:v>135.74602938542077</c:v>
                </c:pt>
                <c:pt idx="671">
                  <c:v>134.37990529661431</c:v>
                </c:pt>
                <c:pt idx="672">
                  <c:v>135.75002519311062</c:v>
                </c:pt>
                <c:pt idx="673">
                  <c:v>137.99446936873386</c:v>
                </c:pt>
                <c:pt idx="674">
                  <c:v>140.59674457700999</c:v>
                </c:pt>
                <c:pt idx="675">
                  <c:v>139.32557051736936</c:v>
                </c:pt>
                <c:pt idx="676">
                  <c:v>139.53121672504207</c:v>
                </c:pt>
                <c:pt idx="677">
                  <c:v>138.73568333477178</c:v>
                </c:pt>
                <c:pt idx="678">
                  <c:v>140.49905937338545</c:v>
                </c:pt>
                <c:pt idx="679">
                  <c:v>141.43216150709549</c:v>
                </c:pt>
                <c:pt idx="680">
                  <c:v>141.37982555875953</c:v>
                </c:pt>
                <c:pt idx="681">
                  <c:v>137.63270627884577</c:v>
                </c:pt>
                <c:pt idx="682">
                  <c:v>137.77648569113614</c:v>
                </c:pt>
                <c:pt idx="683">
                  <c:v>138.28079074743286</c:v>
                </c:pt>
                <c:pt idx="684">
                  <c:v>139.61968152184565</c:v>
                </c:pt>
                <c:pt idx="685">
                  <c:v>139.48697048113007</c:v>
                </c:pt>
                <c:pt idx="686">
                  <c:v>139.81193443116859</c:v>
                </c:pt>
                <c:pt idx="687">
                  <c:v>138.90472393766436</c:v>
                </c:pt>
                <c:pt idx="688">
                  <c:v>141.28372514629433</c:v>
                </c:pt>
                <c:pt idx="689">
                  <c:v>142.99790419083266</c:v>
                </c:pt>
                <c:pt idx="690">
                  <c:v>141.69372075468519</c:v>
                </c:pt>
                <c:pt idx="691">
                  <c:v>142.51713530846493</c:v>
                </c:pt>
                <c:pt idx="692">
                  <c:v>142.58608607693949</c:v>
                </c:pt>
                <c:pt idx="693">
                  <c:v>144.19894255088821</c:v>
                </c:pt>
                <c:pt idx="694">
                  <c:v>144.82243926805057</c:v>
                </c:pt>
                <c:pt idx="695">
                  <c:v>145.02107607145464</c:v>
                </c:pt>
                <c:pt idx="696">
                  <c:v>146.91526639227857</c:v>
                </c:pt>
                <c:pt idx="697">
                  <c:v>147.57014992898675</c:v>
                </c:pt>
                <c:pt idx="698">
                  <c:v>144.2702287257317</c:v>
                </c:pt>
                <c:pt idx="699">
                  <c:v>144.58091386302033</c:v>
                </c:pt>
                <c:pt idx="700">
                  <c:v>142.27957670438676</c:v>
                </c:pt>
                <c:pt idx="701">
                  <c:v>140.08875024591939</c:v>
                </c:pt>
                <c:pt idx="702">
                  <c:v>140.60216000588562</c:v>
                </c:pt>
                <c:pt idx="703">
                  <c:v>138.38328977443899</c:v>
                </c:pt>
                <c:pt idx="704">
                  <c:v>138.46567868825835</c:v>
                </c:pt>
                <c:pt idx="705">
                  <c:v>139.92139364475503</c:v>
                </c:pt>
                <c:pt idx="706">
                  <c:v>140.00909299904865</c:v>
                </c:pt>
                <c:pt idx="707">
                  <c:v>138.76151960102891</c:v>
                </c:pt>
                <c:pt idx="708">
                  <c:v>138.41803310785605</c:v>
                </c:pt>
                <c:pt idx="709">
                  <c:v>137.44795694542572</c:v>
                </c:pt>
                <c:pt idx="710">
                  <c:v>142.04635592343845</c:v>
                </c:pt>
                <c:pt idx="711">
                  <c:v>143.63544700848337</c:v>
                </c:pt>
                <c:pt idx="712">
                  <c:v>139.59853296516894</c:v>
                </c:pt>
                <c:pt idx="713">
                  <c:v>141.62226242043567</c:v>
                </c:pt>
                <c:pt idx="714">
                  <c:v>144.75249081019189</c:v>
                </c:pt>
                <c:pt idx="715">
                  <c:v>143.49572320603366</c:v>
                </c:pt>
                <c:pt idx="716">
                  <c:v>142.60949503776354</c:v>
                </c:pt>
                <c:pt idx="717">
                  <c:v>144.19307218418621</c:v>
                </c:pt>
                <c:pt idx="718">
                  <c:v>144.64733016212639</c:v>
                </c:pt>
                <c:pt idx="719">
                  <c:v>143.15482653722208</c:v>
                </c:pt>
                <c:pt idx="720">
                  <c:v>143.73377500690464</c:v>
                </c:pt>
                <c:pt idx="721">
                  <c:v>141.7575150181934</c:v>
                </c:pt>
                <c:pt idx="722">
                  <c:v>144.50967953804343</c:v>
                </c:pt>
                <c:pt idx="723">
                  <c:v>144.70262182113566</c:v>
                </c:pt>
                <c:pt idx="724">
                  <c:v>144.3594578656334</c:v>
                </c:pt>
                <c:pt idx="725">
                  <c:v>145.86925471708548</c:v>
                </c:pt>
                <c:pt idx="726">
                  <c:v>146.77668873906774</c:v>
                </c:pt>
                <c:pt idx="727">
                  <c:v>145.7920185435967</c:v>
                </c:pt>
                <c:pt idx="728">
                  <c:v>149.38429330921099</c:v>
                </c:pt>
                <c:pt idx="729">
                  <c:v>147.13205769172041</c:v>
                </c:pt>
                <c:pt idx="730">
                  <c:v>144.36123271345829</c:v>
                </c:pt>
                <c:pt idx="731">
                  <c:v>144.80090010706829</c:v>
                </c:pt>
                <c:pt idx="732">
                  <c:v>145.80239890985879</c:v>
                </c:pt>
                <c:pt idx="733">
                  <c:v>147.32822475650551</c:v>
                </c:pt>
                <c:pt idx="734">
                  <c:v>146.61731017104299</c:v>
                </c:pt>
                <c:pt idx="735">
                  <c:v>146.80332392967364</c:v>
                </c:pt>
                <c:pt idx="736">
                  <c:v>147.76177658375357</c:v>
                </c:pt>
                <c:pt idx="737">
                  <c:v>147.8460273571246</c:v>
                </c:pt>
                <c:pt idx="738">
                  <c:v>150.98149521995822</c:v>
                </c:pt>
                <c:pt idx="739">
                  <c:v>148.8017123193566</c:v>
                </c:pt>
                <c:pt idx="740">
                  <c:v>148.39187340778861</c:v>
                </c:pt>
                <c:pt idx="741">
                  <c:v>146.67022547538667</c:v>
                </c:pt>
                <c:pt idx="742">
                  <c:v>147.02561982361874</c:v>
                </c:pt>
                <c:pt idx="743">
                  <c:v>147.47199986544987</c:v>
                </c:pt>
                <c:pt idx="744">
                  <c:v>146.82087510240956</c:v>
                </c:pt>
                <c:pt idx="745">
                  <c:v>142.86767189572916</c:v>
                </c:pt>
                <c:pt idx="746">
                  <c:v>141.14959446021052</c:v>
                </c:pt>
                <c:pt idx="747">
                  <c:v>141.46145851036303</c:v>
                </c:pt>
                <c:pt idx="748">
                  <c:v>141.09273521337801</c:v>
                </c:pt>
                <c:pt idx="749">
                  <c:v>142.54999145052142</c:v>
                </c:pt>
                <c:pt idx="750">
                  <c:v>142.26927626419763</c:v>
                </c:pt>
                <c:pt idx="751">
                  <c:v>141.84896090072976</c:v>
                </c:pt>
                <c:pt idx="752">
                  <c:v>139.72069036515597</c:v>
                </c:pt>
                <c:pt idx="753">
                  <c:v>141.76811887777163</c:v>
                </c:pt>
                <c:pt idx="754">
                  <c:v>140.10274251613546</c:v>
                </c:pt>
                <c:pt idx="755">
                  <c:v>141.38970918100509</c:v>
                </c:pt>
                <c:pt idx="756">
                  <c:v>141.7686655852425</c:v>
                </c:pt>
                <c:pt idx="757">
                  <c:v>141.32356989306638</c:v>
                </c:pt>
                <c:pt idx="758">
                  <c:v>141.53015150777387</c:v>
                </c:pt>
                <c:pt idx="759">
                  <c:v>140.96638050466859</c:v>
                </c:pt>
                <c:pt idx="760">
                  <c:v>141.86841355797148</c:v>
                </c:pt>
                <c:pt idx="761">
                  <c:v>141.35049398764764</c:v>
                </c:pt>
                <c:pt idx="762">
                  <c:v>140.90782841711223</c:v>
                </c:pt>
                <c:pt idx="763">
                  <c:v>140.38750385612545</c:v>
                </c:pt>
                <c:pt idx="764">
                  <c:v>140.78767181900844</c:v>
                </c:pt>
                <c:pt idx="765">
                  <c:v>141.25938087333051</c:v>
                </c:pt>
                <c:pt idx="766">
                  <c:v>141.64319455381903</c:v>
                </c:pt>
                <c:pt idx="767">
                  <c:v>140.27534165841291</c:v>
                </c:pt>
                <c:pt idx="768">
                  <c:v>140.36240939232874</c:v>
                </c:pt>
                <c:pt idx="769">
                  <c:v>141.32780067311421</c:v>
                </c:pt>
                <c:pt idx="770">
                  <c:v>139.87941738652643</c:v>
                </c:pt>
                <c:pt idx="771">
                  <c:v>141.29079648211214</c:v>
                </c:pt>
                <c:pt idx="772">
                  <c:v>140.26724415315434</c:v>
                </c:pt>
                <c:pt idx="773">
                  <c:v>139.90552373769941</c:v>
                </c:pt>
                <c:pt idx="774">
                  <c:v>140.30231212427228</c:v>
                </c:pt>
                <c:pt idx="775">
                  <c:v>143.20721834616688</c:v>
                </c:pt>
                <c:pt idx="776">
                  <c:v>142.21989311967462</c:v>
                </c:pt>
                <c:pt idx="777">
                  <c:v>140.57888721902168</c:v>
                </c:pt>
                <c:pt idx="778">
                  <c:v>140.93369300925505</c:v>
                </c:pt>
                <c:pt idx="779">
                  <c:v>140.93369300925505</c:v>
                </c:pt>
                <c:pt idx="780">
                  <c:v>140.70138230331037</c:v>
                </c:pt>
                <c:pt idx="781">
                  <c:v>138.93262041101951</c:v>
                </c:pt>
                <c:pt idx="782">
                  <c:v>139.07265774504634</c:v>
                </c:pt>
                <c:pt idx="783">
                  <c:v>141.01236621045231</c:v>
                </c:pt>
                <c:pt idx="784">
                  <c:v>141.01236621045231</c:v>
                </c:pt>
                <c:pt idx="785">
                  <c:v>137.68883542410617</c:v>
                </c:pt>
                <c:pt idx="786">
                  <c:v>138.39545694644318</c:v>
                </c:pt>
                <c:pt idx="787">
                  <c:v>137.14885570907822</c:v>
                </c:pt>
                <c:pt idx="788">
                  <c:v>139.00457366373703</c:v>
                </c:pt>
                <c:pt idx="789">
                  <c:v>139.28590996811567</c:v>
                </c:pt>
                <c:pt idx="790">
                  <c:v>140.00467323433989</c:v>
                </c:pt>
                <c:pt idx="791">
                  <c:v>139.97971202815114</c:v>
                </c:pt>
                <c:pt idx="792">
                  <c:v>140.25817932086781</c:v>
                </c:pt>
                <c:pt idx="793">
                  <c:v>138.69778193858517</c:v>
                </c:pt>
                <c:pt idx="794">
                  <c:v>139.91242881770296</c:v>
                </c:pt>
                <c:pt idx="795">
                  <c:v>139.69544624587135</c:v>
                </c:pt>
                <c:pt idx="796">
                  <c:v>140.7772869124</c:v>
                </c:pt>
                <c:pt idx="797">
                  <c:v>141.9214607694457</c:v>
                </c:pt>
                <c:pt idx="798">
                  <c:v>141.45823401922624</c:v>
                </c:pt>
                <c:pt idx="799">
                  <c:v>141.63130243164795</c:v>
                </c:pt>
                <c:pt idx="800">
                  <c:v>143.49285363361483</c:v>
                </c:pt>
                <c:pt idx="801">
                  <c:v>142.1190096223996</c:v>
                </c:pt>
                <c:pt idx="802">
                  <c:v>140.36154351709433</c:v>
                </c:pt>
                <c:pt idx="803">
                  <c:v>141.80974297986111</c:v>
                </c:pt>
                <c:pt idx="804">
                  <c:v>141.76274659563006</c:v>
                </c:pt>
                <c:pt idx="805">
                  <c:v>143.09466630076727</c:v>
                </c:pt>
                <c:pt idx="806">
                  <c:v>144.02991618976125</c:v>
                </c:pt>
                <c:pt idx="807">
                  <c:v>143.50422673986301</c:v>
                </c:pt>
                <c:pt idx="808">
                  <c:v>145.12250865822952</c:v>
                </c:pt>
                <c:pt idx="809">
                  <c:v>144.89606719840117</c:v>
                </c:pt>
                <c:pt idx="810">
                  <c:v>145.42385310210224</c:v>
                </c:pt>
                <c:pt idx="811">
                  <c:v>144.6969785853737</c:v>
                </c:pt>
                <c:pt idx="812">
                  <c:v>144.59636335584915</c:v>
                </c:pt>
                <c:pt idx="813">
                  <c:v>144.48205851782396</c:v>
                </c:pt>
                <c:pt idx="814">
                  <c:v>144.24696697683066</c:v>
                </c:pt>
                <c:pt idx="815">
                  <c:v>142.31522704899638</c:v>
                </c:pt>
                <c:pt idx="816">
                  <c:v>142.41942810332714</c:v>
                </c:pt>
                <c:pt idx="817">
                  <c:v>143.9738051988414</c:v>
                </c:pt>
                <c:pt idx="818">
                  <c:v>144.05206932564258</c:v>
                </c:pt>
                <c:pt idx="819">
                  <c:v>142.66727975955035</c:v>
                </c:pt>
                <c:pt idx="820">
                  <c:v>141.35993124927705</c:v>
                </c:pt>
                <c:pt idx="821">
                  <c:v>142.24643751520313</c:v>
                </c:pt>
                <c:pt idx="822">
                  <c:v>143.09016144680146</c:v>
                </c:pt>
                <c:pt idx="823">
                  <c:v>139.04756360941553</c:v>
                </c:pt>
                <c:pt idx="824">
                  <c:v>142.47435866294751</c:v>
                </c:pt>
                <c:pt idx="825">
                  <c:v>143.81436240639235</c:v>
                </c:pt>
                <c:pt idx="826">
                  <c:v>141.75083526224731</c:v>
                </c:pt>
                <c:pt idx="827">
                  <c:v>139.57898379153477</c:v>
                </c:pt>
                <c:pt idx="828">
                  <c:v>138.79489278781628</c:v>
                </c:pt>
                <c:pt idx="829">
                  <c:v>143.37955550253284</c:v>
                </c:pt>
                <c:pt idx="830">
                  <c:v>140.12672051863586</c:v>
                </c:pt>
                <c:pt idx="831">
                  <c:v>141.10376014028631</c:v>
                </c:pt>
                <c:pt idx="832">
                  <c:v>141.03162148494303</c:v>
                </c:pt>
                <c:pt idx="833">
                  <c:v>141.36866602132747</c:v>
                </c:pt>
                <c:pt idx="834">
                  <c:v>142.05170156509087</c:v>
                </c:pt>
                <c:pt idx="835">
                  <c:v>143.34870349236633</c:v>
                </c:pt>
                <c:pt idx="836">
                  <c:v>142.17244666886981</c:v>
                </c:pt>
                <c:pt idx="837">
                  <c:v>143.03621611624803</c:v>
                </c:pt>
                <c:pt idx="838">
                  <c:v>139.84876801084931</c:v>
                </c:pt>
                <c:pt idx="839">
                  <c:v>141.23748722378377</c:v>
                </c:pt>
                <c:pt idx="840">
                  <c:v>141.60393113215255</c:v>
                </c:pt>
                <c:pt idx="841">
                  <c:v>141.82938664582787</c:v>
                </c:pt>
                <c:pt idx="842">
                  <c:v>141.14738629572696</c:v>
                </c:pt>
                <c:pt idx="843">
                  <c:v>142.54435093400801</c:v>
                </c:pt>
                <c:pt idx="844">
                  <c:v>143.38194900686855</c:v>
                </c:pt>
                <c:pt idx="845">
                  <c:v>143.07741498187363</c:v>
                </c:pt>
                <c:pt idx="846">
                  <c:v>142.36494584557158</c:v>
                </c:pt>
                <c:pt idx="847">
                  <c:v>143.08173145603783</c:v>
                </c:pt>
                <c:pt idx="848">
                  <c:v>143.76177630412994</c:v>
                </c:pt>
                <c:pt idx="849">
                  <c:v>143.76177630412994</c:v>
                </c:pt>
                <c:pt idx="850">
                  <c:v>145.05100962070611</c:v>
                </c:pt>
                <c:pt idx="851">
                  <c:v>143.70123815469842</c:v>
                </c:pt>
                <c:pt idx="852">
                  <c:v>143.85535397679897</c:v>
                </c:pt>
                <c:pt idx="853">
                  <c:v>143.26014823893124</c:v>
                </c:pt>
                <c:pt idx="854">
                  <c:v>144.46932377476975</c:v>
                </c:pt>
                <c:pt idx="855">
                  <c:v>144.89459691252534</c:v>
                </c:pt>
                <c:pt idx="856">
                  <c:v>145.20744198242579</c:v>
                </c:pt>
                <c:pt idx="857">
                  <c:v>143.68428166213909</c:v>
                </c:pt>
                <c:pt idx="858">
                  <c:v>144.87806573113028</c:v>
                </c:pt>
                <c:pt idx="859">
                  <c:v>143.8597071224705</c:v>
                </c:pt>
                <c:pt idx="860">
                  <c:v>142.46268802218049</c:v>
                </c:pt>
                <c:pt idx="861">
                  <c:v>144.34852291799277</c:v>
                </c:pt>
                <c:pt idx="862">
                  <c:v>144.6841864901628</c:v>
                </c:pt>
                <c:pt idx="863">
                  <c:v>142.77586933436172</c:v>
                </c:pt>
                <c:pt idx="864">
                  <c:v>143.78154806690171</c:v>
                </c:pt>
                <c:pt idx="865">
                  <c:v>143.66668239083381</c:v>
                </c:pt>
                <c:pt idx="866">
                  <c:v>143.91228300386021</c:v>
                </c:pt>
                <c:pt idx="867">
                  <c:v>143.51151143459094</c:v>
                </c:pt>
                <c:pt idx="868">
                  <c:v>144.38820696222888</c:v>
                </c:pt>
                <c:pt idx="869">
                  <c:v>144.89519949827806</c:v>
                </c:pt>
                <c:pt idx="870">
                  <c:v>144.03761295534011</c:v>
                </c:pt>
                <c:pt idx="871">
                  <c:v>145.3310128143149</c:v>
                </c:pt>
                <c:pt idx="872">
                  <c:v>142.94058537523208</c:v>
                </c:pt>
                <c:pt idx="873">
                  <c:v>143.35685958621724</c:v>
                </c:pt>
                <c:pt idx="874">
                  <c:v>142.08105254872515</c:v>
                </c:pt>
                <c:pt idx="875">
                  <c:v>140.22212065195225</c:v>
                </c:pt>
                <c:pt idx="876">
                  <c:v>141.92490415014322</c:v>
                </c:pt>
                <c:pt idx="877">
                  <c:v>139.37454721618778</c:v>
                </c:pt>
                <c:pt idx="878">
                  <c:v>141.00005910195759</c:v>
                </c:pt>
                <c:pt idx="879">
                  <c:v>140.83236255602986</c:v>
                </c:pt>
                <c:pt idx="880">
                  <c:v>140.21448307970698</c:v>
                </c:pt>
                <c:pt idx="881">
                  <c:v>138.24889802492299</c:v>
                </c:pt>
                <c:pt idx="882">
                  <c:v>140.10222466157362</c:v>
                </c:pt>
                <c:pt idx="883">
                  <c:v>139.88021483873143</c:v>
                </c:pt>
                <c:pt idx="884">
                  <c:v>139.55700507111962</c:v>
                </c:pt>
                <c:pt idx="885">
                  <c:v>140.204997752124</c:v>
                </c:pt>
                <c:pt idx="886">
                  <c:v>139.65295659604269</c:v>
                </c:pt>
                <c:pt idx="887">
                  <c:v>140.42109306749001</c:v>
                </c:pt>
                <c:pt idx="888">
                  <c:v>140.39084431034496</c:v>
                </c:pt>
                <c:pt idx="889">
                  <c:v>139.60523572283691</c:v>
                </c:pt>
                <c:pt idx="890">
                  <c:v>140.33273999670391</c:v>
                </c:pt>
                <c:pt idx="891">
                  <c:v>138.81487170259868</c:v>
                </c:pt>
                <c:pt idx="892">
                  <c:v>138.81181974031534</c:v>
                </c:pt>
                <c:pt idx="893">
                  <c:v>139.3728379871956</c:v>
                </c:pt>
                <c:pt idx="894">
                  <c:v>139.68619001297765</c:v>
                </c:pt>
                <c:pt idx="895">
                  <c:v>138.92625897588837</c:v>
                </c:pt>
                <c:pt idx="896">
                  <c:v>139.05975100386661</c:v>
                </c:pt>
                <c:pt idx="897">
                  <c:v>138.65701555200872</c:v>
                </c:pt>
                <c:pt idx="898">
                  <c:v>139.30479990864953</c:v>
                </c:pt>
                <c:pt idx="899">
                  <c:v>139.63559164591837</c:v>
                </c:pt>
                <c:pt idx="900">
                  <c:v>139.404350419655</c:v>
                </c:pt>
                <c:pt idx="901">
                  <c:v>138.74809902331364</c:v>
                </c:pt>
                <c:pt idx="902">
                  <c:v>137.82383936788668</c:v>
                </c:pt>
                <c:pt idx="903">
                  <c:v>140.62749521877728</c:v>
                </c:pt>
                <c:pt idx="904">
                  <c:v>141.44681745693435</c:v>
                </c:pt>
                <c:pt idx="905">
                  <c:v>141.801176437344</c:v>
                </c:pt>
                <c:pt idx="906">
                  <c:v>142.09690665878381</c:v>
                </c:pt>
                <c:pt idx="907">
                  <c:v>143.00697675448194</c:v>
                </c:pt>
                <c:pt idx="908">
                  <c:v>142.70124808476297</c:v>
                </c:pt>
                <c:pt idx="909">
                  <c:v>142.84813526535748</c:v>
                </c:pt>
                <c:pt idx="910">
                  <c:v>144.34776167878755</c:v>
                </c:pt>
                <c:pt idx="911">
                  <c:v>144.28528598881752</c:v>
                </c:pt>
                <c:pt idx="912">
                  <c:v>146.07784860491927</c:v>
                </c:pt>
                <c:pt idx="913">
                  <c:v>145.88582668718001</c:v>
                </c:pt>
                <c:pt idx="914">
                  <c:v>146.70142756343228</c:v>
                </c:pt>
                <c:pt idx="915">
                  <c:v>146.22782300745598</c:v>
                </c:pt>
                <c:pt idx="916">
                  <c:v>147.21172408420537</c:v>
                </c:pt>
                <c:pt idx="917">
                  <c:v>146.662327004319</c:v>
                </c:pt>
                <c:pt idx="918">
                  <c:v>147.33129885283</c:v>
                </c:pt>
                <c:pt idx="919">
                  <c:v>146.7524714290617</c:v>
                </c:pt>
                <c:pt idx="920">
                  <c:v>146.28286404059105</c:v>
                </c:pt>
                <c:pt idx="921">
                  <c:v>146.32649421760061</c:v>
                </c:pt>
                <c:pt idx="922">
                  <c:v>146.09697358960986</c:v>
                </c:pt>
                <c:pt idx="923">
                  <c:v>147.42224240055072</c:v>
                </c:pt>
                <c:pt idx="924">
                  <c:v>146.8069639252609</c:v>
                </c:pt>
                <c:pt idx="925">
                  <c:v>148.18044770235861</c:v>
                </c:pt>
                <c:pt idx="926">
                  <c:v>150.02343483060486</c:v>
                </c:pt>
                <c:pt idx="927">
                  <c:v>148.62052237962979</c:v>
                </c:pt>
                <c:pt idx="928">
                  <c:v>148.66996400521398</c:v>
                </c:pt>
                <c:pt idx="929">
                  <c:v>148.54003930012138</c:v>
                </c:pt>
                <c:pt idx="930">
                  <c:v>148.36637116864213</c:v>
                </c:pt>
                <c:pt idx="931">
                  <c:v>148.13367419689857</c:v>
                </c:pt>
                <c:pt idx="932">
                  <c:v>147.52546757690152</c:v>
                </c:pt>
                <c:pt idx="933">
                  <c:v>146.45740849203622</c:v>
                </c:pt>
                <c:pt idx="934">
                  <c:v>146.6536604945251</c:v>
                </c:pt>
                <c:pt idx="935">
                  <c:v>145.47851557169434</c:v>
                </c:pt>
                <c:pt idx="936">
                  <c:v>146.29014789615758</c:v>
                </c:pt>
                <c:pt idx="937">
                  <c:v>145.26283622650203</c:v>
                </c:pt>
                <c:pt idx="938">
                  <c:v>145.6274610187906</c:v>
                </c:pt>
                <c:pt idx="939">
                  <c:v>146.70255566835064</c:v>
                </c:pt>
                <c:pt idx="940">
                  <c:v>146.51242754123692</c:v>
                </c:pt>
                <c:pt idx="941">
                  <c:v>146.38437679322902</c:v>
                </c:pt>
                <c:pt idx="942">
                  <c:v>145.66065424505405</c:v>
                </c:pt>
                <c:pt idx="943">
                  <c:v>146.09098053397437</c:v>
                </c:pt>
                <c:pt idx="944">
                  <c:v>145.28046792989787</c:v>
                </c:pt>
                <c:pt idx="945">
                  <c:v>146.66300571458612</c:v>
                </c:pt>
                <c:pt idx="946">
                  <c:v>146.3283527806189</c:v>
                </c:pt>
                <c:pt idx="947">
                  <c:v>144.78586391095484</c:v>
                </c:pt>
                <c:pt idx="948">
                  <c:v>147.34962539260971</c:v>
                </c:pt>
                <c:pt idx="949">
                  <c:v>147.92031215607423</c:v>
                </c:pt>
                <c:pt idx="950">
                  <c:v>147.80127169285763</c:v>
                </c:pt>
                <c:pt idx="951">
                  <c:v>148.0128986189149</c:v>
                </c:pt>
                <c:pt idx="952">
                  <c:v>148.23935775043464</c:v>
                </c:pt>
                <c:pt idx="953">
                  <c:v>147.94734727296003</c:v>
                </c:pt>
                <c:pt idx="954">
                  <c:v>148.05097043768745</c:v>
                </c:pt>
                <c:pt idx="955">
                  <c:v>148.66465008843002</c:v>
                </c:pt>
                <c:pt idx="956">
                  <c:v>148.88368962626706</c:v>
                </c:pt>
                <c:pt idx="957">
                  <c:v>147.73681359975365</c:v>
                </c:pt>
                <c:pt idx="958">
                  <c:v>147.51114163040671</c:v>
                </c:pt>
                <c:pt idx="959">
                  <c:v>148.08148889377239</c:v>
                </c:pt>
                <c:pt idx="960">
                  <c:v>147.06134468247382</c:v>
                </c:pt>
                <c:pt idx="961">
                  <c:v>147.76836872457753</c:v>
                </c:pt>
                <c:pt idx="962">
                  <c:v>149.34744794737253</c:v>
                </c:pt>
                <c:pt idx="963">
                  <c:v>148.74003338449546</c:v>
                </c:pt>
                <c:pt idx="964">
                  <c:v>148.11756564362921</c:v>
                </c:pt>
                <c:pt idx="965">
                  <c:v>148.06294639533863</c:v>
                </c:pt>
                <c:pt idx="966">
                  <c:v>147.03507130249562</c:v>
                </c:pt>
                <c:pt idx="967">
                  <c:v>149.63494600980218</c:v>
                </c:pt>
                <c:pt idx="968">
                  <c:v>149.46037828517467</c:v>
                </c:pt>
                <c:pt idx="969">
                  <c:v>149.98052423161499</c:v>
                </c:pt>
                <c:pt idx="970">
                  <c:v>149.8783249904653</c:v>
                </c:pt>
                <c:pt idx="971">
                  <c:v>148.16650912374936</c:v>
                </c:pt>
                <c:pt idx="972">
                  <c:v>148.04135372451333</c:v>
                </c:pt>
                <c:pt idx="973">
                  <c:v>148.30335489327115</c:v>
                </c:pt>
                <c:pt idx="974">
                  <c:v>150.12796581850338</c:v>
                </c:pt>
                <c:pt idx="975">
                  <c:v>149.959893194377</c:v>
                </c:pt>
                <c:pt idx="976">
                  <c:v>150.10495497971775</c:v>
                </c:pt>
                <c:pt idx="977">
                  <c:v>150.33449799494952</c:v>
                </c:pt>
                <c:pt idx="978">
                  <c:v>149.18949587793676</c:v>
                </c:pt>
                <c:pt idx="979">
                  <c:v>151.16510879450169</c:v>
                </c:pt>
                <c:pt idx="980">
                  <c:v>149.38095355387085</c:v>
                </c:pt>
                <c:pt idx="981">
                  <c:v>149.4253821678204</c:v>
                </c:pt>
                <c:pt idx="982">
                  <c:v>152.44489275270416</c:v>
                </c:pt>
                <c:pt idx="983">
                  <c:v>151.17754367598482</c:v>
                </c:pt>
                <c:pt idx="984">
                  <c:v>151.07402069643138</c:v>
                </c:pt>
                <c:pt idx="985">
                  <c:v>149.9036273031607</c:v>
                </c:pt>
                <c:pt idx="986">
                  <c:v>150.25463164958285</c:v>
                </c:pt>
                <c:pt idx="987">
                  <c:v>149.2913816162216</c:v>
                </c:pt>
                <c:pt idx="988">
                  <c:v>149.95488804518419</c:v>
                </c:pt>
                <c:pt idx="989">
                  <c:v>149.79664116227789</c:v>
                </c:pt>
                <c:pt idx="990">
                  <c:v>150.80937738467571</c:v>
                </c:pt>
                <c:pt idx="991">
                  <c:v>151.25902716301763</c:v>
                </c:pt>
                <c:pt idx="992">
                  <c:v>151.05339492262348</c:v>
                </c:pt>
                <c:pt idx="993">
                  <c:v>151.97013190645453</c:v>
                </c:pt>
                <c:pt idx="994">
                  <c:v>151.0300344942487</c:v>
                </c:pt>
                <c:pt idx="995">
                  <c:v>151.96155167975164</c:v>
                </c:pt>
                <c:pt idx="996">
                  <c:v>151.32777104204314</c:v>
                </c:pt>
                <c:pt idx="997">
                  <c:v>150.71405915341921</c:v>
                </c:pt>
                <c:pt idx="998">
                  <c:v>150.96906287221299</c:v>
                </c:pt>
                <c:pt idx="999">
                  <c:v>152.96540603803052</c:v>
                </c:pt>
                <c:pt idx="1000">
                  <c:v>151.42156151152116</c:v>
                </c:pt>
                <c:pt idx="1001">
                  <c:v>151.880607162351</c:v>
                </c:pt>
                <c:pt idx="1002">
                  <c:v>152.27445525477791</c:v>
                </c:pt>
                <c:pt idx="1003">
                  <c:v>152.87979530146356</c:v>
                </c:pt>
                <c:pt idx="1004">
                  <c:v>153.12745478036049</c:v>
                </c:pt>
                <c:pt idx="1005">
                  <c:v>152.95247507195333</c:v>
                </c:pt>
                <c:pt idx="1006">
                  <c:v>152.65475383139344</c:v>
                </c:pt>
                <c:pt idx="1007">
                  <c:v>151.9251621963783</c:v>
                </c:pt>
                <c:pt idx="1008">
                  <c:v>152.36095252211399</c:v>
                </c:pt>
                <c:pt idx="1009">
                  <c:v>153.1247752502758</c:v>
                </c:pt>
                <c:pt idx="1010">
                  <c:v>153.43532309017809</c:v>
                </c:pt>
                <c:pt idx="1011">
                  <c:v>154.59307888915265</c:v>
                </c:pt>
                <c:pt idx="1012">
                  <c:v>153.96248331157517</c:v>
                </c:pt>
                <c:pt idx="1013">
                  <c:v>154.43915434947772</c:v>
                </c:pt>
                <c:pt idx="1014">
                  <c:v>155.76297588060507</c:v>
                </c:pt>
                <c:pt idx="1015">
                  <c:v>155.81653236717483</c:v>
                </c:pt>
                <c:pt idx="1016">
                  <c:v>157.78341485336739</c:v>
                </c:pt>
                <c:pt idx="1017">
                  <c:v>158.84718949651861</c:v>
                </c:pt>
                <c:pt idx="1018">
                  <c:v>158.24002873711717</c:v>
                </c:pt>
                <c:pt idx="1019">
                  <c:v>159.2001114677752</c:v>
                </c:pt>
                <c:pt idx="1020">
                  <c:v>160.64010238097038</c:v>
                </c:pt>
                <c:pt idx="1021">
                  <c:v>158.41496086164352</c:v>
                </c:pt>
                <c:pt idx="1022">
                  <c:v>153.41949078267911</c:v>
                </c:pt>
                <c:pt idx="1023">
                  <c:v>157.67500614734362</c:v>
                </c:pt>
                <c:pt idx="1024">
                  <c:v>156.81928093533892</c:v>
                </c:pt>
                <c:pt idx="1025">
                  <c:v>156.90022329624819</c:v>
                </c:pt>
                <c:pt idx="1026">
                  <c:v>156.99991692521968</c:v>
                </c:pt>
                <c:pt idx="1027">
                  <c:v>157.08205925170989</c:v>
                </c:pt>
                <c:pt idx="1028">
                  <c:v>156.7042206545284</c:v>
                </c:pt>
                <c:pt idx="1029">
                  <c:v>158.05400629331589</c:v>
                </c:pt>
                <c:pt idx="1030">
                  <c:v>157.61494851271706</c:v>
                </c:pt>
                <c:pt idx="1031">
                  <c:v>157.97424550189641</c:v>
                </c:pt>
                <c:pt idx="1032">
                  <c:v>160.34030637062256</c:v>
                </c:pt>
                <c:pt idx="1033">
                  <c:v>155.95422572306316</c:v>
                </c:pt>
                <c:pt idx="1034">
                  <c:v>156.22474455121491</c:v>
                </c:pt>
                <c:pt idx="1035">
                  <c:v>156.30173402892285</c:v>
                </c:pt>
                <c:pt idx="1036">
                  <c:v>157.21001693328924</c:v>
                </c:pt>
                <c:pt idx="1037">
                  <c:v>156.49532848602615</c:v>
                </c:pt>
                <c:pt idx="1038">
                  <c:v>155.87164879617561</c:v>
                </c:pt>
                <c:pt idx="1039">
                  <c:v>156.03720034119215</c:v>
                </c:pt>
                <c:pt idx="1040">
                  <c:v>157.30600911753572</c:v>
                </c:pt>
                <c:pt idx="1041">
                  <c:v>156.30266269504324</c:v>
                </c:pt>
                <c:pt idx="1042">
                  <c:v>156.34814450199968</c:v>
                </c:pt>
                <c:pt idx="1043">
                  <c:v>156.09677608529586</c:v>
                </c:pt>
                <c:pt idx="1044">
                  <c:v>154.93182698166586</c:v>
                </c:pt>
                <c:pt idx="1045">
                  <c:v>156.49005834027838</c:v>
                </c:pt>
                <c:pt idx="1046">
                  <c:v>154.67019977187235</c:v>
                </c:pt>
                <c:pt idx="1047">
                  <c:v>150.69996897457321</c:v>
                </c:pt>
                <c:pt idx="1048">
                  <c:v>153.01954460167454</c:v>
                </c:pt>
                <c:pt idx="1049">
                  <c:v>151.96612513531286</c:v>
                </c:pt>
                <c:pt idx="1050">
                  <c:v>154.33260603647904</c:v>
                </c:pt>
                <c:pt idx="1051">
                  <c:v>154.20179908518213</c:v>
                </c:pt>
                <c:pt idx="1052">
                  <c:v>152.38602717815942</c:v>
                </c:pt>
                <c:pt idx="1053">
                  <c:v>149.76842270856099</c:v>
                </c:pt>
                <c:pt idx="1054">
                  <c:v>152.01616273399304</c:v>
                </c:pt>
                <c:pt idx="1055">
                  <c:v>150.95120139555897</c:v>
                </c:pt>
                <c:pt idx="1056">
                  <c:v>150.46006782937815</c:v>
                </c:pt>
                <c:pt idx="1057">
                  <c:v>148.44662183572649</c:v>
                </c:pt>
                <c:pt idx="1058">
                  <c:v>146.3288340652347</c:v>
                </c:pt>
                <c:pt idx="1059">
                  <c:v>145.82233008963735</c:v>
                </c:pt>
                <c:pt idx="1060">
                  <c:v>152.22609724347333</c:v>
                </c:pt>
                <c:pt idx="1061">
                  <c:v>149.61354985540405</c:v>
                </c:pt>
                <c:pt idx="1062">
                  <c:v>146.79624851416284</c:v>
                </c:pt>
                <c:pt idx="1063">
                  <c:v>146.88521906718694</c:v>
                </c:pt>
                <c:pt idx="1064">
                  <c:v>151.9590480976843</c:v>
                </c:pt>
                <c:pt idx="1065">
                  <c:v>153.1752828917495</c:v>
                </c:pt>
                <c:pt idx="1066">
                  <c:v>152.00867823515847</c:v>
                </c:pt>
                <c:pt idx="1067">
                  <c:v>151.71005655169392</c:v>
                </c:pt>
                <c:pt idx="1068">
                  <c:v>148.66855348655051</c:v>
                </c:pt>
                <c:pt idx="1069">
                  <c:v>151.48659466588782</c:v>
                </c:pt>
                <c:pt idx="1070">
                  <c:v>150.35183350987992</c:v>
                </c:pt>
                <c:pt idx="1071">
                  <c:v>151.59447992135873</c:v>
                </c:pt>
                <c:pt idx="1072">
                  <c:v>151.16543473033934</c:v>
                </c:pt>
                <c:pt idx="1073">
                  <c:v>148.48495161571375</c:v>
                </c:pt>
                <c:pt idx="1074">
                  <c:v>147.264956598613</c:v>
                </c:pt>
                <c:pt idx="1075">
                  <c:v>150.58557778161776</c:v>
                </c:pt>
                <c:pt idx="1076">
                  <c:v>150.32306517242159</c:v>
                </c:pt>
                <c:pt idx="1077">
                  <c:v>150.06147655929092</c:v>
                </c:pt>
                <c:pt idx="1078">
                  <c:v>147.91272357408261</c:v>
                </c:pt>
                <c:pt idx="1079">
                  <c:v>148.32641556602846</c:v>
                </c:pt>
                <c:pt idx="1080">
                  <c:v>150.21865760060527</c:v>
                </c:pt>
                <c:pt idx="1081">
                  <c:v>148.3937167641736</c:v>
                </c:pt>
                <c:pt idx="1082">
                  <c:v>146.19883167908361</c:v>
                </c:pt>
                <c:pt idx="1083">
                  <c:v>155.67239331122474</c:v>
                </c:pt>
                <c:pt idx="1084">
                  <c:v>153.07308738738857</c:v>
                </c:pt>
                <c:pt idx="1085">
                  <c:v>153.48778047993341</c:v>
                </c:pt>
                <c:pt idx="1086">
                  <c:v>156.07276796134178</c:v>
                </c:pt>
                <c:pt idx="1087">
                  <c:v>157.65645074129102</c:v>
                </c:pt>
                <c:pt idx="1088">
                  <c:v>160.44723115511289</c:v>
                </c:pt>
                <c:pt idx="1089">
                  <c:v>166.74394322378964</c:v>
                </c:pt>
                <c:pt idx="1090">
                  <c:v>164.16543428782688</c:v>
                </c:pt>
                <c:pt idx="1091">
                  <c:v>162.81595259195723</c:v>
                </c:pt>
                <c:pt idx="1092">
                  <c:v>157.66391429315124</c:v>
                </c:pt>
                <c:pt idx="1093">
                  <c:v>161.14066817798428</c:v>
                </c:pt>
                <c:pt idx="1094">
                  <c:v>158.53444001149609</c:v>
                </c:pt>
                <c:pt idx="1095">
                  <c:v>154.54165699035815</c:v>
                </c:pt>
                <c:pt idx="1096">
                  <c:v>158.77272043106126</c:v>
                </c:pt>
                <c:pt idx="1097">
                  <c:v>157.22973694044279</c:v>
                </c:pt>
                <c:pt idx="1098">
                  <c:v>156.5454707943843</c:v>
                </c:pt>
                <c:pt idx="1099">
                  <c:v>158.09816754907413</c:v>
                </c:pt>
                <c:pt idx="1100">
                  <c:v>158.24995949261381</c:v>
                </c:pt>
                <c:pt idx="1101">
                  <c:v>158.91891238596776</c:v>
                </c:pt>
                <c:pt idx="1102">
                  <c:v>158.78704951746931</c:v>
                </c:pt>
                <c:pt idx="1103">
                  <c:v>161.5961015760378</c:v>
                </c:pt>
                <c:pt idx="1104">
                  <c:v>162.17025823211168</c:v>
                </c:pt>
                <c:pt idx="1105">
                  <c:v>163.18256194083105</c:v>
                </c:pt>
                <c:pt idx="1106">
                  <c:v>161.35109563580286</c:v>
                </c:pt>
                <c:pt idx="1107">
                  <c:v>159.70382459831384</c:v>
                </c:pt>
                <c:pt idx="1108">
                  <c:v>159.77252862642962</c:v>
                </c:pt>
                <c:pt idx="1109">
                  <c:v>160.10113132362781</c:v>
                </c:pt>
                <c:pt idx="1110">
                  <c:v>161.14264419257995</c:v>
                </c:pt>
                <c:pt idx="1111">
                  <c:v>159.54094671952711</c:v>
                </c:pt>
                <c:pt idx="1112">
                  <c:v>160.25219842678842</c:v>
                </c:pt>
                <c:pt idx="1113">
                  <c:v>161.68020741428074</c:v>
                </c:pt>
                <c:pt idx="1114">
                  <c:v>159.100605764096</c:v>
                </c:pt>
                <c:pt idx="1115">
                  <c:v>157.3007967134491</c:v>
                </c:pt>
                <c:pt idx="1116">
                  <c:v>157.88884153108859</c:v>
                </c:pt>
                <c:pt idx="1117">
                  <c:v>159.13957556178511</c:v>
                </c:pt>
                <c:pt idx="1118">
                  <c:v>157.05386061772927</c:v>
                </c:pt>
                <c:pt idx="1119">
                  <c:v>157.05386061772927</c:v>
                </c:pt>
                <c:pt idx="1120">
                  <c:v>157.76757561111936</c:v>
                </c:pt>
                <c:pt idx="1121">
                  <c:v>161.07634054054287</c:v>
                </c:pt>
                <c:pt idx="1122">
                  <c:v>158.83339169310943</c:v>
                </c:pt>
                <c:pt idx="1123">
                  <c:v>155.9112439589062</c:v>
                </c:pt>
                <c:pt idx="1124">
                  <c:v>155.19527329920993</c:v>
                </c:pt>
                <c:pt idx="1125">
                  <c:v>159.98751366563607</c:v>
                </c:pt>
                <c:pt idx="1126">
                  <c:v>157.5816125878118</c:v>
                </c:pt>
                <c:pt idx="1127">
                  <c:v>158.04663131420972</c:v>
                </c:pt>
                <c:pt idx="1128">
                  <c:v>161.76791331982989</c:v>
                </c:pt>
                <c:pt idx="1129">
                  <c:v>154.17667101504492</c:v>
                </c:pt>
                <c:pt idx="1130">
                  <c:v>157.95380337942629</c:v>
                </c:pt>
                <c:pt idx="1131">
                  <c:v>157.7258534433729</c:v>
                </c:pt>
                <c:pt idx="1132">
                  <c:v>163.61190942987395</c:v>
                </c:pt>
                <c:pt idx="1133">
                  <c:v>159.19125534062812</c:v>
                </c:pt>
                <c:pt idx="1134">
                  <c:v>160.19137557978308</c:v>
                </c:pt>
                <c:pt idx="1135">
                  <c:v>159.288314015445</c:v>
                </c:pt>
                <c:pt idx="1136">
                  <c:v>159.17417955713285</c:v>
                </c:pt>
                <c:pt idx="1137">
                  <c:v>153.77059721989147</c:v>
                </c:pt>
                <c:pt idx="1138">
                  <c:v>157.5188484432274</c:v>
                </c:pt>
                <c:pt idx="1139">
                  <c:v>157.52923417124137</c:v>
                </c:pt>
                <c:pt idx="1140">
                  <c:v>156.39567763446345</c:v>
                </c:pt>
                <c:pt idx="1141">
                  <c:v>155.92148825282942</c:v>
                </c:pt>
                <c:pt idx="1142">
                  <c:v>152.10951465694407</c:v>
                </c:pt>
                <c:pt idx="1143">
                  <c:v>152.06536156539633</c:v>
                </c:pt>
                <c:pt idx="1144">
                  <c:v>151.62340335640465</c:v>
                </c:pt>
                <c:pt idx="1145">
                  <c:v>150.60573370718058</c:v>
                </c:pt>
                <c:pt idx="1146">
                  <c:v>149.95631009490131</c:v>
                </c:pt>
                <c:pt idx="1147">
                  <c:v>151.6278982388051</c:v>
                </c:pt>
                <c:pt idx="1148">
                  <c:v>152.80660591762756</c:v>
                </c:pt>
                <c:pt idx="1149">
                  <c:v>154.44784278062261</c:v>
                </c:pt>
                <c:pt idx="1150">
                  <c:v>153.51687326416317</c:v>
                </c:pt>
                <c:pt idx="1151">
                  <c:v>153.21394158382338</c:v>
                </c:pt>
                <c:pt idx="1152">
                  <c:v>154.94254655811073</c:v>
                </c:pt>
                <c:pt idx="1153">
                  <c:v>155.605027549477</c:v>
                </c:pt>
                <c:pt idx="1154">
                  <c:v>153.62467307178542</c:v>
                </c:pt>
                <c:pt idx="1155">
                  <c:v>153.16663168935284</c:v>
                </c:pt>
                <c:pt idx="1156">
                  <c:v>155.06508684072728</c:v>
                </c:pt>
                <c:pt idx="1157">
                  <c:v>153.89335355557105</c:v>
                </c:pt>
                <c:pt idx="1158">
                  <c:v>153.29730827056369</c:v>
                </c:pt>
                <c:pt idx="1159">
                  <c:v>154.70590674604577</c:v>
                </c:pt>
                <c:pt idx="1160">
                  <c:v>153.23383419671026</c:v>
                </c:pt>
                <c:pt idx="1161">
                  <c:v>154.80413967679138</c:v>
                </c:pt>
                <c:pt idx="1162">
                  <c:v>155.62459917136218</c:v>
                </c:pt>
                <c:pt idx="1163">
                  <c:v>151.51269589366362</c:v>
                </c:pt>
                <c:pt idx="1164">
                  <c:v>153.35057947781959</c:v>
                </c:pt>
                <c:pt idx="1165">
                  <c:v>151.84416663051897</c:v>
                </c:pt>
                <c:pt idx="1166">
                  <c:v>154.06009313709549</c:v>
                </c:pt>
                <c:pt idx="1167">
                  <c:v>154.35960490762889</c:v>
                </c:pt>
                <c:pt idx="1168">
                  <c:v>158.28939564909959</c:v>
                </c:pt>
                <c:pt idx="1169">
                  <c:v>158.37429093162089</c:v>
                </c:pt>
                <c:pt idx="1170">
                  <c:v>156.2723323940954</c:v>
                </c:pt>
                <c:pt idx="1171">
                  <c:v>153.71883860760414</c:v>
                </c:pt>
                <c:pt idx="1172">
                  <c:v>155.53833892562176</c:v>
                </c:pt>
                <c:pt idx="1173">
                  <c:v>155.88995056847384</c:v>
                </c:pt>
                <c:pt idx="1174">
                  <c:v>158.82301057518416</c:v>
                </c:pt>
                <c:pt idx="1175">
                  <c:v>157.85260521525433</c:v>
                </c:pt>
                <c:pt idx="1176">
                  <c:v>164.20660651198202</c:v>
                </c:pt>
                <c:pt idx="1177">
                  <c:v>163.19384983167805</c:v>
                </c:pt>
                <c:pt idx="1178">
                  <c:v>163.05405939016936</c:v>
                </c:pt>
                <c:pt idx="1179">
                  <c:v>161.84810550235284</c:v>
                </c:pt>
                <c:pt idx="1180">
                  <c:v>162.26075338951901</c:v>
                </c:pt>
                <c:pt idx="1181">
                  <c:v>159.9874960055628</c:v>
                </c:pt>
                <c:pt idx="1182">
                  <c:v>160.5891654499608</c:v>
                </c:pt>
                <c:pt idx="1183">
                  <c:v>163.94297730347139</c:v>
                </c:pt>
                <c:pt idx="1184">
                  <c:v>162.79879459049695</c:v>
                </c:pt>
                <c:pt idx="1185">
                  <c:v>158.6937417340805</c:v>
                </c:pt>
                <c:pt idx="1186">
                  <c:v>159.71164605885517</c:v>
                </c:pt>
                <c:pt idx="1187">
                  <c:v>162.06297684588387</c:v>
                </c:pt>
                <c:pt idx="1188">
                  <c:v>163.18861010588094</c:v>
                </c:pt>
                <c:pt idx="1189">
                  <c:v>160.28269730477388</c:v>
                </c:pt>
                <c:pt idx="1190">
                  <c:v>160.33478676695449</c:v>
                </c:pt>
                <c:pt idx="1191">
                  <c:v>159.73699682386592</c:v>
                </c:pt>
                <c:pt idx="1192">
                  <c:v>163.53290786422133</c:v>
                </c:pt>
                <c:pt idx="1193">
                  <c:v>163.09507505039929</c:v>
                </c:pt>
                <c:pt idx="1194">
                  <c:v>162.78135790456344</c:v>
                </c:pt>
                <c:pt idx="1195">
                  <c:v>161.42390783874504</c:v>
                </c:pt>
                <c:pt idx="1196">
                  <c:v>162.14832310161222</c:v>
                </c:pt>
                <c:pt idx="1197">
                  <c:v>164.78347925425518</c:v>
                </c:pt>
                <c:pt idx="1198">
                  <c:v>163.09467821267614</c:v>
                </c:pt>
                <c:pt idx="1199">
                  <c:v>164.95680312862166</c:v>
                </c:pt>
                <c:pt idx="1200">
                  <c:v>163.43536083279258</c:v>
                </c:pt>
                <c:pt idx="1201">
                  <c:v>163.26360989325852</c:v>
                </c:pt>
                <c:pt idx="1202">
                  <c:v>163.9489925083966</c:v>
                </c:pt>
                <c:pt idx="1203">
                  <c:v>163.55014824883361</c:v>
                </c:pt>
                <c:pt idx="1204">
                  <c:v>167.38152772431209</c:v>
                </c:pt>
                <c:pt idx="1205">
                  <c:v>168.75164075338714</c:v>
                </c:pt>
                <c:pt idx="1206">
                  <c:v>168.90989591271446</c:v>
                </c:pt>
                <c:pt idx="1207">
                  <c:v>169.02301503911653</c:v>
                </c:pt>
                <c:pt idx="1208">
                  <c:v>169.98085852909429</c:v>
                </c:pt>
                <c:pt idx="1209">
                  <c:v>169.71306074965705</c:v>
                </c:pt>
                <c:pt idx="1210">
                  <c:v>169.31929149722842</c:v>
                </c:pt>
                <c:pt idx="1211">
                  <c:v>168.87467012925524</c:v>
                </c:pt>
                <c:pt idx="1212">
                  <c:v>169.61682765932187</c:v>
                </c:pt>
                <c:pt idx="1213">
                  <c:v>171.39800358513151</c:v>
                </c:pt>
                <c:pt idx="1214">
                  <c:v>168.06546285770474</c:v>
                </c:pt>
                <c:pt idx="1215">
                  <c:v>167.74813535127359</c:v>
                </c:pt>
                <c:pt idx="1216">
                  <c:v>166.79151421591322</c:v>
                </c:pt>
                <c:pt idx="1217">
                  <c:v>166.97559892525155</c:v>
                </c:pt>
                <c:pt idx="1218">
                  <c:v>172.28471900454284</c:v>
                </c:pt>
                <c:pt idx="1219">
                  <c:v>166.57321215281831</c:v>
                </c:pt>
                <c:pt idx="1220">
                  <c:v>167.50881455419511</c:v>
                </c:pt>
                <c:pt idx="1221">
                  <c:v>167.50867390045713</c:v>
                </c:pt>
                <c:pt idx="1222">
                  <c:v>170.54763350278915</c:v>
                </c:pt>
                <c:pt idx="1223">
                  <c:v>171.0081743672888</c:v>
                </c:pt>
                <c:pt idx="1224">
                  <c:v>169.74717574186721</c:v>
                </c:pt>
                <c:pt idx="1225">
                  <c:v>167.14521329871721</c:v>
                </c:pt>
                <c:pt idx="1226">
                  <c:v>164.69564962485708</c:v>
                </c:pt>
                <c:pt idx="1227">
                  <c:v>166.68454762464503</c:v>
                </c:pt>
                <c:pt idx="1228">
                  <c:v>165.79120344976266</c:v>
                </c:pt>
                <c:pt idx="1229">
                  <c:v>167.01985210656855</c:v>
                </c:pt>
                <c:pt idx="1230">
                  <c:v>168.24769885613946</c:v>
                </c:pt>
                <c:pt idx="1231">
                  <c:v>168.59981965173097</c:v>
                </c:pt>
                <c:pt idx="1232">
                  <c:v>166.14521554535136</c:v>
                </c:pt>
                <c:pt idx="1233">
                  <c:v>167.99327588439061</c:v>
                </c:pt>
                <c:pt idx="1234">
                  <c:v>171.29431787386366</c:v>
                </c:pt>
                <c:pt idx="1235">
                  <c:v>171.6363668663187</c:v>
                </c:pt>
                <c:pt idx="1236">
                  <c:v>172.18387029263411</c:v>
                </c:pt>
                <c:pt idx="1237">
                  <c:v>172.88813467575343</c:v>
                </c:pt>
                <c:pt idx="1238">
                  <c:v>170.67911589625342</c:v>
                </c:pt>
                <c:pt idx="1239">
                  <c:v>165.94479972503012</c:v>
                </c:pt>
                <c:pt idx="1240">
                  <c:v>168.70265149512679</c:v>
                </c:pt>
                <c:pt idx="1241">
                  <c:v>165.97773256474198</c:v>
                </c:pt>
                <c:pt idx="1242">
                  <c:v>169.05456299209169</c:v>
                </c:pt>
                <c:pt idx="1243">
                  <c:v>169.55996008488768</c:v>
                </c:pt>
                <c:pt idx="1244">
                  <c:v>167.2911695628849</c:v>
                </c:pt>
                <c:pt idx="1245">
                  <c:v>167.8195549432819</c:v>
                </c:pt>
                <c:pt idx="1246">
                  <c:v>166.33343384308301</c:v>
                </c:pt>
                <c:pt idx="1247">
                  <c:v>168.04078118880918</c:v>
                </c:pt>
                <c:pt idx="1248">
                  <c:v>169.32840634105941</c:v>
                </c:pt>
                <c:pt idx="1249">
                  <c:v>165.32665743567506</c:v>
                </c:pt>
                <c:pt idx="1250">
                  <c:v>164.78886324461945</c:v>
                </c:pt>
                <c:pt idx="1251">
                  <c:v>165.84115383415471</c:v>
                </c:pt>
                <c:pt idx="1252">
                  <c:v>166.97047712765618</c:v>
                </c:pt>
                <c:pt idx="1253">
                  <c:v>164.71350928384547</c:v>
                </c:pt>
                <c:pt idx="1254">
                  <c:v>168.91355519411729</c:v>
                </c:pt>
                <c:pt idx="1255">
                  <c:v>167.95114522067897</c:v>
                </c:pt>
                <c:pt idx="1256">
                  <c:v>166.97512603773518</c:v>
                </c:pt>
                <c:pt idx="1257">
                  <c:v>162.78234794984709</c:v>
                </c:pt>
                <c:pt idx="1258">
                  <c:v>163.50188806279886</c:v>
                </c:pt>
                <c:pt idx="1259">
                  <c:v>167.85706364454344</c:v>
                </c:pt>
                <c:pt idx="1260">
                  <c:v>166.92082842238909</c:v>
                </c:pt>
                <c:pt idx="1261">
                  <c:v>165.43158601626718</c:v>
                </c:pt>
                <c:pt idx="1262">
                  <c:v>161.69762989376798</c:v>
                </c:pt>
                <c:pt idx="1263">
                  <c:v>163.68033842738359</c:v>
                </c:pt>
                <c:pt idx="1264">
                  <c:v>159.87325977075389</c:v>
                </c:pt>
                <c:pt idx="1265">
                  <c:v>159.37158797429322</c:v>
                </c:pt>
                <c:pt idx="1266">
                  <c:v>158.05900051193825</c:v>
                </c:pt>
                <c:pt idx="1267">
                  <c:v>156.05280154504464</c:v>
                </c:pt>
                <c:pt idx="1268">
                  <c:v>158.84683755036232</c:v>
                </c:pt>
                <c:pt idx="1269">
                  <c:v>157.27483901063826</c:v>
                </c:pt>
                <c:pt idx="1270">
                  <c:v>155.63722600960267</c:v>
                </c:pt>
                <c:pt idx="1271">
                  <c:v>155.78839883493484</c:v>
                </c:pt>
                <c:pt idx="1272">
                  <c:v>155.81952550168049</c:v>
                </c:pt>
                <c:pt idx="1273">
                  <c:v>156.37335994426454</c:v>
                </c:pt>
                <c:pt idx="1274">
                  <c:v>155.60431854996571</c:v>
                </c:pt>
                <c:pt idx="1275">
                  <c:v>156.58533850882907</c:v>
                </c:pt>
                <c:pt idx="1276">
                  <c:v>156.55447173105927</c:v>
                </c:pt>
                <c:pt idx="1277">
                  <c:v>155.61080070821421</c:v>
                </c:pt>
                <c:pt idx="1278">
                  <c:v>154.95785879944935</c:v>
                </c:pt>
                <c:pt idx="1279">
                  <c:v>154.26666971973239</c:v>
                </c:pt>
                <c:pt idx="1280">
                  <c:v>153.35480545619362</c:v>
                </c:pt>
                <c:pt idx="1281">
                  <c:v>153.62157900005482</c:v>
                </c:pt>
                <c:pt idx="1282">
                  <c:v>157.73940089287873</c:v>
                </c:pt>
                <c:pt idx="1283">
                  <c:v>153.50506850154719</c:v>
                </c:pt>
                <c:pt idx="1284">
                  <c:v>153.28876741875817</c:v>
                </c:pt>
                <c:pt idx="1285">
                  <c:v>151.46978556868271</c:v>
                </c:pt>
                <c:pt idx="1286">
                  <c:v>150.28444572070134</c:v>
                </c:pt>
                <c:pt idx="1287">
                  <c:v>150.46780291667972</c:v>
                </c:pt>
                <c:pt idx="1288">
                  <c:v>151.54716888762945</c:v>
                </c:pt>
                <c:pt idx="1289">
                  <c:v>149.14714149136105</c:v>
                </c:pt>
                <c:pt idx="1290">
                  <c:v>152.24455020214043</c:v>
                </c:pt>
                <c:pt idx="1291">
                  <c:v>150.36381407987261</c:v>
                </c:pt>
                <c:pt idx="1292">
                  <c:v>148.98798566994503</c:v>
                </c:pt>
                <c:pt idx="1293">
                  <c:v>150.1824300890265</c:v>
                </c:pt>
                <c:pt idx="1294">
                  <c:v>150.19783157099053</c:v>
                </c:pt>
                <c:pt idx="1295">
                  <c:v>148.10306181795832</c:v>
                </c:pt>
                <c:pt idx="1296">
                  <c:v>148.98321129440558</c:v>
                </c:pt>
                <c:pt idx="1297">
                  <c:v>148.84623881494517</c:v>
                </c:pt>
                <c:pt idx="1298">
                  <c:v>148.31861002988501</c:v>
                </c:pt>
                <c:pt idx="1299">
                  <c:v>148.63254853348832</c:v>
                </c:pt>
                <c:pt idx="1300">
                  <c:v>148.63254853348832</c:v>
                </c:pt>
                <c:pt idx="1301">
                  <c:v>147.5729760817938</c:v>
                </c:pt>
                <c:pt idx="1302">
                  <c:v>146.06279453865037</c:v>
                </c:pt>
                <c:pt idx="1303">
                  <c:v>146.95992880532935</c:v>
                </c:pt>
                <c:pt idx="1304">
                  <c:v>148.0703828165469</c:v>
                </c:pt>
                <c:pt idx="1305">
                  <c:v>146.67057939217247</c:v>
                </c:pt>
                <c:pt idx="1306">
                  <c:v>146.41636415373097</c:v>
                </c:pt>
                <c:pt idx="1307">
                  <c:v>144.68149001391259</c:v>
                </c:pt>
                <c:pt idx="1308">
                  <c:v>144.22210815665309</c:v>
                </c:pt>
                <c:pt idx="1309">
                  <c:v>144.33892254080027</c:v>
                </c:pt>
                <c:pt idx="1310">
                  <c:v>141.60042210689559</c:v>
                </c:pt>
                <c:pt idx="1311">
                  <c:v>143.67721880293377</c:v>
                </c:pt>
                <c:pt idx="1312">
                  <c:v>144.87226697551949</c:v>
                </c:pt>
                <c:pt idx="1313">
                  <c:v>143.12452127813711</c:v>
                </c:pt>
                <c:pt idx="1314">
                  <c:v>143.2987342243911</c:v>
                </c:pt>
                <c:pt idx="1315">
                  <c:v>142.63187900187478</c:v>
                </c:pt>
                <c:pt idx="1316">
                  <c:v>142.40940011464789</c:v>
                </c:pt>
                <c:pt idx="1317">
                  <c:v>139.67176886472569</c:v>
                </c:pt>
                <c:pt idx="1318">
                  <c:v>140.4635548671275</c:v>
                </c:pt>
                <c:pt idx="1319">
                  <c:v>142.3196517798232</c:v>
                </c:pt>
                <c:pt idx="1320">
                  <c:v>143.11185869094351</c:v>
                </c:pt>
                <c:pt idx="1321">
                  <c:v>143.06128178998964</c:v>
                </c:pt>
                <c:pt idx="1322">
                  <c:v>143.20032317123074</c:v>
                </c:pt>
                <c:pt idx="1323">
                  <c:v>144.74025602102139</c:v>
                </c:pt>
              </c:numCache>
            </c:numRef>
          </c:val>
          <c:smooth val="0"/>
          <c:extLst>
            <c:ext xmlns:c16="http://schemas.microsoft.com/office/drawing/2014/chart" uri="{C3380CC4-5D6E-409C-BE32-E72D297353CC}">
              <c16:uniqueId val="{00000002-3BB0-49B5-B2D9-E9DFA641F2F2}"/>
            </c:ext>
          </c:extLst>
        </c:ser>
        <c:dLbls>
          <c:showLegendKey val="0"/>
          <c:showVal val="0"/>
          <c:showCatName val="0"/>
          <c:showSerName val="0"/>
          <c:showPercent val="0"/>
          <c:showBubbleSize val="0"/>
        </c:dLbls>
        <c:marker val="1"/>
        <c:smooth val="0"/>
        <c:axId val="384894464"/>
        <c:axId val="384892928"/>
      </c:lineChart>
      <c:dateAx>
        <c:axId val="134923008"/>
        <c:scaling>
          <c:orientation val="minMax"/>
        </c:scaling>
        <c:delete val="0"/>
        <c:axPos val="b"/>
        <c:numFmt formatCode="[$-407]mmm/\ yy;@" sourceLinked="0"/>
        <c:majorTickMark val="out"/>
        <c:minorTickMark val="none"/>
        <c:tickLblPos val="low"/>
        <c:spPr>
          <a:ln w="6350">
            <a:solidFill>
              <a:schemeClr val="tx1"/>
            </a:solidFill>
          </a:ln>
        </c:spPr>
        <c:txPr>
          <a:bodyPr rot="0" vert="horz"/>
          <a:lstStyle/>
          <a:p>
            <a:pPr>
              <a:defRPr/>
            </a:pPr>
            <a:endParaRPr lang="de-DE"/>
          </a:p>
        </c:txPr>
        <c:crossAx val="134924544"/>
        <c:crosses val="autoZero"/>
        <c:auto val="0"/>
        <c:lblOffset val="100"/>
        <c:baseTimeUnit val="days"/>
        <c:majorUnit val="6"/>
        <c:majorTimeUnit val="months"/>
        <c:minorUnit val="1"/>
        <c:minorTimeUnit val="months"/>
      </c:dateAx>
      <c:valAx>
        <c:axId val="134924544"/>
        <c:scaling>
          <c:orientation val="minMax"/>
          <c:max val="180"/>
          <c:min val="90"/>
        </c:scaling>
        <c:delete val="0"/>
        <c:axPos val="l"/>
        <c:majorGridlines>
          <c:spPr>
            <a:ln w="6350">
              <a:solidFill>
                <a:srgbClr val="BAB7B4"/>
              </a:solidFill>
              <a:prstDash val="solid"/>
            </a:ln>
          </c:spPr>
        </c:majorGridlines>
        <c:numFmt formatCode="General" sourceLinked="1"/>
        <c:majorTickMark val="out"/>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crossAx val="134923008"/>
        <c:crosses val="autoZero"/>
        <c:crossBetween val="between"/>
        <c:majorUnit val="20"/>
      </c:valAx>
      <c:valAx>
        <c:axId val="384892928"/>
        <c:scaling>
          <c:orientation val="minMax"/>
          <c:max val="180"/>
          <c:min val="90"/>
        </c:scaling>
        <c:delete val="0"/>
        <c:axPos val="r"/>
        <c:numFmt formatCode="General" sourceLinked="1"/>
        <c:majorTickMark val="out"/>
        <c:minorTickMark val="none"/>
        <c:tickLblPos val="nextTo"/>
        <c:spPr>
          <a:ln>
            <a:noFill/>
          </a:ln>
        </c:spPr>
        <c:crossAx val="384894464"/>
        <c:crosses val="max"/>
        <c:crossBetween val="between"/>
        <c:majorUnit val="20"/>
      </c:valAx>
      <c:dateAx>
        <c:axId val="384894464"/>
        <c:scaling>
          <c:orientation val="minMax"/>
        </c:scaling>
        <c:delete val="1"/>
        <c:axPos val="b"/>
        <c:numFmt formatCode="m/d/yyyy" sourceLinked="1"/>
        <c:majorTickMark val="out"/>
        <c:minorTickMark val="none"/>
        <c:tickLblPos val="nextTo"/>
        <c:crossAx val="384892928"/>
        <c:crosses val="autoZero"/>
        <c:auto val="1"/>
        <c:lblOffset val="100"/>
        <c:baseTimeUnit val="days"/>
        <c:majorUnit val="1"/>
        <c:minorUnit val="1"/>
      </c:dateAx>
      <c:spPr>
        <a:noFill/>
        <a:extLst>
          <a:ext uri="{909E8E84-426E-40DD-AFC4-6F175D3DCCD1}">
            <a14:hiddenFill xmlns:a14="http://schemas.microsoft.com/office/drawing/2010/main">
              <a:solidFill>
                <a:sysClr val="window" lastClr="FFFFFF"/>
              </a:solidFill>
            </a14:hiddenFill>
          </a:ext>
        </a:extLst>
      </c:spPr>
    </c:plotArea>
    <c:legend>
      <c:legendPos val="b"/>
      <c:layout>
        <c:manualLayout>
          <c:xMode val="edge"/>
          <c:yMode val="edge"/>
          <c:x val="0.18939085648148149"/>
          <c:y val="0.94585648148148149"/>
          <c:w val="0.62068637815720762"/>
          <c:h val="4.6303944586634831E-2"/>
        </c:manualLayout>
      </c:layout>
      <c:overlay val="0"/>
    </c:legend>
    <c:plotVisOnly val="1"/>
    <c:dispBlanksAs val="gap"/>
    <c:showDLblsOverMax val="0"/>
  </c:chart>
  <c:spPr>
    <a:solidFill>
      <a:srgbClr val="FFFFFF"/>
    </a:solidFill>
    <a:ln w="9525" cap="flat" cmpd="sng" algn="ctr">
      <a:noFill/>
      <a:prstDash val="solid"/>
      <a:round/>
    </a:ln>
    <a:effectLst/>
    <a:extLs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txPr>
    <a:bodyPr/>
    <a:lstStyle/>
    <a:p>
      <a:pPr>
        <a:defRPr sz="1000">
          <a:latin typeface="Arial"/>
          <a:ea typeface="Arial"/>
          <a:cs typeface="Arial"/>
        </a:defRPr>
      </a:pPr>
      <a:endParaRPr lang="de-D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713530798265229E-2"/>
          <c:y val="6.9536128627287447E-2"/>
          <c:w val="0.92423798076755892"/>
          <c:h val="0.82443886310167225"/>
        </c:manualLayout>
      </c:layout>
      <c:lineChart>
        <c:grouping val="standard"/>
        <c:varyColors val="0"/>
        <c:ser>
          <c:idx val="0"/>
          <c:order val="0"/>
          <c:tx>
            <c:strRef>
              <c:f>Tabelle1!$B$1</c:f>
              <c:strCache>
                <c:ptCount val="1"/>
                <c:pt idx="0">
                  <c:v>Europe</c:v>
                </c:pt>
              </c:strCache>
            </c:strRef>
          </c:tx>
          <c:spPr>
            <a:ln w="19050">
              <a:solidFill>
                <a:srgbClr val="C6562C"/>
              </a:solidFill>
              <a:prstDash val="solid"/>
            </a:ln>
          </c:spPr>
          <c:marker>
            <c:symbol val="none"/>
          </c:marker>
          <c:cat>
            <c:numRef>
              <c:f>Tabelle1!$A$2:$A$7333</c:f>
              <c:numCache>
                <c:formatCode>dd\.mm\.yyyy</c:formatCode>
                <c:ptCount val="7332"/>
                <c:pt idx="0">
                  <c:v>37622</c:v>
                </c:pt>
                <c:pt idx="1">
                  <c:v>37623</c:v>
                </c:pt>
                <c:pt idx="2">
                  <c:v>37624</c:v>
                </c:pt>
                <c:pt idx="3">
                  <c:v>37625</c:v>
                </c:pt>
                <c:pt idx="4">
                  <c:v>37626</c:v>
                </c:pt>
                <c:pt idx="5">
                  <c:v>37627</c:v>
                </c:pt>
                <c:pt idx="6">
                  <c:v>37628</c:v>
                </c:pt>
                <c:pt idx="7">
                  <c:v>37629</c:v>
                </c:pt>
                <c:pt idx="8">
                  <c:v>37630</c:v>
                </c:pt>
                <c:pt idx="9">
                  <c:v>37631</c:v>
                </c:pt>
                <c:pt idx="10">
                  <c:v>37632</c:v>
                </c:pt>
                <c:pt idx="11">
                  <c:v>37633</c:v>
                </c:pt>
                <c:pt idx="12">
                  <c:v>37634</c:v>
                </c:pt>
                <c:pt idx="13">
                  <c:v>37635</c:v>
                </c:pt>
                <c:pt idx="14">
                  <c:v>37636</c:v>
                </c:pt>
                <c:pt idx="15">
                  <c:v>37637</c:v>
                </c:pt>
                <c:pt idx="16">
                  <c:v>37638</c:v>
                </c:pt>
                <c:pt idx="17">
                  <c:v>37639</c:v>
                </c:pt>
                <c:pt idx="18">
                  <c:v>37640</c:v>
                </c:pt>
                <c:pt idx="19">
                  <c:v>37641</c:v>
                </c:pt>
                <c:pt idx="20">
                  <c:v>37642</c:v>
                </c:pt>
                <c:pt idx="21">
                  <c:v>37643</c:v>
                </c:pt>
                <c:pt idx="22">
                  <c:v>37644</c:v>
                </c:pt>
                <c:pt idx="23">
                  <c:v>37645</c:v>
                </c:pt>
                <c:pt idx="24">
                  <c:v>37646</c:v>
                </c:pt>
                <c:pt idx="25">
                  <c:v>37647</c:v>
                </c:pt>
                <c:pt idx="26">
                  <c:v>37648</c:v>
                </c:pt>
                <c:pt idx="27">
                  <c:v>37649</c:v>
                </c:pt>
                <c:pt idx="28">
                  <c:v>37650</c:v>
                </c:pt>
                <c:pt idx="29">
                  <c:v>37651</c:v>
                </c:pt>
                <c:pt idx="30">
                  <c:v>37652</c:v>
                </c:pt>
                <c:pt idx="31">
                  <c:v>37653</c:v>
                </c:pt>
                <c:pt idx="32">
                  <c:v>37654</c:v>
                </c:pt>
                <c:pt idx="33">
                  <c:v>37655</c:v>
                </c:pt>
                <c:pt idx="34">
                  <c:v>37656</c:v>
                </c:pt>
                <c:pt idx="35">
                  <c:v>37657</c:v>
                </c:pt>
                <c:pt idx="36">
                  <c:v>37658</c:v>
                </c:pt>
                <c:pt idx="37">
                  <c:v>37659</c:v>
                </c:pt>
                <c:pt idx="38">
                  <c:v>37660</c:v>
                </c:pt>
                <c:pt idx="39">
                  <c:v>37661</c:v>
                </c:pt>
                <c:pt idx="40">
                  <c:v>37662</c:v>
                </c:pt>
                <c:pt idx="41">
                  <c:v>37663</c:v>
                </c:pt>
                <c:pt idx="42">
                  <c:v>37664</c:v>
                </c:pt>
                <c:pt idx="43">
                  <c:v>37665</c:v>
                </c:pt>
                <c:pt idx="44">
                  <c:v>37666</c:v>
                </c:pt>
                <c:pt idx="45">
                  <c:v>37667</c:v>
                </c:pt>
                <c:pt idx="46">
                  <c:v>37668</c:v>
                </c:pt>
                <c:pt idx="47">
                  <c:v>37669</c:v>
                </c:pt>
                <c:pt idx="48">
                  <c:v>37670</c:v>
                </c:pt>
                <c:pt idx="49">
                  <c:v>37671</c:v>
                </c:pt>
                <c:pt idx="50">
                  <c:v>37672</c:v>
                </c:pt>
                <c:pt idx="51">
                  <c:v>37673</c:v>
                </c:pt>
                <c:pt idx="52">
                  <c:v>37674</c:v>
                </c:pt>
                <c:pt idx="53">
                  <c:v>37675</c:v>
                </c:pt>
                <c:pt idx="54">
                  <c:v>37676</c:v>
                </c:pt>
                <c:pt idx="55">
                  <c:v>37677</c:v>
                </c:pt>
                <c:pt idx="56">
                  <c:v>37678</c:v>
                </c:pt>
                <c:pt idx="57">
                  <c:v>37679</c:v>
                </c:pt>
                <c:pt idx="58">
                  <c:v>37680</c:v>
                </c:pt>
                <c:pt idx="59">
                  <c:v>37681</c:v>
                </c:pt>
                <c:pt idx="60">
                  <c:v>37682</c:v>
                </c:pt>
                <c:pt idx="61">
                  <c:v>37683</c:v>
                </c:pt>
                <c:pt idx="62">
                  <c:v>37684</c:v>
                </c:pt>
                <c:pt idx="63">
                  <c:v>37685</c:v>
                </c:pt>
                <c:pt idx="64">
                  <c:v>37686</c:v>
                </c:pt>
                <c:pt idx="65">
                  <c:v>37687</c:v>
                </c:pt>
                <c:pt idx="66">
                  <c:v>37688</c:v>
                </c:pt>
                <c:pt idx="67">
                  <c:v>37689</c:v>
                </c:pt>
                <c:pt idx="68">
                  <c:v>37690</c:v>
                </c:pt>
                <c:pt idx="69">
                  <c:v>37691</c:v>
                </c:pt>
                <c:pt idx="70">
                  <c:v>37692</c:v>
                </c:pt>
                <c:pt idx="71">
                  <c:v>37693</c:v>
                </c:pt>
                <c:pt idx="72">
                  <c:v>37694</c:v>
                </c:pt>
                <c:pt idx="73">
                  <c:v>37695</c:v>
                </c:pt>
                <c:pt idx="74">
                  <c:v>37696</c:v>
                </c:pt>
                <c:pt idx="75">
                  <c:v>37697</c:v>
                </c:pt>
                <c:pt idx="76">
                  <c:v>37698</c:v>
                </c:pt>
                <c:pt idx="77">
                  <c:v>37699</c:v>
                </c:pt>
                <c:pt idx="78">
                  <c:v>37700</c:v>
                </c:pt>
                <c:pt idx="79">
                  <c:v>37701</c:v>
                </c:pt>
                <c:pt idx="80">
                  <c:v>37702</c:v>
                </c:pt>
                <c:pt idx="81">
                  <c:v>37703</c:v>
                </c:pt>
                <c:pt idx="82">
                  <c:v>37704</c:v>
                </c:pt>
                <c:pt idx="83">
                  <c:v>37705</c:v>
                </c:pt>
                <c:pt idx="84">
                  <c:v>37706</c:v>
                </c:pt>
                <c:pt idx="85">
                  <c:v>37707</c:v>
                </c:pt>
                <c:pt idx="86">
                  <c:v>37708</c:v>
                </c:pt>
                <c:pt idx="87">
                  <c:v>37709</c:v>
                </c:pt>
                <c:pt idx="88">
                  <c:v>37710</c:v>
                </c:pt>
                <c:pt idx="89">
                  <c:v>37711</c:v>
                </c:pt>
                <c:pt idx="90">
                  <c:v>37712</c:v>
                </c:pt>
                <c:pt idx="91">
                  <c:v>37713</c:v>
                </c:pt>
                <c:pt idx="92">
                  <c:v>37714</c:v>
                </c:pt>
                <c:pt idx="93">
                  <c:v>37715</c:v>
                </c:pt>
                <c:pt idx="94">
                  <c:v>37716</c:v>
                </c:pt>
                <c:pt idx="95">
                  <c:v>37717</c:v>
                </c:pt>
                <c:pt idx="96">
                  <c:v>37718</c:v>
                </c:pt>
                <c:pt idx="97">
                  <c:v>37719</c:v>
                </c:pt>
                <c:pt idx="98">
                  <c:v>37720</c:v>
                </c:pt>
                <c:pt idx="99">
                  <c:v>37721</c:v>
                </c:pt>
                <c:pt idx="100">
                  <c:v>37722</c:v>
                </c:pt>
                <c:pt idx="101">
                  <c:v>37723</c:v>
                </c:pt>
                <c:pt idx="102">
                  <c:v>37724</c:v>
                </c:pt>
                <c:pt idx="103">
                  <c:v>37725</c:v>
                </c:pt>
                <c:pt idx="104">
                  <c:v>37726</c:v>
                </c:pt>
                <c:pt idx="105">
                  <c:v>37727</c:v>
                </c:pt>
                <c:pt idx="106">
                  <c:v>37728</c:v>
                </c:pt>
                <c:pt idx="107">
                  <c:v>37729</c:v>
                </c:pt>
                <c:pt idx="108">
                  <c:v>37730</c:v>
                </c:pt>
                <c:pt idx="109">
                  <c:v>37731</c:v>
                </c:pt>
                <c:pt idx="110">
                  <c:v>37732</c:v>
                </c:pt>
                <c:pt idx="111">
                  <c:v>37733</c:v>
                </c:pt>
                <c:pt idx="112">
                  <c:v>37734</c:v>
                </c:pt>
                <c:pt idx="113">
                  <c:v>37735</c:v>
                </c:pt>
                <c:pt idx="114">
                  <c:v>37736</c:v>
                </c:pt>
                <c:pt idx="115">
                  <c:v>37737</c:v>
                </c:pt>
                <c:pt idx="116">
                  <c:v>37738</c:v>
                </c:pt>
                <c:pt idx="117">
                  <c:v>37739</c:v>
                </c:pt>
                <c:pt idx="118">
                  <c:v>37740</c:v>
                </c:pt>
                <c:pt idx="119">
                  <c:v>37741</c:v>
                </c:pt>
                <c:pt idx="120">
                  <c:v>37742</c:v>
                </c:pt>
                <c:pt idx="121">
                  <c:v>37743</c:v>
                </c:pt>
                <c:pt idx="122">
                  <c:v>37744</c:v>
                </c:pt>
                <c:pt idx="123">
                  <c:v>37745</c:v>
                </c:pt>
                <c:pt idx="124">
                  <c:v>37746</c:v>
                </c:pt>
                <c:pt idx="125">
                  <c:v>37747</c:v>
                </c:pt>
                <c:pt idx="126">
                  <c:v>37748</c:v>
                </c:pt>
                <c:pt idx="127">
                  <c:v>37749</c:v>
                </c:pt>
                <c:pt idx="128">
                  <c:v>37750</c:v>
                </c:pt>
                <c:pt idx="129">
                  <c:v>37751</c:v>
                </c:pt>
                <c:pt idx="130">
                  <c:v>37752</c:v>
                </c:pt>
                <c:pt idx="131">
                  <c:v>37753</c:v>
                </c:pt>
                <c:pt idx="132">
                  <c:v>37754</c:v>
                </c:pt>
                <c:pt idx="133">
                  <c:v>37755</c:v>
                </c:pt>
                <c:pt idx="134">
                  <c:v>37756</c:v>
                </c:pt>
                <c:pt idx="135">
                  <c:v>37757</c:v>
                </c:pt>
                <c:pt idx="136">
                  <c:v>37758</c:v>
                </c:pt>
                <c:pt idx="137">
                  <c:v>37759</c:v>
                </c:pt>
                <c:pt idx="138">
                  <c:v>37760</c:v>
                </c:pt>
                <c:pt idx="139">
                  <c:v>37761</c:v>
                </c:pt>
                <c:pt idx="140">
                  <c:v>37762</c:v>
                </c:pt>
                <c:pt idx="141">
                  <c:v>37763</c:v>
                </c:pt>
                <c:pt idx="142">
                  <c:v>37764</c:v>
                </c:pt>
                <c:pt idx="143">
                  <c:v>37765</c:v>
                </c:pt>
                <c:pt idx="144">
                  <c:v>37766</c:v>
                </c:pt>
                <c:pt idx="145">
                  <c:v>37767</c:v>
                </c:pt>
                <c:pt idx="146">
                  <c:v>37768</c:v>
                </c:pt>
                <c:pt idx="147">
                  <c:v>37769</c:v>
                </c:pt>
                <c:pt idx="148">
                  <c:v>37770</c:v>
                </c:pt>
                <c:pt idx="149">
                  <c:v>37771</c:v>
                </c:pt>
                <c:pt idx="150">
                  <c:v>37772</c:v>
                </c:pt>
                <c:pt idx="151">
                  <c:v>37773</c:v>
                </c:pt>
                <c:pt idx="152">
                  <c:v>37774</c:v>
                </c:pt>
                <c:pt idx="153">
                  <c:v>37775</c:v>
                </c:pt>
                <c:pt idx="154">
                  <c:v>37776</c:v>
                </c:pt>
                <c:pt idx="155">
                  <c:v>37777</c:v>
                </c:pt>
                <c:pt idx="156">
                  <c:v>37778</c:v>
                </c:pt>
                <c:pt idx="157">
                  <c:v>37779</c:v>
                </c:pt>
                <c:pt idx="158">
                  <c:v>37780</c:v>
                </c:pt>
                <c:pt idx="159">
                  <c:v>37781</c:v>
                </c:pt>
                <c:pt idx="160">
                  <c:v>37782</c:v>
                </c:pt>
                <c:pt idx="161">
                  <c:v>37783</c:v>
                </c:pt>
                <c:pt idx="162">
                  <c:v>37784</c:v>
                </c:pt>
                <c:pt idx="163">
                  <c:v>37785</c:v>
                </c:pt>
                <c:pt idx="164">
                  <c:v>37786</c:v>
                </c:pt>
                <c:pt idx="165">
                  <c:v>37787</c:v>
                </c:pt>
                <c:pt idx="166">
                  <c:v>37788</c:v>
                </c:pt>
                <c:pt idx="167">
                  <c:v>37789</c:v>
                </c:pt>
                <c:pt idx="168">
                  <c:v>37790</c:v>
                </c:pt>
                <c:pt idx="169">
                  <c:v>37791</c:v>
                </c:pt>
                <c:pt idx="170">
                  <c:v>37792</c:v>
                </c:pt>
                <c:pt idx="171">
                  <c:v>37793</c:v>
                </c:pt>
                <c:pt idx="172">
                  <c:v>37794</c:v>
                </c:pt>
                <c:pt idx="173">
                  <c:v>37795</c:v>
                </c:pt>
                <c:pt idx="174">
                  <c:v>37796</c:v>
                </c:pt>
                <c:pt idx="175">
                  <c:v>37797</c:v>
                </c:pt>
                <c:pt idx="176">
                  <c:v>37798</c:v>
                </c:pt>
                <c:pt idx="177">
                  <c:v>37799</c:v>
                </c:pt>
                <c:pt idx="178">
                  <c:v>37800</c:v>
                </c:pt>
                <c:pt idx="179">
                  <c:v>37801</c:v>
                </c:pt>
                <c:pt idx="180">
                  <c:v>37802</c:v>
                </c:pt>
                <c:pt idx="181">
                  <c:v>37803</c:v>
                </c:pt>
                <c:pt idx="182">
                  <c:v>37804</c:v>
                </c:pt>
                <c:pt idx="183">
                  <c:v>37805</c:v>
                </c:pt>
                <c:pt idx="184">
                  <c:v>37806</c:v>
                </c:pt>
                <c:pt idx="185">
                  <c:v>37807</c:v>
                </c:pt>
                <c:pt idx="186">
                  <c:v>37808</c:v>
                </c:pt>
                <c:pt idx="187">
                  <c:v>37809</c:v>
                </c:pt>
                <c:pt idx="188">
                  <c:v>37810</c:v>
                </c:pt>
                <c:pt idx="189">
                  <c:v>37811</c:v>
                </c:pt>
                <c:pt idx="190">
                  <c:v>37812</c:v>
                </c:pt>
                <c:pt idx="191">
                  <c:v>37813</c:v>
                </c:pt>
                <c:pt idx="192">
                  <c:v>37814</c:v>
                </c:pt>
                <c:pt idx="193">
                  <c:v>37815</c:v>
                </c:pt>
                <c:pt idx="194">
                  <c:v>37816</c:v>
                </c:pt>
                <c:pt idx="195">
                  <c:v>37817</c:v>
                </c:pt>
                <c:pt idx="196">
                  <c:v>37818</c:v>
                </c:pt>
                <c:pt idx="197">
                  <c:v>37819</c:v>
                </c:pt>
                <c:pt idx="198">
                  <c:v>37820</c:v>
                </c:pt>
                <c:pt idx="199">
                  <c:v>37821</c:v>
                </c:pt>
                <c:pt idx="200">
                  <c:v>37822</c:v>
                </c:pt>
                <c:pt idx="201">
                  <c:v>37823</c:v>
                </c:pt>
                <c:pt idx="202">
                  <c:v>37824</c:v>
                </c:pt>
                <c:pt idx="203">
                  <c:v>37825</c:v>
                </c:pt>
                <c:pt idx="204">
                  <c:v>37826</c:v>
                </c:pt>
                <c:pt idx="205">
                  <c:v>37827</c:v>
                </c:pt>
                <c:pt idx="206">
                  <c:v>37828</c:v>
                </c:pt>
                <c:pt idx="207">
                  <c:v>37829</c:v>
                </c:pt>
                <c:pt idx="208">
                  <c:v>37830</c:v>
                </c:pt>
                <c:pt idx="209">
                  <c:v>37831</c:v>
                </c:pt>
                <c:pt idx="210">
                  <c:v>37832</c:v>
                </c:pt>
                <c:pt idx="211">
                  <c:v>37833</c:v>
                </c:pt>
                <c:pt idx="212">
                  <c:v>37834</c:v>
                </c:pt>
                <c:pt idx="213">
                  <c:v>37835</c:v>
                </c:pt>
                <c:pt idx="214">
                  <c:v>37836</c:v>
                </c:pt>
                <c:pt idx="215">
                  <c:v>37837</c:v>
                </c:pt>
                <c:pt idx="216">
                  <c:v>37838</c:v>
                </c:pt>
                <c:pt idx="217">
                  <c:v>37839</c:v>
                </c:pt>
                <c:pt idx="218">
                  <c:v>37840</c:v>
                </c:pt>
                <c:pt idx="219">
                  <c:v>37841</c:v>
                </c:pt>
                <c:pt idx="220">
                  <c:v>37842</c:v>
                </c:pt>
                <c:pt idx="221">
                  <c:v>37843</c:v>
                </c:pt>
                <c:pt idx="222">
                  <c:v>37844</c:v>
                </c:pt>
                <c:pt idx="223">
                  <c:v>37845</c:v>
                </c:pt>
                <c:pt idx="224">
                  <c:v>37846</c:v>
                </c:pt>
                <c:pt idx="225">
                  <c:v>37847</c:v>
                </c:pt>
                <c:pt idx="226">
                  <c:v>37848</c:v>
                </c:pt>
                <c:pt idx="227">
                  <c:v>37849</c:v>
                </c:pt>
                <c:pt idx="228">
                  <c:v>37850</c:v>
                </c:pt>
                <c:pt idx="229">
                  <c:v>37851</c:v>
                </c:pt>
                <c:pt idx="230">
                  <c:v>37852</c:v>
                </c:pt>
                <c:pt idx="231">
                  <c:v>37853</c:v>
                </c:pt>
                <c:pt idx="232">
                  <c:v>37854</c:v>
                </c:pt>
                <c:pt idx="233">
                  <c:v>37855</c:v>
                </c:pt>
                <c:pt idx="234">
                  <c:v>37856</c:v>
                </c:pt>
                <c:pt idx="235">
                  <c:v>37857</c:v>
                </c:pt>
                <c:pt idx="236">
                  <c:v>37858</c:v>
                </c:pt>
                <c:pt idx="237">
                  <c:v>37859</c:v>
                </c:pt>
                <c:pt idx="238">
                  <c:v>37860</c:v>
                </c:pt>
                <c:pt idx="239">
                  <c:v>37861</c:v>
                </c:pt>
                <c:pt idx="240">
                  <c:v>37862</c:v>
                </c:pt>
                <c:pt idx="241">
                  <c:v>37863</c:v>
                </c:pt>
                <c:pt idx="242">
                  <c:v>37864</c:v>
                </c:pt>
                <c:pt idx="243">
                  <c:v>37865</c:v>
                </c:pt>
                <c:pt idx="244">
                  <c:v>37866</c:v>
                </c:pt>
                <c:pt idx="245">
                  <c:v>37867</c:v>
                </c:pt>
                <c:pt idx="246">
                  <c:v>37868</c:v>
                </c:pt>
                <c:pt idx="247">
                  <c:v>37869</c:v>
                </c:pt>
                <c:pt idx="248">
                  <c:v>37870</c:v>
                </c:pt>
                <c:pt idx="249">
                  <c:v>37871</c:v>
                </c:pt>
                <c:pt idx="250">
                  <c:v>37872</c:v>
                </c:pt>
                <c:pt idx="251">
                  <c:v>37873</c:v>
                </c:pt>
                <c:pt idx="252">
                  <c:v>37874</c:v>
                </c:pt>
                <c:pt idx="253">
                  <c:v>37875</c:v>
                </c:pt>
                <c:pt idx="254">
                  <c:v>37876</c:v>
                </c:pt>
                <c:pt idx="255">
                  <c:v>37877</c:v>
                </c:pt>
                <c:pt idx="256">
                  <c:v>37878</c:v>
                </c:pt>
                <c:pt idx="257">
                  <c:v>37879</c:v>
                </c:pt>
                <c:pt idx="258">
                  <c:v>37880</c:v>
                </c:pt>
                <c:pt idx="259">
                  <c:v>37881</c:v>
                </c:pt>
                <c:pt idx="260">
                  <c:v>37882</c:v>
                </c:pt>
                <c:pt idx="261">
                  <c:v>37883</c:v>
                </c:pt>
                <c:pt idx="262">
                  <c:v>37884</c:v>
                </c:pt>
                <c:pt idx="263">
                  <c:v>37885</c:v>
                </c:pt>
                <c:pt idx="264">
                  <c:v>37886</c:v>
                </c:pt>
                <c:pt idx="265">
                  <c:v>37887</c:v>
                </c:pt>
                <c:pt idx="266">
                  <c:v>37888</c:v>
                </c:pt>
                <c:pt idx="267">
                  <c:v>37889</c:v>
                </c:pt>
                <c:pt idx="268">
                  <c:v>37890</c:v>
                </c:pt>
                <c:pt idx="269">
                  <c:v>37891</c:v>
                </c:pt>
                <c:pt idx="270">
                  <c:v>37892</c:v>
                </c:pt>
                <c:pt idx="271">
                  <c:v>37893</c:v>
                </c:pt>
                <c:pt idx="272">
                  <c:v>37894</c:v>
                </c:pt>
                <c:pt idx="273">
                  <c:v>37895</c:v>
                </c:pt>
                <c:pt idx="274">
                  <c:v>37896</c:v>
                </c:pt>
                <c:pt idx="275">
                  <c:v>37897</c:v>
                </c:pt>
                <c:pt idx="276">
                  <c:v>37898</c:v>
                </c:pt>
                <c:pt idx="277">
                  <c:v>37899</c:v>
                </c:pt>
                <c:pt idx="278">
                  <c:v>37900</c:v>
                </c:pt>
                <c:pt idx="279">
                  <c:v>37901</c:v>
                </c:pt>
                <c:pt idx="280">
                  <c:v>37902</c:v>
                </c:pt>
                <c:pt idx="281">
                  <c:v>37903</c:v>
                </c:pt>
                <c:pt idx="282">
                  <c:v>37904</c:v>
                </c:pt>
                <c:pt idx="283">
                  <c:v>37905</c:v>
                </c:pt>
                <c:pt idx="284">
                  <c:v>37906</c:v>
                </c:pt>
                <c:pt idx="285">
                  <c:v>37907</c:v>
                </c:pt>
                <c:pt idx="286">
                  <c:v>37908</c:v>
                </c:pt>
                <c:pt idx="287">
                  <c:v>37909</c:v>
                </c:pt>
                <c:pt idx="288">
                  <c:v>37910</c:v>
                </c:pt>
                <c:pt idx="289">
                  <c:v>37911</c:v>
                </c:pt>
                <c:pt idx="290">
                  <c:v>37912</c:v>
                </c:pt>
                <c:pt idx="291">
                  <c:v>37913</c:v>
                </c:pt>
                <c:pt idx="292">
                  <c:v>37914</c:v>
                </c:pt>
                <c:pt idx="293">
                  <c:v>37915</c:v>
                </c:pt>
                <c:pt idx="294">
                  <c:v>37916</c:v>
                </c:pt>
                <c:pt idx="295">
                  <c:v>37917</c:v>
                </c:pt>
                <c:pt idx="296">
                  <c:v>37918</c:v>
                </c:pt>
                <c:pt idx="297">
                  <c:v>37919</c:v>
                </c:pt>
                <c:pt idx="298">
                  <c:v>37920</c:v>
                </c:pt>
                <c:pt idx="299">
                  <c:v>37921</c:v>
                </c:pt>
                <c:pt idx="300">
                  <c:v>37922</c:v>
                </c:pt>
                <c:pt idx="301">
                  <c:v>37923</c:v>
                </c:pt>
                <c:pt idx="302">
                  <c:v>37924</c:v>
                </c:pt>
                <c:pt idx="303">
                  <c:v>37925</c:v>
                </c:pt>
                <c:pt idx="304">
                  <c:v>37926</c:v>
                </c:pt>
                <c:pt idx="305">
                  <c:v>37927</c:v>
                </c:pt>
                <c:pt idx="306">
                  <c:v>37928</c:v>
                </c:pt>
                <c:pt idx="307">
                  <c:v>37929</c:v>
                </c:pt>
                <c:pt idx="308">
                  <c:v>37930</c:v>
                </c:pt>
                <c:pt idx="309">
                  <c:v>37931</c:v>
                </c:pt>
                <c:pt idx="310">
                  <c:v>37932</c:v>
                </c:pt>
                <c:pt idx="311">
                  <c:v>37933</c:v>
                </c:pt>
                <c:pt idx="312">
                  <c:v>37934</c:v>
                </c:pt>
                <c:pt idx="313">
                  <c:v>37935</c:v>
                </c:pt>
                <c:pt idx="314">
                  <c:v>37936</c:v>
                </c:pt>
                <c:pt idx="315">
                  <c:v>37937</c:v>
                </c:pt>
                <c:pt idx="316">
                  <c:v>37938</c:v>
                </c:pt>
                <c:pt idx="317">
                  <c:v>37939</c:v>
                </c:pt>
                <c:pt idx="318">
                  <c:v>37940</c:v>
                </c:pt>
                <c:pt idx="319">
                  <c:v>37941</c:v>
                </c:pt>
                <c:pt idx="320">
                  <c:v>37942</c:v>
                </c:pt>
                <c:pt idx="321">
                  <c:v>37943</c:v>
                </c:pt>
                <c:pt idx="322">
                  <c:v>37944</c:v>
                </c:pt>
                <c:pt idx="323">
                  <c:v>37945</c:v>
                </c:pt>
                <c:pt idx="324">
                  <c:v>37946</c:v>
                </c:pt>
                <c:pt idx="325">
                  <c:v>37947</c:v>
                </c:pt>
                <c:pt idx="326">
                  <c:v>37948</c:v>
                </c:pt>
                <c:pt idx="327">
                  <c:v>37949</c:v>
                </c:pt>
                <c:pt idx="328">
                  <c:v>37950</c:v>
                </c:pt>
                <c:pt idx="329">
                  <c:v>37951</c:v>
                </c:pt>
                <c:pt idx="330">
                  <c:v>37952</c:v>
                </c:pt>
                <c:pt idx="331">
                  <c:v>37953</c:v>
                </c:pt>
                <c:pt idx="332">
                  <c:v>37954</c:v>
                </c:pt>
                <c:pt idx="333">
                  <c:v>37955</c:v>
                </c:pt>
                <c:pt idx="334">
                  <c:v>37956</c:v>
                </c:pt>
                <c:pt idx="335">
                  <c:v>37957</c:v>
                </c:pt>
                <c:pt idx="336">
                  <c:v>37958</c:v>
                </c:pt>
                <c:pt idx="337">
                  <c:v>37959</c:v>
                </c:pt>
                <c:pt idx="338">
                  <c:v>37960</c:v>
                </c:pt>
                <c:pt idx="339">
                  <c:v>37961</c:v>
                </c:pt>
                <c:pt idx="340">
                  <c:v>37962</c:v>
                </c:pt>
                <c:pt idx="341">
                  <c:v>37963</c:v>
                </c:pt>
                <c:pt idx="342">
                  <c:v>37964</c:v>
                </c:pt>
                <c:pt idx="343">
                  <c:v>37965</c:v>
                </c:pt>
                <c:pt idx="344">
                  <c:v>37966</c:v>
                </c:pt>
                <c:pt idx="345">
                  <c:v>37967</c:v>
                </c:pt>
                <c:pt idx="346">
                  <c:v>37968</c:v>
                </c:pt>
                <c:pt idx="347">
                  <c:v>37969</c:v>
                </c:pt>
                <c:pt idx="348">
                  <c:v>37970</c:v>
                </c:pt>
                <c:pt idx="349">
                  <c:v>37971</c:v>
                </c:pt>
                <c:pt idx="350">
                  <c:v>37972</c:v>
                </c:pt>
                <c:pt idx="351">
                  <c:v>37973</c:v>
                </c:pt>
                <c:pt idx="352">
                  <c:v>37974</c:v>
                </c:pt>
                <c:pt idx="353">
                  <c:v>37975</c:v>
                </c:pt>
                <c:pt idx="354">
                  <c:v>37976</c:v>
                </c:pt>
                <c:pt idx="355">
                  <c:v>37977</c:v>
                </c:pt>
                <c:pt idx="356">
                  <c:v>37978</c:v>
                </c:pt>
                <c:pt idx="357">
                  <c:v>37979</c:v>
                </c:pt>
                <c:pt idx="358">
                  <c:v>37980</c:v>
                </c:pt>
                <c:pt idx="359">
                  <c:v>37981</c:v>
                </c:pt>
                <c:pt idx="360">
                  <c:v>37982</c:v>
                </c:pt>
                <c:pt idx="361">
                  <c:v>37983</c:v>
                </c:pt>
                <c:pt idx="362">
                  <c:v>37984</c:v>
                </c:pt>
                <c:pt idx="363">
                  <c:v>37985</c:v>
                </c:pt>
                <c:pt idx="364">
                  <c:v>37986</c:v>
                </c:pt>
                <c:pt idx="365">
                  <c:v>37987</c:v>
                </c:pt>
                <c:pt idx="366">
                  <c:v>37988</c:v>
                </c:pt>
                <c:pt idx="367">
                  <c:v>37989</c:v>
                </c:pt>
                <c:pt idx="368">
                  <c:v>37990</c:v>
                </c:pt>
                <c:pt idx="369">
                  <c:v>37991</c:v>
                </c:pt>
                <c:pt idx="370">
                  <c:v>37992</c:v>
                </c:pt>
                <c:pt idx="371">
                  <c:v>37993</c:v>
                </c:pt>
                <c:pt idx="372">
                  <c:v>37994</c:v>
                </c:pt>
                <c:pt idx="373">
                  <c:v>37995</c:v>
                </c:pt>
                <c:pt idx="374">
                  <c:v>37996</c:v>
                </c:pt>
                <c:pt idx="375">
                  <c:v>37997</c:v>
                </c:pt>
                <c:pt idx="376">
                  <c:v>37998</c:v>
                </c:pt>
                <c:pt idx="377">
                  <c:v>37999</c:v>
                </c:pt>
                <c:pt idx="378">
                  <c:v>38000</c:v>
                </c:pt>
                <c:pt idx="379">
                  <c:v>38001</c:v>
                </c:pt>
                <c:pt idx="380">
                  <c:v>38002</c:v>
                </c:pt>
                <c:pt idx="381">
                  <c:v>38003</c:v>
                </c:pt>
                <c:pt idx="382">
                  <c:v>38004</c:v>
                </c:pt>
                <c:pt idx="383">
                  <c:v>38005</c:v>
                </c:pt>
                <c:pt idx="384">
                  <c:v>38006</c:v>
                </c:pt>
                <c:pt idx="385">
                  <c:v>38007</c:v>
                </c:pt>
                <c:pt idx="386">
                  <c:v>38008</c:v>
                </c:pt>
                <c:pt idx="387">
                  <c:v>38009</c:v>
                </c:pt>
                <c:pt idx="388">
                  <c:v>38010</c:v>
                </c:pt>
                <c:pt idx="389">
                  <c:v>38011</c:v>
                </c:pt>
                <c:pt idx="390">
                  <c:v>38012</c:v>
                </c:pt>
                <c:pt idx="391">
                  <c:v>38013</c:v>
                </c:pt>
                <c:pt idx="392">
                  <c:v>38014</c:v>
                </c:pt>
                <c:pt idx="393">
                  <c:v>38015</c:v>
                </c:pt>
                <c:pt idx="394">
                  <c:v>38016</c:v>
                </c:pt>
                <c:pt idx="395">
                  <c:v>38017</c:v>
                </c:pt>
                <c:pt idx="396">
                  <c:v>38018</c:v>
                </c:pt>
                <c:pt idx="397">
                  <c:v>38019</c:v>
                </c:pt>
                <c:pt idx="398">
                  <c:v>38020</c:v>
                </c:pt>
                <c:pt idx="399">
                  <c:v>38021</c:v>
                </c:pt>
                <c:pt idx="400">
                  <c:v>38022</c:v>
                </c:pt>
                <c:pt idx="401">
                  <c:v>38023</c:v>
                </c:pt>
                <c:pt idx="402">
                  <c:v>38024</c:v>
                </c:pt>
                <c:pt idx="403">
                  <c:v>38025</c:v>
                </c:pt>
                <c:pt idx="404">
                  <c:v>38026</c:v>
                </c:pt>
                <c:pt idx="405">
                  <c:v>38027</c:v>
                </c:pt>
                <c:pt idx="406">
                  <c:v>38028</c:v>
                </c:pt>
                <c:pt idx="407">
                  <c:v>38029</c:v>
                </c:pt>
                <c:pt idx="408">
                  <c:v>38030</c:v>
                </c:pt>
                <c:pt idx="409">
                  <c:v>38031</c:v>
                </c:pt>
                <c:pt idx="410">
                  <c:v>38032</c:v>
                </c:pt>
                <c:pt idx="411">
                  <c:v>38033</c:v>
                </c:pt>
                <c:pt idx="412">
                  <c:v>38034</c:v>
                </c:pt>
                <c:pt idx="413">
                  <c:v>38035</c:v>
                </c:pt>
                <c:pt idx="414">
                  <c:v>38036</c:v>
                </c:pt>
                <c:pt idx="415">
                  <c:v>38037</c:v>
                </c:pt>
                <c:pt idx="416">
                  <c:v>38038</c:v>
                </c:pt>
                <c:pt idx="417">
                  <c:v>38039</c:v>
                </c:pt>
                <c:pt idx="418">
                  <c:v>38040</c:v>
                </c:pt>
                <c:pt idx="419">
                  <c:v>38041</c:v>
                </c:pt>
                <c:pt idx="420">
                  <c:v>38042</c:v>
                </c:pt>
                <c:pt idx="421">
                  <c:v>38043</c:v>
                </c:pt>
                <c:pt idx="422">
                  <c:v>38044</c:v>
                </c:pt>
                <c:pt idx="423">
                  <c:v>38045</c:v>
                </c:pt>
                <c:pt idx="424">
                  <c:v>38046</c:v>
                </c:pt>
                <c:pt idx="425">
                  <c:v>38047</c:v>
                </c:pt>
                <c:pt idx="426">
                  <c:v>38048</c:v>
                </c:pt>
                <c:pt idx="427">
                  <c:v>38049</c:v>
                </c:pt>
                <c:pt idx="428">
                  <c:v>38050</c:v>
                </c:pt>
                <c:pt idx="429">
                  <c:v>38051</c:v>
                </c:pt>
                <c:pt idx="430">
                  <c:v>38052</c:v>
                </c:pt>
                <c:pt idx="431">
                  <c:v>38053</c:v>
                </c:pt>
                <c:pt idx="432">
                  <c:v>38054</c:v>
                </c:pt>
                <c:pt idx="433">
                  <c:v>38055</c:v>
                </c:pt>
                <c:pt idx="434">
                  <c:v>38056</c:v>
                </c:pt>
                <c:pt idx="435">
                  <c:v>38057</c:v>
                </c:pt>
                <c:pt idx="436">
                  <c:v>38058</c:v>
                </c:pt>
                <c:pt idx="437">
                  <c:v>38059</c:v>
                </c:pt>
                <c:pt idx="438">
                  <c:v>38060</c:v>
                </c:pt>
                <c:pt idx="439">
                  <c:v>38061</c:v>
                </c:pt>
                <c:pt idx="440">
                  <c:v>38062</c:v>
                </c:pt>
                <c:pt idx="441">
                  <c:v>38063</c:v>
                </c:pt>
                <c:pt idx="442">
                  <c:v>38064</c:v>
                </c:pt>
                <c:pt idx="443">
                  <c:v>38065</c:v>
                </c:pt>
                <c:pt idx="444">
                  <c:v>38066</c:v>
                </c:pt>
                <c:pt idx="445">
                  <c:v>38067</c:v>
                </c:pt>
                <c:pt idx="446">
                  <c:v>38068</c:v>
                </c:pt>
                <c:pt idx="447">
                  <c:v>38069</c:v>
                </c:pt>
                <c:pt idx="448">
                  <c:v>38070</c:v>
                </c:pt>
                <c:pt idx="449">
                  <c:v>38071</c:v>
                </c:pt>
                <c:pt idx="450">
                  <c:v>38072</c:v>
                </c:pt>
                <c:pt idx="451">
                  <c:v>38073</c:v>
                </c:pt>
                <c:pt idx="452">
                  <c:v>38074</c:v>
                </c:pt>
                <c:pt idx="453">
                  <c:v>38075</c:v>
                </c:pt>
                <c:pt idx="454">
                  <c:v>38076</c:v>
                </c:pt>
                <c:pt idx="455">
                  <c:v>38077</c:v>
                </c:pt>
                <c:pt idx="456">
                  <c:v>38078</c:v>
                </c:pt>
                <c:pt idx="457">
                  <c:v>38079</c:v>
                </c:pt>
                <c:pt idx="458">
                  <c:v>38080</c:v>
                </c:pt>
                <c:pt idx="459">
                  <c:v>38081</c:v>
                </c:pt>
                <c:pt idx="460">
                  <c:v>38082</c:v>
                </c:pt>
                <c:pt idx="461">
                  <c:v>38083</c:v>
                </c:pt>
                <c:pt idx="462">
                  <c:v>38084</c:v>
                </c:pt>
                <c:pt idx="463">
                  <c:v>38085</c:v>
                </c:pt>
                <c:pt idx="464">
                  <c:v>38086</c:v>
                </c:pt>
                <c:pt idx="465">
                  <c:v>38087</c:v>
                </c:pt>
                <c:pt idx="466">
                  <c:v>38088</c:v>
                </c:pt>
                <c:pt idx="467">
                  <c:v>38089</c:v>
                </c:pt>
                <c:pt idx="468">
                  <c:v>38090</c:v>
                </c:pt>
                <c:pt idx="469">
                  <c:v>38091</c:v>
                </c:pt>
                <c:pt idx="470">
                  <c:v>38092</c:v>
                </c:pt>
                <c:pt idx="471">
                  <c:v>38093</c:v>
                </c:pt>
                <c:pt idx="472">
                  <c:v>38094</c:v>
                </c:pt>
                <c:pt idx="473">
                  <c:v>38095</c:v>
                </c:pt>
                <c:pt idx="474">
                  <c:v>38096</c:v>
                </c:pt>
                <c:pt idx="475">
                  <c:v>38097</c:v>
                </c:pt>
                <c:pt idx="476">
                  <c:v>38098</c:v>
                </c:pt>
                <c:pt idx="477">
                  <c:v>38099</c:v>
                </c:pt>
                <c:pt idx="478">
                  <c:v>38100</c:v>
                </c:pt>
                <c:pt idx="479">
                  <c:v>38101</c:v>
                </c:pt>
                <c:pt idx="480">
                  <c:v>38102</c:v>
                </c:pt>
                <c:pt idx="481">
                  <c:v>38103</c:v>
                </c:pt>
                <c:pt idx="482">
                  <c:v>38104</c:v>
                </c:pt>
                <c:pt idx="483">
                  <c:v>38105</c:v>
                </c:pt>
                <c:pt idx="484">
                  <c:v>38106</c:v>
                </c:pt>
                <c:pt idx="485">
                  <c:v>38107</c:v>
                </c:pt>
                <c:pt idx="486">
                  <c:v>38108</c:v>
                </c:pt>
                <c:pt idx="487">
                  <c:v>38109</c:v>
                </c:pt>
                <c:pt idx="488">
                  <c:v>38110</c:v>
                </c:pt>
                <c:pt idx="489">
                  <c:v>38111</c:v>
                </c:pt>
                <c:pt idx="490">
                  <c:v>38112</c:v>
                </c:pt>
                <c:pt idx="491">
                  <c:v>38113</c:v>
                </c:pt>
                <c:pt idx="492">
                  <c:v>38114</c:v>
                </c:pt>
                <c:pt idx="493">
                  <c:v>38115</c:v>
                </c:pt>
                <c:pt idx="494">
                  <c:v>38116</c:v>
                </c:pt>
                <c:pt idx="495">
                  <c:v>38117</c:v>
                </c:pt>
                <c:pt idx="496">
                  <c:v>38118</c:v>
                </c:pt>
                <c:pt idx="497">
                  <c:v>38119</c:v>
                </c:pt>
                <c:pt idx="498">
                  <c:v>38120</c:v>
                </c:pt>
                <c:pt idx="499">
                  <c:v>38121</c:v>
                </c:pt>
                <c:pt idx="500">
                  <c:v>38122</c:v>
                </c:pt>
                <c:pt idx="501">
                  <c:v>38123</c:v>
                </c:pt>
                <c:pt idx="502">
                  <c:v>38124</c:v>
                </c:pt>
                <c:pt idx="503">
                  <c:v>38125</c:v>
                </c:pt>
                <c:pt idx="504">
                  <c:v>38126</c:v>
                </c:pt>
                <c:pt idx="505">
                  <c:v>38127</c:v>
                </c:pt>
                <c:pt idx="506">
                  <c:v>38128</c:v>
                </c:pt>
                <c:pt idx="507">
                  <c:v>38129</c:v>
                </c:pt>
                <c:pt idx="508">
                  <c:v>38130</c:v>
                </c:pt>
                <c:pt idx="509">
                  <c:v>38131</c:v>
                </c:pt>
                <c:pt idx="510">
                  <c:v>38132</c:v>
                </c:pt>
                <c:pt idx="511">
                  <c:v>38133</c:v>
                </c:pt>
                <c:pt idx="512">
                  <c:v>38134</c:v>
                </c:pt>
                <c:pt idx="513">
                  <c:v>38135</c:v>
                </c:pt>
                <c:pt idx="514">
                  <c:v>38136</c:v>
                </c:pt>
                <c:pt idx="515">
                  <c:v>38137</c:v>
                </c:pt>
                <c:pt idx="516">
                  <c:v>38138</c:v>
                </c:pt>
                <c:pt idx="517">
                  <c:v>38139</c:v>
                </c:pt>
                <c:pt idx="518">
                  <c:v>38140</c:v>
                </c:pt>
                <c:pt idx="519">
                  <c:v>38141</c:v>
                </c:pt>
                <c:pt idx="520">
                  <c:v>38142</c:v>
                </c:pt>
                <c:pt idx="521">
                  <c:v>38143</c:v>
                </c:pt>
                <c:pt idx="522">
                  <c:v>38144</c:v>
                </c:pt>
                <c:pt idx="523">
                  <c:v>38145</c:v>
                </c:pt>
                <c:pt idx="524">
                  <c:v>38146</c:v>
                </c:pt>
                <c:pt idx="525">
                  <c:v>38147</c:v>
                </c:pt>
                <c:pt idx="526">
                  <c:v>38148</c:v>
                </c:pt>
                <c:pt idx="527">
                  <c:v>38149</c:v>
                </c:pt>
                <c:pt idx="528">
                  <c:v>38150</c:v>
                </c:pt>
                <c:pt idx="529">
                  <c:v>38151</c:v>
                </c:pt>
                <c:pt idx="530">
                  <c:v>38152</c:v>
                </c:pt>
                <c:pt idx="531">
                  <c:v>38153</c:v>
                </c:pt>
                <c:pt idx="532">
                  <c:v>38154</c:v>
                </c:pt>
                <c:pt idx="533">
                  <c:v>38155</c:v>
                </c:pt>
                <c:pt idx="534">
                  <c:v>38156</c:v>
                </c:pt>
                <c:pt idx="535">
                  <c:v>38157</c:v>
                </c:pt>
                <c:pt idx="536">
                  <c:v>38158</c:v>
                </c:pt>
                <c:pt idx="537">
                  <c:v>38159</c:v>
                </c:pt>
                <c:pt idx="538">
                  <c:v>38160</c:v>
                </c:pt>
                <c:pt idx="539">
                  <c:v>38161</c:v>
                </c:pt>
                <c:pt idx="540">
                  <c:v>38162</c:v>
                </c:pt>
                <c:pt idx="541">
                  <c:v>38163</c:v>
                </c:pt>
                <c:pt idx="542">
                  <c:v>38164</c:v>
                </c:pt>
                <c:pt idx="543">
                  <c:v>38165</c:v>
                </c:pt>
                <c:pt idx="544">
                  <c:v>38166</c:v>
                </c:pt>
                <c:pt idx="545">
                  <c:v>38167</c:v>
                </c:pt>
                <c:pt idx="546">
                  <c:v>38168</c:v>
                </c:pt>
                <c:pt idx="547">
                  <c:v>38169</c:v>
                </c:pt>
                <c:pt idx="548">
                  <c:v>38170</c:v>
                </c:pt>
                <c:pt idx="549">
                  <c:v>38171</c:v>
                </c:pt>
                <c:pt idx="550">
                  <c:v>38172</c:v>
                </c:pt>
                <c:pt idx="551">
                  <c:v>38173</c:v>
                </c:pt>
                <c:pt idx="552">
                  <c:v>38174</c:v>
                </c:pt>
                <c:pt idx="553">
                  <c:v>38175</c:v>
                </c:pt>
                <c:pt idx="554">
                  <c:v>38176</c:v>
                </c:pt>
                <c:pt idx="555">
                  <c:v>38177</c:v>
                </c:pt>
                <c:pt idx="556">
                  <c:v>38178</c:v>
                </c:pt>
                <c:pt idx="557">
                  <c:v>38179</c:v>
                </c:pt>
                <c:pt idx="558">
                  <c:v>38180</c:v>
                </c:pt>
                <c:pt idx="559">
                  <c:v>38181</c:v>
                </c:pt>
                <c:pt idx="560">
                  <c:v>38182</c:v>
                </c:pt>
                <c:pt idx="561">
                  <c:v>38183</c:v>
                </c:pt>
                <c:pt idx="562">
                  <c:v>38184</c:v>
                </c:pt>
                <c:pt idx="563">
                  <c:v>38185</c:v>
                </c:pt>
                <c:pt idx="564">
                  <c:v>38186</c:v>
                </c:pt>
                <c:pt idx="565">
                  <c:v>38187</c:v>
                </c:pt>
                <c:pt idx="566">
                  <c:v>38188</c:v>
                </c:pt>
                <c:pt idx="567">
                  <c:v>38189</c:v>
                </c:pt>
                <c:pt idx="568">
                  <c:v>38190</c:v>
                </c:pt>
                <c:pt idx="569">
                  <c:v>38191</c:v>
                </c:pt>
                <c:pt idx="570">
                  <c:v>38192</c:v>
                </c:pt>
                <c:pt idx="571">
                  <c:v>38193</c:v>
                </c:pt>
                <c:pt idx="572">
                  <c:v>38194</c:v>
                </c:pt>
                <c:pt idx="573">
                  <c:v>38195</c:v>
                </c:pt>
                <c:pt idx="574">
                  <c:v>38196</c:v>
                </c:pt>
                <c:pt idx="575">
                  <c:v>38197</c:v>
                </c:pt>
                <c:pt idx="576">
                  <c:v>38198</c:v>
                </c:pt>
                <c:pt idx="577">
                  <c:v>38199</c:v>
                </c:pt>
                <c:pt idx="578">
                  <c:v>38200</c:v>
                </c:pt>
                <c:pt idx="579">
                  <c:v>38201</c:v>
                </c:pt>
                <c:pt idx="580">
                  <c:v>38202</c:v>
                </c:pt>
                <c:pt idx="581">
                  <c:v>38203</c:v>
                </c:pt>
                <c:pt idx="582">
                  <c:v>38204</c:v>
                </c:pt>
                <c:pt idx="583">
                  <c:v>38205</c:v>
                </c:pt>
                <c:pt idx="584">
                  <c:v>38206</c:v>
                </c:pt>
                <c:pt idx="585">
                  <c:v>38207</c:v>
                </c:pt>
                <c:pt idx="586">
                  <c:v>38208</c:v>
                </c:pt>
                <c:pt idx="587">
                  <c:v>38209</c:v>
                </c:pt>
                <c:pt idx="588">
                  <c:v>38210</c:v>
                </c:pt>
                <c:pt idx="589">
                  <c:v>38211</c:v>
                </c:pt>
                <c:pt idx="590">
                  <c:v>38212</c:v>
                </c:pt>
                <c:pt idx="591">
                  <c:v>38213</c:v>
                </c:pt>
                <c:pt idx="592">
                  <c:v>38214</c:v>
                </c:pt>
                <c:pt idx="593">
                  <c:v>38215</c:v>
                </c:pt>
                <c:pt idx="594">
                  <c:v>38216</c:v>
                </c:pt>
                <c:pt idx="595">
                  <c:v>38217</c:v>
                </c:pt>
                <c:pt idx="596">
                  <c:v>38218</c:v>
                </c:pt>
                <c:pt idx="597">
                  <c:v>38219</c:v>
                </c:pt>
                <c:pt idx="598">
                  <c:v>38220</c:v>
                </c:pt>
                <c:pt idx="599">
                  <c:v>38221</c:v>
                </c:pt>
                <c:pt idx="600">
                  <c:v>38222</c:v>
                </c:pt>
                <c:pt idx="601">
                  <c:v>38223</c:v>
                </c:pt>
                <c:pt idx="602">
                  <c:v>38224</c:v>
                </c:pt>
                <c:pt idx="603">
                  <c:v>38225</c:v>
                </c:pt>
                <c:pt idx="604">
                  <c:v>38226</c:v>
                </c:pt>
                <c:pt idx="605">
                  <c:v>38227</c:v>
                </c:pt>
                <c:pt idx="606">
                  <c:v>38228</c:v>
                </c:pt>
                <c:pt idx="607">
                  <c:v>38229</c:v>
                </c:pt>
                <c:pt idx="608">
                  <c:v>38230</c:v>
                </c:pt>
                <c:pt idx="609">
                  <c:v>38231</c:v>
                </c:pt>
                <c:pt idx="610">
                  <c:v>38232</c:v>
                </c:pt>
                <c:pt idx="611">
                  <c:v>38233</c:v>
                </c:pt>
                <c:pt idx="612">
                  <c:v>38234</c:v>
                </c:pt>
                <c:pt idx="613">
                  <c:v>38235</c:v>
                </c:pt>
                <c:pt idx="614">
                  <c:v>38236</c:v>
                </c:pt>
                <c:pt idx="615">
                  <c:v>38237</c:v>
                </c:pt>
                <c:pt idx="616">
                  <c:v>38238</c:v>
                </c:pt>
                <c:pt idx="617">
                  <c:v>38239</c:v>
                </c:pt>
                <c:pt idx="618">
                  <c:v>38240</c:v>
                </c:pt>
                <c:pt idx="619">
                  <c:v>38241</c:v>
                </c:pt>
                <c:pt idx="620">
                  <c:v>38242</c:v>
                </c:pt>
                <c:pt idx="621">
                  <c:v>38243</c:v>
                </c:pt>
                <c:pt idx="622">
                  <c:v>38244</c:v>
                </c:pt>
                <c:pt idx="623">
                  <c:v>38245</c:v>
                </c:pt>
                <c:pt idx="624">
                  <c:v>38246</c:v>
                </c:pt>
                <c:pt idx="625">
                  <c:v>38247</c:v>
                </c:pt>
                <c:pt idx="626">
                  <c:v>38248</c:v>
                </c:pt>
                <c:pt idx="627">
                  <c:v>38249</c:v>
                </c:pt>
                <c:pt idx="628">
                  <c:v>38250</c:v>
                </c:pt>
                <c:pt idx="629">
                  <c:v>38251</c:v>
                </c:pt>
                <c:pt idx="630">
                  <c:v>38252</c:v>
                </c:pt>
                <c:pt idx="631">
                  <c:v>38253</c:v>
                </c:pt>
                <c:pt idx="632">
                  <c:v>38254</c:v>
                </c:pt>
                <c:pt idx="633">
                  <c:v>38255</c:v>
                </c:pt>
                <c:pt idx="634">
                  <c:v>38256</c:v>
                </c:pt>
                <c:pt idx="635">
                  <c:v>38257</c:v>
                </c:pt>
                <c:pt idx="636">
                  <c:v>38258</c:v>
                </c:pt>
                <c:pt idx="637">
                  <c:v>38259</c:v>
                </c:pt>
                <c:pt idx="638">
                  <c:v>38260</c:v>
                </c:pt>
                <c:pt idx="639">
                  <c:v>38261</c:v>
                </c:pt>
                <c:pt idx="640">
                  <c:v>38262</c:v>
                </c:pt>
                <c:pt idx="641">
                  <c:v>38263</c:v>
                </c:pt>
                <c:pt idx="642">
                  <c:v>38264</c:v>
                </c:pt>
                <c:pt idx="643">
                  <c:v>38265</c:v>
                </c:pt>
                <c:pt idx="644">
                  <c:v>38266</c:v>
                </c:pt>
                <c:pt idx="645">
                  <c:v>38267</c:v>
                </c:pt>
                <c:pt idx="646">
                  <c:v>38268</c:v>
                </c:pt>
                <c:pt idx="647">
                  <c:v>38269</c:v>
                </c:pt>
                <c:pt idx="648">
                  <c:v>38270</c:v>
                </c:pt>
                <c:pt idx="649">
                  <c:v>38271</c:v>
                </c:pt>
                <c:pt idx="650">
                  <c:v>38272</c:v>
                </c:pt>
                <c:pt idx="651">
                  <c:v>38273</c:v>
                </c:pt>
                <c:pt idx="652">
                  <c:v>38274</c:v>
                </c:pt>
                <c:pt idx="653">
                  <c:v>38275</c:v>
                </c:pt>
                <c:pt idx="654">
                  <c:v>38276</c:v>
                </c:pt>
                <c:pt idx="655">
                  <c:v>38277</c:v>
                </c:pt>
                <c:pt idx="656">
                  <c:v>38278</c:v>
                </c:pt>
                <c:pt idx="657">
                  <c:v>38279</c:v>
                </c:pt>
                <c:pt idx="658">
                  <c:v>38280</c:v>
                </c:pt>
                <c:pt idx="659">
                  <c:v>38281</c:v>
                </c:pt>
                <c:pt idx="660">
                  <c:v>38282</c:v>
                </c:pt>
                <c:pt idx="661">
                  <c:v>38283</c:v>
                </c:pt>
                <c:pt idx="662">
                  <c:v>38284</c:v>
                </c:pt>
                <c:pt idx="663">
                  <c:v>38285</c:v>
                </c:pt>
                <c:pt idx="664">
                  <c:v>38286</c:v>
                </c:pt>
                <c:pt idx="665">
                  <c:v>38287</c:v>
                </c:pt>
                <c:pt idx="666">
                  <c:v>38288</c:v>
                </c:pt>
                <c:pt idx="667">
                  <c:v>38289</c:v>
                </c:pt>
                <c:pt idx="668">
                  <c:v>38290</c:v>
                </c:pt>
                <c:pt idx="669">
                  <c:v>38291</c:v>
                </c:pt>
                <c:pt idx="670">
                  <c:v>38292</c:v>
                </c:pt>
                <c:pt idx="671">
                  <c:v>38293</c:v>
                </c:pt>
                <c:pt idx="672">
                  <c:v>38294</c:v>
                </c:pt>
                <c:pt idx="673">
                  <c:v>38295</c:v>
                </c:pt>
                <c:pt idx="674">
                  <c:v>38296</c:v>
                </c:pt>
                <c:pt idx="675">
                  <c:v>38297</c:v>
                </c:pt>
                <c:pt idx="676">
                  <c:v>38298</c:v>
                </c:pt>
                <c:pt idx="677">
                  <c:v>38299</c:v>
                </c:pt>
                <c:pt idx="678">
                  <c:v>38300</c:v>
                </c:pt>
                <c:pt idx="679">
                  <c:v>38301</c:v>
                </c:pt>
                <c:pt idx="680">
                  <c:v>38302</c:v>
                </c:pt>
                <c:pt idx="681">
                  <c:v>38303</c:v>
                </c:pt>
                <c:pt idx="682">
                  <c:v>38304</c:v>
                </c:pt>
                <c:pt idx="683">
                  <c:v>38305</c:v>
                </c:pt>
                <c:pt idx="684">
                  <c:v>38306</c:v>
                </c:pt>
                <c:pt idx="685">
                  <c:v>38307</c:v>
                </c:pt>
                <c:pt idx="686">
                  <c:v>38308</c:v>
                </c:pt>
                <c:pt idx="687">
                  <c:v>38309</c:v>
                </c:pt>
                <c:pt idx="688">
                  <c:v>38310</c:v>
                </c:pt>
                <c:pt idx="689">
                  <c:v>38311</c:v>
                </c:pt>
                <c:pt idx="690">
                  <c:v>38312</c:v>
                </c:pt>
                <c:pt idx="691">
                  <c:v>38313</c:v>
                </c:pt>
                <c:pt idx="692">
                  <c:v>38314</c:v>
                </c:pt>
                <c:pt idx="693">
                  <c:v>38315</c:v>
                </c:pt>
                <c:pt idx="694">
                  <c:v>38316</c:v>
                </c:pt>
                <c:pt idx="695">
                  <c:v>38317</c:v>
                </c:pt>
                <c:pt idx="696">
                  <c:v>38318</c:v>
                </c:pt>
                <c:pt idx="697">
                  <c:v>38319</c:v>
                </c:pt>
                <c:pt idx="698">
                  <c:v>38320</c:v>
                </c:pt>
                <c:pt idx="699">
                  <c:v>38321</c:v>
                </c:pt>
                <c:pt idx="700">
                  <c:v>38322</c:v>
                </c:pt>
                <c:pt idx="701">
                  <c:v>38323</c:v>
                </c:pt>
                <c:pt idx="702">
                  <c:v>38324</c:v>
                </c:pt>
                <c:pt idx="703">
                  <c:v>38325</c:v>
                </c:pt>
                <c:pt idx="704">
                  <c:v>38326</c:v>
                </c:pt>
                <c:pt idx="705">
                  <c:v>38327</c:v>
                </c:pt>
                <c:pt idx="706">
                  <c:v>38328</c:v>
                </c:pt>
                <c:pt idx="707">
                  <c:v>38329</c:v>
                </c:pt>
                <c:pt idx="708">
                  <c:v>38330</c:v>
                </c:pt>
                <c:pt idx="709">
                  <c:v>38331</c:v>
                </c:pt>
                <c:pt idx="710">
                  <c:v>38332</c:v>
                </c:pt>
                <c:pt idx="711">
                  <c:v>38333</c:v>
                </c:pt>
                <c:pt idx="712">
                  <c:v>38334</c:v>
                </c:pt>
                <c:pt idx="713">
                  <c:v>38335</c:v>
                </c:pt>
                <c:pt idx="714">
                  <c:v>38336</c:v>
                </c:pt>
                <c:pt idx="715">
                  <c:v>38337</c:v>
                </c:pt>
                <c:pt idx="716">
                  <c:v>38338</c:v>
                </c:pt>
                <c:pt idx="717">
                  <c:v>38339</c:v>
                </c:pt>
                <c:pt idx="718">
                  <c:v>38340</c:v>
                </c:pt>
                <c:pt idx="719">
                  <c:v>38341</c:v>
                </c:pt>
                <c:pt idx="720">
                  <c:v>38342</c:v>
                </c:pt>
                <c:pt idx="721">
                  <c:v>38343</c:v>
                </c:pt>
                <c:pt idx="722">
                  <c:v>38344</c:v>
                </c:pt>
                <c:pt idx="723">
                  <c:v>38345</c:v>
                </c:pt>
                <c:pt idx="724">
                  <c:v>38346</c:v>
                </c:pt>
                <c:pt idx="725">
                  <c:v>38347</c:v>
                </c:pt>
                <c:pt idx="726">
                  <c:v>38348</c:v>
                </c:pt>
                <c:pt idx="727">
                  <c:v>38349</c:v>
                </c:pt>
                <c:pt idx="728">
                  <c:v>38350</c:v>
                </c:pt>
                <c:pt idx="729">
                  <c:v>38351</c:v>
                </c:pt>
                <c:pt idx="730">
                  <c:v>38352</c:v>
                </c:pt>
                <c:pt idx="731">
                  <c:v>38353</c:v>
                </c:pt>
                <c:pt idx="732">
                  <c:v>38354</c:v>
                </c:pt>
                <c:pt idx="733">
                  <c:v>38355</c:v>
                </c:pt>
                <c:pt idx="734">
                  <c:v>38356</c:v>
                </c:pt>
                <c:pt idx="735">
                  <c:v>38357</c:v>
                </c:pt>
                <c:pt idx="736">
                  <c:v>38358</c:v>
                </c:pt>
                <c:pt idx="737">
                  <c:v>38359</c:v>
                </c:pt>
                <c:pt idx="738">
                  <c:v>38360</c:v>
                </c:pt>
                <c:pt idx="739">
                  <c:v>38361</c:v>
                </c:pt>
                <c:pt idx="740">
                  <c:v>38362</c:v>
                </c:pt>
                <c:pt idx="741">
                  <c:v>38363</c:v>
                </c:pt>
                <c:pt idx="742">
                  <c:v>38364</c:v>
                </c:pt>
                <c:pt idx="743">
                  <c:v>38365</c:v>
                </c:pt>
                <c:pt idx="744">
                  <c:v>38366</c:v>
                </c:pt>
                <c:pt idx="745">
                  <c:v>38367</c:v>
                </c:pt>
                <c:pt idx="746">
                  <c:v>38368</c:v>
                </c:pt>
                <c:pt idx="747">
                  <c:v>38369</c:v>
                </c:pt>
                <c:pt idx="748">
                  <c:v>38370</c:v>
                </c:pt>
                <c:pt idx="749">
                  <c:v>38371</c:v>
                </c:pt>
                <c:pt idx="750">
                  <c:v>38372</c:v>
                </c:pt>
                <c:pt idx="751">
                  <c:v>38373</c:v>
                </c:pt>
                <c:pt idx="752">
                  <c:v>38374</c:v>
                </c:pt>
                <c:pt idx="753">
                  <c:v>38375</c:v>
                </c:pt>
                <c:pt idx="754">
                  <c:v>38376</c:v>
                </c:pt>
                <c:pt idx="755">
                  <c:v>38377</c:v>
                </c:pt>
                <c:pt idx="756">
                  <c:v>38378</c:v>
                </c:pt>
                <c:pt idx="757">
                  <c:v>38379</c:v>
                </c:pt>
                <c:pt idx="758">
                  <c:v>38380</c:v>
                </c:pt>
                <c:pt idx="759">
                  <c:v>38381</c:v>
                </c:pt>
                <c:pt idx="760">
                  <c:v>38382</c:v>
                </c:pt>
                <c:pt idx="761">
                  <c:v>38383</c:v>
                </c:pt>
                <c:pt idx="762">
                  <c:v>38384</c:v>
                </c:pt>
                <c:pt idx="763">
                  <c:v>38385</c:v>
                </c:pt>
                <c:pt idx="764">
                  <c:v>38386</c:v>
                </c:pt>
                <c:pt idx="765">
                  <c:v>38387</c:v>
                </c:pt>
                <c:pt idx="766">
                  <c:v>38388</c:v>
                </c:pt>
                <c:pt idx="767">
                  <c:v>38389</c:v>
                </c:pt>
                <c:pt idx="768">
                  <c:v>38390</c:v>
                </c:pt>
                <c:pt idx="769">
                  <c:v>38391</c:v>
                </c:pt>
                <c:pt idx="770">
                  <c:v>38392</c:v>
                </c:pt>
                <c:pt idx="771">
                  <c:v>38393</c:v>
                </c:pt>
                <c:pt idx="772">
                  <c:v>38394</c:v>
                </c:pt>
                <c:pt idx="773">
                  <c:v>38395</c:v>
                </c:pt>
                <c:pt idx="774">
                  <c:v>38396</c:v>
                </c:pt>
                <c:pt idx="775">
                  <c:v>38397</c:v>
                </c:pt>
                <c:pt idx="776">
                  <c:v>38398</c:v>
                </c:pt>
                <c:pt idx="777">
                  <c:v>38399</c:v>
                </c:pt>
                <c:pt idx="778">
                  <c:v>38400</c:v>
                </c:pt>
                <c:pt idx="779">
                  <c:v>38401</c:v>
                </c:pt>
                <c:pt idx="780">
                  <c:v>38402</c:v>
                </c:pt>
                <c:pt idx="781">
                  <c:v>38403</c:v>
                </c:pt>
                <c:pt idx="782">
                  <c:v>38404</c:v>
                </c:pt>
                <c:pt idx="783">
                  <c:v>38405</c:v>
                </c:pt>
                <c:pt idx="784">
                  <c:v>38406</c:v>
                </c:pt>
                <c:pt idx="785">
                  <c:v>38407</c:v>
                </c:pt>
                <c:pt idx="786">
                  <c:v>38408</c:v>
                </c:pt>
                <c:pt idx="787">
                  <c:v>38409</c:v>
                </c:pt>
                <c:pt idx="788">
                  <c:v>38410</c:v>
                </c:pt>
                <c:pt idx="789">
                  <c:v>38411</c:v>
                </c:pt>
                <c:pt idx="790">
                  <c:v>38412</c:v>
                </c:pt>
                <c:pt idx="791">
                  <c:v>38413</c:v>
                </c:pt>
                <c:pt idx="792">
                  <c:v>38414</c:v>
                </c:pt>
                <c:pt idx="793">
                  <c:v>38415</c:v>
                </c:pt>
                <c:pt idx="794">
                  <c:v>38416</c:v>
                </c:pt>
                <c:pt idx="795">
                  <c:v>38417</c:v>
                </c:pt>
                <c:pt idx="796">
                  <c:v>38418</c:v>
                </c:pt>
                <c:pt idx="797">
                  <c:v>38419</c:v>
                </c:pt>
                <c:pt idx="798">
                  <c:v>38420</c:v>
                </c:pt>
                <c:pt idx="799">
                  <c:v>38421</c:v>
                </c:pt>
                <c:pt idx="800">
                  <c:v>38422</c:v>
                </c:pt>
                <c:pt idx="801">
                  <c:v>38423</c:v>
                </c:pt>
                <c:pt idx="802">
                  <c:v>38424</c:v>
                </c:pt>
                <c:pt idx="803">
                  <c:v>38425</c:v>
                </c:pt>
                <c:pt idx="804">
                  <c:v>38426</c:v>
                </c:pt>
                <c:pt idx="805">
                  <c:v>38427</c:v>
                </c:pt>
                <c:pt idx="806">
                  <c:v>38428</c:v>
                </c:pt>
                <c:pt idx="807">
                  <c:v>38429</c:v>
                </c:pt>
                <c:pt idx="808">
                  <c:v>38430</c:v>
                </c:pt>
                <c:pt idx="809">
                  <c:v>38431</c:v>
                </c:pt>
                <c:pt idx="810">
                  <c:v>38432</c:v>
                </c:pt>
                <c:pt idx="811">
                  <c:v>38433</c:v>
                </c:pt>
                <c:pt idx="812">
                  <c:v>38434</c:v>
                </c:pt>
                <c:pt idx="813">
                  <c:v>38435</c:v>
                </c:pt>
                <c:pt idx="814">
                  <c:v>38436</c:v>
                </c:pt>
                <c:pt idx="815">
                  <c:v>38437</c:v>
                </c:pt>
                <c:pt idx="816">
                  <c:v>38438</c:v>
                </c:pt>
                <c:pt idx="817">
                  <c:v>38439</c:v>
                </c:pt>
                <c:pt idx="818">
                  <c:v>38440</c:v>
                </c:pt>
                <c:pt idx="819">
                  <c:v>38441</c:v>
                </c:pt>
                <c:pt idx="820">
                  <c:v>38442</c:v>
                </c:pt>
                <c:pt idx="821">
                  <c:v>38443</c:v>
                </c:pt>
                <c:pt idx="822">
                  <c:v>38444</c:v>
                </c:pt>
                <c:pt idx="823">
                  <c:v>38445</c:v>
                </c:pt>
                <c:pt idx="824">
                  <c:v>38446</c:v>
                </c:pt>
                <c:pt idx="825">
                  <c:v>38447</c:v>
                </c:pt>
                <c:pt idx="826">
                  <c:v>38448</c:v>
                </c:pt>
                <c:pt idx="827">
                  <c:v>38449</c:v>
                </c:pt>
                <c:pt idx="828">
                  <c:v>38450</c:v>
                </c:pt>
                <c:pt idx="829">
                  <c:v>38451</c:v>
                </c:pt>
                <c:pt idx="830">
                  <c:v>38452</c:v>
                </c:pt>
                <c:pt idx="831">
                  <c:v>38453</c:v>
                </c:pt>
                <c:pt idx="832">
                  <c:v>38454</c:v>
                </c:pt>
                <c:pt idx="833">
                  <c:v>38455</c:v>
                </c:pt>
                <c:pt idx="834">
                  <c:v>38456</c:v>
                </c:pt>
                <c:pt idx="835">
                  <c:v>38457</c:v>
                </c:pt>
                <c:pt idx="836">
                  <c:v>38458</c:v>
                </c:pt>
                <c:pt idx="837">
                  <c:v>38459</c:v>
                </c:pt>
                <c:pt idx="838">
                  <c:v>38460</c:v>
                </c:pt>
                <c:pt idx="839">
                  <c:v>38461</c:v>
                </c:pt>
                <c:pt idx="840">
                  <c:v>38462</c:v>
                </c:pt>
                <c:pt idx="841">
                  <c:v>38463</c:v>
                </c:pt>
                <c:pt idx="842">
                  <c:v>38464</c:v>
                </c:pt>
                <c:pt idx="843">
                  <c:v>38465</c:v>
                </c:pt>
                <c:pt idx="844">
                  <c:v>38466</c:v>
                </c:pt>
                <c:pt idx="845">
                  <c:v>38467</c:v>
                </c:pt>
                <c:pt idx="846">
                  <c:v>38468</c:v>
                </c:pt>
                <c:pt idx="847">
                  <c:v>38469</c:v>
                </c:pt>
                <c:pt idx="848">
                  <c:v>38470</c:v>
                </c:pt>
                <c:pt idx="849">
                  <c:v>38471</c:v>
                </c:pt>
                <c:pt idx="850">
                  <c:v>38472</c:v>
                </c:pt>
                <c:pt idx="851">
                  <c:v>38473</c:v>
                </c:pt>
                <c:pt idx="852">
                  <c:v>38474</c:v>
                </c:pt>
                <c:pt idx="853">
                  <c:v>38475</c:v>
                </c:pt>
                <c:pt idx="854">
                  <c:v>38476</c:v>
                </c:pt>
                <c:pt idx="855">
                  <c:v>38477</c:v>
                </c:pt>
                <c:pt idx="856">
                  <c:v>38478</c:v>
                </c:pt>
                <c:pt idx="857">
                  <c:v>38479</c:v>
                </c:pt>
                <c:pt idx="858">
                  <c:v>38480</c:v>
                </c:pt>
                <c:pt idx="859">
                  <c:v>38481</c:v>
                </c:pt>
                <c:pt idx="860">
                  <c:v>38482</c:v>
                </c:pt>
                <c:pt idx="861">
                  <c:v>38483</c:v>
                </c:pt>
                <c:pt idx="862">
                  <c:v>38484</c:v>
                </c:pt>
                <c:pt idx="863">
                  <c:v>38485</c:v>
                </c:pt>
                <c:pt idx="864">
                  <c:v>38486</c:v>
                </c:pt>
                <c:pt idx="865">
                  <c:v>38487</c:v>
                </c:pt>
                <c:pt idx="866">
                  <c:v>38488</c:v>
                </c:pt>
                <c:pt idx="867">
                  <c:v>38489</c:v>
                </c:pt>
                <c:pt idx="868">
                  <c:v>38490</c:v>
                </c:pt>
                <c:pt idx="869">
                  <c:v>38491</c:v>
                </c:pt>
                <c:pt idx="870">
                  <c:v>38492</c:v>
                </c:pt>
                <c:pt idx="871">
                  <c:v>38493</c:v>
                </c:pt>
                <c:pt idx="872">
                  <c:v>38494</c:v>
                </c:pt>
                <c:pt idx="873">
                  <c:v>38495</c:v>
                </c:pt>
                <c:pt idx="874">
                  <c:v>38496</c:v>
                </c:pt>
                <c:pt idx="875">
                  <c:v>38497</c:v>
                </c:pt>
                <c:pt idx="876">
                  <c:v>38498</c:v>
                </c:pt>
                <c:pt idx="877">
                  <c:v>38499</c:v>
                </c:pt>
                <c:pt idx="878">
                  <c:v>38500</c:v>
                </c:pt>
                <c:pt idx="879">
                  <c:v>38501</c:v>
                </c:pt>
                <c:pt idx="880">
                  <c:v>38502</c:v>
                </c:pt>
                <c:pt idx="881">
                  <c:v>38503</c:v>
                </c:pt>
                <c:pt idx="882">
                  <c:v>38504</c:v>
                </c:pt>
                <c:pt idx="883">
                  <c:v>38505</c:v>
                </c:pt>
                <c:pt idx="884">
                  <c:v>38506</c:v>
                </c:pt>
                <c:pt idx="885">
                  <c:v>38507</c:v>
                </c:pt>
                <c:pt idx="886">
                  <c:v>38508</c:v>
                </c:pt>
                <c:pt idx="887">
                  <c:v>38509</c:v>
                </c:pt>
                <c:pt idx="888">
                  <c:v>38510</c:v>
                </c:pt>
                <c:pt idx="889">
                  <c:v>38511</c:v>
                </c:pt>
                <c:pt idx="890">
                  <c:v>38512</c:v>
                </c:pt>
                <c:pt idx="891">
                  <c:v>38513</c:v>
                </c:pt>
                <c:pt idx="892">
                  <c:v>38514</c:v>
                </c:pt>
                <c:pt idx="893">
                  <c:v>38515</c:v>
                </c:pt>
                <c:pt idx="894">
                  <c:v>38516</c:v>
                </c:pt>
                <c:pt idx="895">
                  <c:v>38517</c:v>
                </c:pt>
                <c:pt idx="896">
                  <c:v>38518</c:v>
                </c:pt>
                <c:pt idx="897">
                  <c:v>38519</c:v>
                </c:pt>
                <c:pt idx="898">
                  <c:v>38520</c:v>
                </c:pt>
                <c:pt idx="899">
                  <c:v>38521</c:v>
                </c:pt>
                <c:pt idx="900">
                  <c:v>38522</c:v>
                </c:pt>
                <c:pt idx="901">
                  <c:v>38523</c:v>
                </c:pt>
                <c:pt idx="902">
                  <c:v>38524</c:v>
                </c:pt>
                <c:pt idx="903">
                  <c:v>38525</c:v>
                </c:pt>
                <c:pt idx="904">
                  <c:v>38526</c:v>
                </c:pt>
                <c:pt idx="905">
                  <c:v>38527</c:v>
                </c:pt>
                <c:pt idx="906">
                  <c:v>38528</c:v>
                </c:pt>
                <c:pt idx="907">
                  <c:v>38529</c:v>
                </c:pt>
                <c:pt idx="908">
                  <c:v>38530</c:v>
                </c:pt>
                <c:pt idx="909">
                  <c:v>38531</c:v>
                </c:pt>
                <c:pt idx="910">
                  <c:v>38532</c:v>
                </c:pt>
                <c:pt idx="911">
                  <c:v>38533</c:v>
                </c:pt>
                <c:pt idx="912">
                  <c:v>38534</c:v>
                </c:pt>
                <c:pt idx="913">
                  <c:v>38535</c:v>
                </c:pt>
                <c:pt idx="914">
                  <c:v>38536</c:v>
                </c:pt>
                <c:pt idx="915">
                  <c:v>38537</c:v>
                </c:pt>
                <c:pt idx="916">
                  <c:v>38538</c:v>
                </c:pt>
                <c:pt idx="917">
                  <c:v>38539</c:v>
                </c:pt>
                <c:pt idx="918">
                  <c:v>38540</c:v>
                </c:pt>
                <c:pt idx="919">
                  <c:v>38541</c:v>
                </c:pt>
                <c:pt idx="920">
                  <c:v>38542</c:v>
                </c:pt>
                <c:pt idx="921">
                  <c:v>38543</c:v>
                </c:pt>
                <c:pt idx="922">
                  <c:v>38544</c:v>
                </c:pt>
                <c:pt idx="923">
                  <c:v>38545</c:v>
                </c:pt>
                <c:pt idx="924">
                  <c:v>38546</c:v>
                </c:pt>
                <c:pt idx="925">
                  <c:v>38547</c:v>
                </c:pt>
                <c:pt idx="926">
                  <c:v>38548</c:v>
                </c:pt>
                <c:pt idx="927">
                  <c:v>38549</c:v>
                </c:pt>
                <c:pt idx="928">
                  <c:v>38550</c:v>
                </c:pt>
                <c:pt idx="929">
                  <c:v>38551</c:v>
                </c:pt>
                <c:pt idx="930">
                  <c:v>38552</c:v>
                </c:pt>
                <c:pt idx="931">
                  <c:v>38553</c:v>
                </c:pt>
                <c:pt idx="932">
                  <c:v>38554</c:v>
                </c:pt>
                <c:pt idx="933">
                  <c:v>38555</c:v>
                </c:pt>
                <c:pt idx="934">
                  <c:v>38556</c:v>
                </c:pt>
                <c:pt idx="935">
                  <c:v>38557</c:v>
                </c:pt>
                <c:pt idx="936">
                  <c:v>38558</c:v>
                </c:pt>
                <c:pt idx="937">
                  <c:v>38559</c:v>
                </c:pt>
                <c:pt idx="938">
                  <c:v>38560</c:v>
                </c:pt>
                <c:pt idx="939">
                  <c:v>38561</c:v>
                </c:pt>
                <c:pt idx="940">
                  <c:v>38562</c:v>
                </c:pt>
                <c:pt idx="941">
                  <c:v>38563</c:v>
                </c:pt>
                <c:pt idx="942">
                  <c:v>38564</c:v>
                </c:pt>
                <c:pt idx="943">
                  <c:v>38565</c:v>
                </c:pt>
                <c:pt idx="944">
                  <c:v>38566</c:v>
                </c:pt>
                <c:pt idx="945">
                  <c:v>38567</c:v>
                </c:pt>
                <c:pt idx="946">
                  <c:v>38568</c:v>
                </c:pt>
                <c:pt idx="947">
                  <c:v>38569</c:v>
                </c:pt>
                <c:pt idx="948">
                  <c:v>38570</c:v>
                </c:pt>
                <c:pt idx="949">
                  <c:v>38571</c:v>
                </c:pt>
                <c:pt idx="950">
                  <c:v>38572</c:v>
                </c:pt>
                <c:pt idx="951">
                  <c:v>38573</c:v>
                </c:pt>
                <c:pt idx="952">
                  <c:v>38574</c:v>
                </c:pt>
                <c:pt idx="953">
                  <c:v>38575</c:v>
                </c:pt>
                <c:pt idx="954">
                  <c:v>38576</c:v>
                </c:pt>
                <c:pt idx="955">
                  <c:v>38577</c:v>
                </c:pt>
                <c:pt idx="956">
                  <c:v>38578</c:v>
                </c:pt>
                <c:pt idx="957">
                  <c:v>38579</c:v>
                </c:pt>
                <c:pt idx="958">
                  <c:v>38580</c:v>
                </c:pt>
                <c:pt idx="959">
                  <c:v>38581</c:v>
                </c:pt>
                <c:pt idx="960">
                  <c:v>38582</c:v>
                </c:pt>
                <c:pt idx="961">
                  <c:v>38583</c:v>
                </c:pt>
                <c:pt idx="962">
                  <c:v>38584</c:v>
                </c:pt>
                <c:pt idx="963">
                  <c:v>38585</c:v>
                </c:pt>
                <c:pt idx="964">
                  <c:v>38586</c:v>
                </c:pt>
                <c:pt idx="965">
                  <c:v>38587</c:v>
                </c:pt>
                <c:pt idx="966">
                  <c:v>38588</c:v>
                </c:pt>
                <c:pt idx="967">
                  <c:v>38589</c:v>
                </c:pt>
                <c:pt idx="968">
                  <c:v>38590</c:v>
                </c:pt>
                <c:pt idx="969">
                  <c:v>38591</c:v>
                </c:pt>
                <c:pt idx="970">
                  <c:v>38592</c:v>
                </c:pt>
                <c:pt idx="971">
                  <c:v>38593</c:v>
                </c:pt>
                <c:pt idx="972">
                  <c:v>38594</c:v>
                </c:pt>
                <c:pt idx="973">
                  <c:v>38595</c:v>
                </c:pt>
                <c:pt idx="974">
                  <c:v>38596</c:v>
                </c:pt>
                <c:pt idx="975">
                  <c:v>38597</c:v>
                </c:pt>
                <c:pt idx="976">
                  <c:v>38598</c:v>
                </c:pt>
                <c:pt idx="977">
                  <c:v>38599</c:v>
                </c:pt>
                <c:pt idx="978">
                  <c:v>38600</c:v>
                </c:pt>
                <c:pt idx="979">
                  <c:v>38601</c:v>
                </c:pt>
                <c:pt idx="980">
                  <c:v>38602</c:v>
                </c:pt>
                <c:pt idx="981">
                  <c:v>38603</c:v>
                </c:pt>
                <c:pt idx="982">
                  <c:v>38604</c:v>
                </c:pt>
                <c:pt idx="983">
                  <c:v>38605</c:v>
                </c:pt>
                <c:pt idx="984">
                  <c:v>38606</c:v>
                </c:pt>
                <c:pt idx="985">
                  <c:v>38607</c:v>
                </c:pt>
                <c:pt idx="986">
                  <c:v>38608</c:v>
                </c:pt>
                <c:pt idx="987">
                  <c:v>38609</c:v>
                </c:pt>
                <c:pt idx="988">
                  <c:v>38610</c:v>
                </c:pt>
                <c:pt idx="989">
                  <c:v>38611</c:v>
                </c:pt>
                <c:pt idx="990">
                  <c:v>38612</c:v>
                </c:pt>
                <c:pt idx="991">
                  <c:v>38613</c:v>
                </c:pt>
                <c:pt idx="992">
                  <c:v>38614</c:v>
                </c:pt>
                <c:pt idx="993">
                  <c:v>38615</c:v>
                </c:pt>
                <c:pt idx="994">
                  <c:v>38616</c:v>
                </c:pt>
                <c:pt idx="995">
                  <c:v>38617</c:v>
                </c:pt>
                <c:pt idx="996">
                  <c:v>38618</c:v>
                </c:pt>
                <c:pt idx="997">
                  <c:v>38619</c:v>
                </c:pt>
                <c:pt idx="998">
                  <c:v>38620</c:v>
                </c:pt>
                <c:pt idx="999">
                  <c:v>38621</c:v>
                </c:pt>
                <c:pt idx="1000">
                  <c:v>38622</c:v>
                </c:pt>
                <c:pt idx="1001">
                  <c:v>38623</c:v>
                </c:pt>
                <c:pt idx="1002">
                  <c:v>38624</c:v>
                </c:pt>
                <c:pt idx="1003">
                  <c:v>38625</c:v>
                </c:pt>
                <c:pt idx="1004">
                  <c:v>38626</c:v>
                </c:pt>
                <c:pt idx="1005">
                  <c:v>38627</c:v>
                </c:pt>
                <c:pt idx="1006">
                  <c:v>38628</c:v>
                </c:pt>
                <c:pt idx="1007">
                  <c:v>38629</c:v>
                </c:pt>
                <c:pt idx="1008">
                  <c:v>38630</c:v>
                </c:pt>
                <c:pt idx="1009">
                  <c:v>38631</c:v>
                </c:pt>
                <c:pt idx="1010">
                  <c:v>38632</c:v>
                </c:pt>
                <c:pt idx="1011">
                  <c:v>38633</c:v>
                </c:pt>
                <c:pt idx="1012">
                  <c:v>38634</c:v>
                </c:pt>
                <c:pt idx="1013">
                  <c:v>38635</c:v>
                </c:pt>
                <c:pt idx="1014">
                  <c:v>38636</c:v>
                </c:pt>
                <c:pt idx="1015">
                  <c:v>38637</c:v>
                </c:pt>
                <c:pt idx="1016">
                  <c:v>38638</c:v>
                </c:pt>
                <c:pt idx="1017">
                  <c:v>38639</c:v>
                </c:pt>
                <c:pt idx="1018">
                  <c:v>38640</c:v>
                </c:pt>
                <c:pt idx="1019">
                  <c:v>38641</c:v>
                </c:pt>
                <c:pt idx="1020">
                  <c:v>38642</c:v>
                </c:pt>
                <c:pt idx="1021">
                  <c:v>38643</c:v>
                </c:pt>
                <c:pt idx="1022">
                  <c:v>38644</c:v>
                </c:pt>
                <c:pt idx="1023">
                  <c:v>38645</c:v>
                </c:pt>
                <c:pt idx="1024">
                  <c:v>38646</c:v>
                </c:pt>
                <c:pt idx="1025">
                  <c:v>38647</c:v>
                </c:pt>
                <c:pt idx="1026">
                  <c:v>38648</c:v>
                </c:pt>
                <c:pt idx="1027">
                  <c:v>38649</c:v>
                </c:pt>
                <c:pt idx="1028">
                  <c:v>38650</c:v>
                </c:pt>
                <c:pt idx="1029">
                  <c:v>38651</c:v>
                </c:pt>
                <c:pt idx="1030">
                  <c:v>38652</c:v>
                </c:pt>
                <c:pt idx="1031">
                  <c:v>38653</c:v>
                </c:pt>
                <c:pt idx="1032">
                  <c:v>38654</c:v>
                </c:pt>
                <c:pt idx="1033">
                  <c:v>38655</c:v>
                </c:pt>
                <c:pt idx="1034">
                  <c:v>38656</c:v>
                </c:pt>
                <c:pt idx="1035">
                  <c:v>38657</c:v>
                </c:pt>
                <c:pt idx="1036">
                  <c:v>38658</c:v>
                </c:pt>
                <c:pt idx="1037">
                  <c:v>38659</c:v>
                </c:pt>
                <c:pt idx="1038">
                  <c:v>38660</c:v>
                </c:pt>
                <c:pt idx="1039">
                  <c:v>38661</c:v>
                </c:pt>
                <c:pt idx="1040">
                  <c:v>38662</c:v>
                </c:pt>
                <c:pt idx="1041">
                  <c:v>38663</c:v>
                </c:pt>
                <c:pt idx="1042">
                  <c:v>38664</c:v>
                </c:pt>
                <c:pt idx="1043">
                  <c:v>38665</c:v>
                </c:pt>
                <c:pt idx="1044">
                  <c:v>38666</c:v>
                </c:pt>
                <c:pt idx="1045">
                  <c:v>38667</c:v>
                </c:pt>
                <c:pt idx="1046">
                  <c:v>38668</c:v>
                </c:pt>
                <c:pt idx="1047">
                  <c:v>38669</c:v>
                </c:pt>
                <c:pt idx="1048">
                  <c:v>38670</c:v>
                </c:pt>
                <c:pt idx="1049">
                  <c:v>38671</c:v>
                </c:pt>
                <c:pt idx="1050">
                  <c:v>38672</c:v>
                </c:pt>
                <c:pt idx="1051">
                  <c:v>38673</c:v>
                </c:pt>
                <c:pt idx="1052">
                  <c:v>38674</c:v>
                </c:pt>
                <c:pt idx="1053">
                  <c:v>38675</c:v>
                </c:pt>
                <c:pt idx="1054">
                  <c:v>38676</c:v>
                </c:pt>
                <c:pt idx="1055">
                  <c:v>38677</c:v>
                </c:pt>
                <c:pt idx="1056">
                  <c:v>38678</c:v>
                </c:pt>
                <c:pt idx="1057">
                  <c:v>38679</c:v>
                </c:pt>
                <c:pt idx="1058">
                  <c:v>38680</c:v>
                </c:pt>
                <c:pt idx="1059">
                  <c:v>38681</c:v>
                </c:pt>
                <c:pt idx="1060">
                  <c:v>38682</c:v>
                </c:pt>
                <c:pt idx="1061">
                  <c:v>38683</c:v>
                </c:pt>
                <c:pt idx="1062">
                  <c:v>38684</c:v>
                </c:pt>
                <c:pt idx="1063">
                  <c:v>38685</c:v>
                </c:pt>
                <c:pt idx="1064">
                  <c:v>38686</c:v>
                </c:pt>
                <c:pt idx="1065">
                  <c:v>38687</c:v>
                </c:pt>
                <c:pt idx="1066">
                  <c:v>38688</c:v>
                </c:pt>
                <c:pt idx="1067">
                  <c:v>38689</c:v>
                </c:pt>
                <c:pt idx="1068">
                  <c:v>38690</c:v>
                </c:pt>
                <c:pt idx="1069">
                  <c:v>38691</c:v>
                </c:pt>
                <c:pt idx="1070">
                  <c:v>38692</c:v>
                </c:pt>
                <c:pt idx="1071">
                  <c:v>38693</c:v>
                </c:pt>
                <c:pt idx="1072">
                  <c:v>38694</c:v>
                </c:pt>
                <c:pt idx="1073">
                  <c:v>38695</c:v>
                </c:pt>
                <c:pt idx="1074">
                  <c:v>38696</c:v>
                </c:pt>
                <c:pt idx="1075">
                  <c:v>38697</c:v>
                </c:pt>
                <c:pt idx="1076">
                  <c:v>38698</c:v>
                </c:pt>
                <c:pt idx="1077">
                  <c:v>38699</c:v>
                </c:pt>
                <c:pt idx="1078">
                  <c:v>38700</c:v>
                </c:pt>
                <c:pt idx="1079">
                  <c:v>38701</c:v>
                </c:pt>
                <c:pt idx="1080">
                  <c:v>38702</c:v>
                </c:pt>
                <c:pt idx="1081">
                  <c:v>38703</c:v>
                </c:pt>
                <c:pt idx="1082">
                  <c:v>38704</c:v>
                </c:pt>
                <c:pt idx="1083">
                  <c:v>38705</c:v>
                </c:pt>
                <c:pt idx="1084">
                  <c:v>38706</c:v>
                </c:pt>
                <c:pt idx="1085">
                  <c:v>38707</c:v>
                </c:pt>
                <c:pt idx="1086">
                  <c:v>38708</c:v>
                </c:pt>
                <c:pt idx="1087">
                  <c:v>38709</c:v>
                </c:pt>
                <c:pt idx="1088">
                  <c:v>38710</c:v>
                </c:pt>
                <c:pt idx="1089">
                  <c:v>38711</c:v>
                </c:pt>
                <c:pt idx="1090">
                  <c:v>38712</c:v>
                </c:pt>
                <c:pt idx="1091">
                  <c:v>38713</c:v>
                </c:pt>
                <c:pt idx="1092">
                  <c:v>38714</c:v>
                </c:pt>
                <c:pt idx="1093">
                  <c:v>38715</c:v>
                </c:pt>
                <c:pt idx="1094">
                  <c:v>38716</c:v>
                </c:pt>
                <c:pt idx="1095">
                  <c:v>38717</c:v>
                </c:pt>
                <c:pt idx="1096">
                  <c:v>38718</c:v>
                </c:pt>
                <c:pt idx="1097" formatCode="m/d/yyyy">
                  <c:v>38719</c:v>
                </c:pt>
                <c:pt idx="1098" formatCode="m/d/yyyy">
                  <c:v>38720</c:v>
                </c:pt>
                <c:pt idx="1099" formatCode="m/d/yyyy">
                  <c:v>38721</c:v>
                </c:pt>
                <c:pt idx="1100" formatCode="m/d/yyyy">
                  <c:v>38722</c:v>
                </c:pt>
                <c:pt idx="1101" formatCode="m/d/yyyy">
                  <c:v>38723</c:v>
                </c:pt>
                <c:pt idx="1102" formatCode="m/d/yyyy">
                  <c:v>38724</c:v>
                </c:pt>
                <c:pt idx="1103" formatCode="m/d/yyyy">
                  <c:v>38725</c:v>
                </c:pt>
                <c:pt idx="1104" formatCode="m/d/yyyy">
                  <c:v>38726</c:v>
                </c:pt>
                <c:pt idx="1105" formatCode="m/d/yyyy">
                  <c:v>38727</c:v>
                </c:pt>
                <c:pt idx="1106" formatCode="m/d/yyyy">
                  <c:v>38728</c:v>
                </c:pt>
                <c:pt idx="1107" formatCode="m/d/yyyy">
                  <c:v>38729</c:v>
                </c:pt>
                <c:pt idx="1108" formatCode="m/d/yyyy">
                  <c:v>38730</c:v>
                </c:pt>
                <c:pt idx="1109" formatCode="m/d/yyyy">
                  <c:v>38731</c:v>
                </c:pt>
                <c:pt idx="1110" formatCode="m/d/yyyy">
                  <c:v>38732</c:v>
                </c:pt>
                <c:pt idx="1111" formatCode="m/d/yyyy">
                  <c:v>38733</c:v>
                </c:pt>
                <c:pt idx="1112" formatCode="m/d/yyyy">
                  <c:v>38734</c:v>
                </c:pt>
                <c:pt idx="1113" formatCode="m/d/yyyy">
                  <c:v>38735</c:v>
                </c:pt>
                <c:pt idx="1114" formatCode="m/d/yyyy">
                  <c:v>38736</c:v>
                </c:pt>
                <c:pt idx="1115" formatCode="m/d/yyyy">
                  <c:v>38737</c:v>
                </c:pt>
                <c:pt idx="1116" formatCode="m/d/yyyy">
                  <c:v>38738</c:v>
                </c:pt>
                <c:pt idx="1117" formatCode="m/d/yyyy">
                  <c:v>38739</c:v>
                </c:pt>
                <c:pt idx="1118" formatCode="m/d/yyyy">
                  <c:v>38740</c:v>
                </c:pt>
                <c:pt idx="1119" formatCode="m/d/yyyy">
                  <c:v>38741</c:v>
                </c:pt>
                <c:pt idx="1120" formatCode="m/d/yyyy">
                  <c:v>38742</c:v>
                </c:pt>
                <c:pt idx="1121" formatCode="m/d/yyyy">
                  <c:v>38743</c:v>
                </c:pt>
                <c:pt idx="1122" formatCode="m/d/yyyy">
                  <c:v>38744</c:v>
                </c:pt>
                <c:pt idx="1123" formatCode="m/d/yyyy">
                  <c:v>38745</c:v>
                </c:pt>
                <c:pt idx="1124" formatCode="m/d/yyyy">
                  <c:v>38746</c:v>
                </c:pt>
                <c:pt idx="1125" formatCode="m/d/yyyy">
                  <c:v>38747</c:v>
                </c:pt>
                <c:pt idx="1126" formatCode="m/d/yyyy">
                  <c:v>38748</c:v>
                </c:pt>
                <c:pt idx="1127" formatCode="m/d/yyyy">
                  <c:v>38749</c:v>
                </c:pt>
                <c:pt idx="1128" formatCode="m/d/yyyy">
                  <c:v>38750</c:v>
                </c:pt>
                <c:pt idx="1129" formatCode="m/d/yyyy">
                  <c:v>38751</c:v>
                </c:pt>
                <c:pt idx="1130" formatCode="m/d/yyyy">
                  <c:v>38752</c:v>
                </c:pt>
                <c:pt idx="1131" formatCode="m/d/yyyy">
                  <c:v>38753</c:v>
                </c:pt>
                <c:pt idx="1132" formatCode="m/d/yyyy">
                  <c:v>38754</c:v>
                </c:pt>
                <c:pt idx="1133" formatCode="m/d/yyyy">
                  <c:v>38755</c:v>
                </c:pt>
                <c:pt idx="1134" formatCode="m/d/yyyy">
                  <c:v>38756</c:v>
                </c:pt>
                <c:pt idx="1135" formatCode="m/d/yyyy">
                  <c:v>38757</c:v>
                </c:pt>
                <c:pt idx="1136" formatCode="m/d/yyyy">
                  <c:v>38758</c:v>
                </c:pt>
                <c:pt idx="1137" formatCode="m/d/yyyy">
                  <c:v>38759</c:v>
                </c:pt>
                <c:pt idx="1138" formatCode="m/d/yyyy">
                  <c:v>38760</c:v>
                </c:pt>
                <c:pt idx="1139" formatCode="m/d/yyyy">
                  <c:v>38761</c:v>
                </c:pt>
                <c:pt idx="1140" formatCode="m/d/yyyy">
                  <c:v>38762</c:v>
                </c:pt>
                <c:pt idx="1141" formatCode="m/d/yyyy">
                  <c:v>38763</c:v>
                </c:pt>
                <c:pt idx="1142" formatCode="m/d/yyyy">
                  <c:v>38764</c:v>
                </c:pt>
                <c:pt idx="1143" formatCode="m/d/yyyy">
                  <c:v>38765</c:v>
                </c:pt>
                <c:pt idx="1144" formatCode="m/d/yyyy">
                  <c:v>38766</c:v>
                </c:pt>
                <c:pt idx="1145" formatCode="m/d/yyyy">
                  <c:v>38767</c:v>
                </c:pt>
                <c:pt idx="1146" formatCode="m/d/yyyy">
                  <c:v>38768</c:v>
                </c:pt>
                <c:pt idx="1147" formatCode="m/d/yyyy">
                  <c:v>38769</c:v>
                </c:pt>
                <c:pt idx="1148" formatCode="m/d/yyyy">
                  <c:v>38770</c:v>
                </c:pt>
                <c:pt idx="1149" formatCode="m/d/yyyy">
                  <c:v>38771</c:v>
                </c:pt>
                <c:pt idx="1150" formatCode="m/d/yyyy">
                  <c:v>38772</c:v>
                </c:pt>
                <c:pt idx="1151" formatCode="m/d/yyyy">
                  <c:v>38773</c:v>
                </c:pt>
                <c:pt idx="1152" formatCode="m/d/yyyy">
                  <c:v>38774</c:v>
                </c:pt>
                <c:pt idx="1153" formatCode="m/d/yyyy">
                  <c:v>38775</c:v>
                </c:pt>
                <c:pt idx="1154" formatCode="m/d/yyyy">
                  <c:v>38776</c:v>
                </c:pt>
                <c:pt idx="1155" formatCode="m/d/yyyy">
                  <c:v>38777</c:v>
                </c:pt>
                <c:pt idx="1156" formatCode="m/d/yyyy">
                  <c:v>38778</c:v>
                </c:pt>
                <c:pt idx="1157" formatCode="m/d/yyyy">
                  <c:v>38779</c:v>
                </c:pt>
                <c:pt idx="1158" formatCode="m/d/yyyy">
                  <c:v>38780</c:v>
                </c:pt>
                <c:pt idx="1159" formatCode="m/d/yyyy">
                  <c:v>38781</c:v>
                </c:pt>
                <c:pt idx="1160" formatCode="m/d/yyyy">
                  <c:v>38782</c:v>
                </c:pt>
                <c:pt idx="1161" formatCode="m/d/yyyy">
                  <c:v>38783</c:v>
                </c:pt>
                <c:pt idx="1162" formatCode="m/d/yyyy">
                  <c:v>38784</c:v>
                </c:pt>
                <c:pt idx="1163" formatCode="m/d/yyyy">
                  <c:v>38785</c:v>
                </c:pt>
                <c:pt idx="1164" formatCode="m/d/yyyy">
                  <c:v>38786</c:v>
                </c:pt>
                <c:pt idx="1165" formatCode="m/d/yyyy">
                  <c:v>38787</c:v>
                </c:pt>
                <c:pt idx="1166" formatCode="m/d/yyyy">
                  <c:v>38788</c:v>
                </c:pt>
                <c:pt idx="1167" formatCode="m/d/yyyy">
                  <c:v>38789</c:v>
                </c:pt>
                <c:pt idx="1168" formatCode="m/d/yyyy">
                  <c:v>38790</c:v>
                </c:pt>
                <c:pt idx="1169" formatCode="m/d/yyyy">
                  <c:v>38791</c:v>
                </c:pt>
                <c:pt idx="1170" formatCode="m/d/yyyy">
                  <c:v>38792</c:v>
                </c:pt>
                <c:pt idx="1171" formatCode="m/d/yyyy">
                  <c:v>38793</c:v>
                </c:pt>
                <c:pt idx="1172" formatCode="m/d/yyyy">
                  <c:v>38794</c:v>
                </c:pt>
                <c:pt idx="1173" formatCode="m/d/yyyy">
                  <c:v>38795</c:v>
                </c:pt>
                <c:pt idx="1174" formatCode="m/d/yyyy">
                  <c:v>38796</c:v>
                </c:pt>
                <c:pt idx="1175" formatCode="m/d/yyyy">
                  <c:v>38797</c:v>
                </c:pt>
                <c:pt idx="1176" formatCode="m/d/yyyy">
                  <c:v>38798</c:v>
                </c:pt>
                <c:pt idx="1177" formatCode="m/d/yyyy">
                  <c:v>38799</c:v>
                </c:pt>
                <c:pt idx="1178" formatCode="m/d/yyyy">
                  <c:v>38800</c:v>
                </c:pt>
                <c:pt idx="1179" formatCode="m/d/yyyy">
                  <c:v>38801</c:v>
                </c:pt>
                <c:pt idx="1180" formatCode="m/d/yyyy">
                  <c:v>38802</c:v>
                </c:pt>
                <c:pt idx="1181" formatCode="m/d/yyyy">
                  <c:v>38803</c:v>
                </c:pt>
                <c:pt idx="1182" formatCode="m/d/yyyy">
                  <c:v>38804</c:v>
                </c:pt>
                <c:pt idx="1183" formatCode="m/d/yyyy">
                  <c:v>38805</c:v>
                </c:pt>
                <c:pt idx="1184" formatCode="m/d/yyyy">
                  <c:v>38806</c:v>
                </c:pt>
                <c:pt idx="1185" formatCode="m/d/yyyy">
                  <c:v>38807</c:v>
                </c:pt>
                <c:pt idx="1186" formatCode="m/d/yyyy">
                  <c:v>38808</c:v>
                </c:pt>
                <c:pt idx="1187" formatCode="m/d/yyyy">
                  <c:v>38809</c:v>
                </c:pt>
                <c:pt idx="1188" formatCode="m/d/yyyy">
                  <c:v>38810</c:v>
                </c:pt>
                <c:pt idx="1189" formatCode="m/d/yyyy">
                  <c:v>38811</c:v>
                </c:pt>
                <c:pt idx="1190" formatCode="m/d/yyyy">
                  <c:v>38812</c:v>
                </c:pt>
                <c:pt idx="1191" formatCode="m/d/yyyy">
                  <c:v>38813</c:v>
                </c:pt>
                <c:pt idx="1192" formatCode="m/d/yyyy">
                  <c:v>38814</c:v>
                </c:pt>
                <c:pt idx="1193" formatCode="m/d/yyyy">
                  <c:v>38815</c:v>
                </c:pt>
                <c:pt idx="1194" formatCode="m/d/yyyy">
                  <c:v>38816</c:v>
                </c:pt>
                <c:pt idx="1195" formatCode="m/d/yyyy">
                  <c:v>38817</c:v>
                </c:pt>
                <c:pt idx="1196" formatCode="m/d/yyyy">
                  <c:v>38818</c:v>
                </c:pt>
                <c:pt idx="1197" formatCode="m/d/yyyy">
                  <c:v>38819</c:v>
                </c:pt>
                <c:pt idx="1198" formatCode="m/d/yyyy">
                  <c:v>38820</c:v>
                </c:pt>
                <c:pt idx="1199" formatCode="m/d/yyyy">
                  <c:v>38821</c:v>
                </c:pt>
                <c:pt idx="1200" formatCode="m/d/yyyy">
                  <c:v>38822</c:v>
                </c:pt>
                <c:pt idx="1201" formatCode="m/d/yyyy">
                  <c:v>38823</c:v>
                </c:pt>
                <c:pt idx="1202" formatCode="m/d/yyyy">
                  <c:v>38824</c:v>
                </c:pt>
                <c:pt idx="1203" formatCode="m/d/yyyy">
                  <c:v>38825</c:v>
                </c:pt>
                <c:pt idx="1204" formatCode="m/d/yyyy">
                  <c:v>38826</c:v>
                </c:pt>
                <c:pt idx="1205" formatCode="m/d/yyyy">
                  <c:v>38827</c:v>
                </c:pt>
                <c:pt idx="1206" formatCode="m/d/yyyy">
                  <c:v>38828</c:v>
                </c:pt>
                <c:pt idx="1207" formatCode="m/d/yyyy">
                  <c:v>38829</c:v>
                </c:pt>
                <c:pt idx="1208" formatCode="m/d/yyyy">
                  <c:v>38830</c:v>
                </c:pt>
                <c:pt idx="1209" formatCode="m/d/yyyy">
                  <c:v>38831</c:v>
                </c:pt>
                <c:pt idx="1210" formatCode="m/d/yyyy">
                  <c:v>38832</c:v>
                </c:pt>
                <c:pt idx="1211" formatCode="m/d/yyyy">
                  <c:v>38833</c:v>
                </c:pt>
                <c:pt idx="1212" formatCode="m/d/yyyy">
                  <c:v>38834</c:v>
                </c:pt>
                <c:pt idx="1213" formatCode="m/d/yyyy">
                  <c:v>38835</c:v>
                </c:pt>
                <c:pt idx="1214" formatCode="m/d/yyyy">
                  <c:v>38836</c:v>
                </c:pt>
                <c:pt idx="1215" formatCode="m/d/yyyy">
                  <c:v>38837</c:v>
                </c:pt>
                <c:pt idx="1216" formatCode="m/d/yyyy">
                  <c:v>38838</c:v>
                </c:pt>
                <c:pt idx="1217" formatCode="m/d/yyyy">
                  <c:v>38839</c:v>
                </c:pt>
                <c:pt idx="1218" formatCode="m/d/yyyy">
                  <c:v>38840</c:v>
                </c:pt>
                <c:pt idx="1219" formatCode="m/d/yyyy">
                  <c:v>38841</c:v>
                </c:pt>
                <c:pt idx="1220" formatCode="m/d/yyyy">
                  <c:v>38842</c:v>
                </c:pt>
                <c:pt idx="1221" formatCode="m/d/yyyy">
                  <c:v>38843</c:v>
                </c:pt>
                <c:pt idx="1222" formatCode="m/d/yyyy">
                  <c:v>38844</c:v>
                </c:pt>
                <c:pt idx="1223" formatCode="m/d/yyyy">
                  <c:v>38845</c:v>
                </c:pt>
                <c:pt idx="1224" formatCode="m/d/yyyy">
                  <c:v>38846</c:v>
                </c:pt>
                <c:pt idx="1225" formatCode="m/d/yyyy">
                  <c:v>38847</c:v>
                </c:pt>
                <c:pt idx="1226" formatCode="m/d/yyyy">
                  <c:v>38848</c:v>
                </c:pt>
                <c:pt idx="1227" formatCode="m/d/yyyy">
                  <c:v>38849</c:v>
                </c:pt>
                <c:pt idx="1228" formatCode="m/d/yyyy">
                  <c:v>38850</c:v>
                </c:pt>
                <c:pt idx="1229" formatCode="m/d/yyyy">
                  <c:v>38851</c:v>
                </c:pt>
                <c:pt idx="1230" formatCode="m/d/yyyy">
                  <c:v>38852</c:v>
                </c:pt>
                <c:pt idx="1231" formatCode="m/d/yyyy">
                  <c:v>38853</c:v>
                </c:pt>
                <c:pt idx="1232" formatCode="m/d/yyyy">
                  <c:v>38854</c:v>
                </c:pt>
                <c:pt idx="1233" formatCode="m/d/yyyy">
                  <c:v>38855</c:v>
                </c:pt>
                <c:pt idx="1234" formatCode="m/d/yyyy">
                  <c:v>38856</c:v>
                </c:pt>
                <c:pt idx="1235" formatCode="m/d/yyyy">
                  <c:v>38857</c:v>
                </c:pt>
                <c:pt idx="1236" formatCode="m/d/yyyy">
                  <c:v>38858</c:v>
                </c:pt>
                <c:pt idx="1237" formatCode="m/d/yyyy">
                  <c:v>38859</c:v>
                </c:pt>
                <c:pt idx="1238" formatCode="m/d/yyyy">
                  <c:v>38860</c:v>
                </c:pt>
                <c:pt idx="1239" formatCode="m/d/yyyy">
                  <c:v>38861</c:v>
                </c:pt>
                <c:pt idx="1240" formatCode="m/d/yyyy">
                  <c:v>38862</c:v>
                </c:pt>
                <c:pt idx="1241" formatCode="m/d/yyyy">
                  <c:v>38863</c:v>
                </c:pt>
                <c:pt idx="1242" formatCode="m/d/yyyy">
                  <c:v>38864</c:v>
                </c:pt>
                <c:pt idx="1243" formatCode="m/d/yyyy">
                  <c:v>38865</c:v>
                </c:pt>
                <c:pt idx="1244" formatCode="m/d/yyyy">
                  <c:v>38866</c:v>
                </c:pt>
                <c:pt idx="1245" formatCode="m/d/yyyy">
                  <c:v>38867</c:v>
                </c:pt>
                <c:pt idx="1246" formatCode="m/d/yyyy">
                  <c:v>38868</c:v>
                </c:pt>
                <c:pt idx="1247" formatCode="m/d/yyyy">
                  <c:v>38869</c:v>
                </c:pt>
                <c:pt idx="1248" formatCode="m/d/yyyy">
                  <c:v>38870</c:v>
                </c:pt>
                <c:pt idx="1249" formatCode="m/d/yyyy">
                  <c:v>38871</c:v>
                </c:pt>
                <c:pt idx="1250" formatCode="m/d/yyyy">
                  <c:v>38872</c:v>
                </c:pt>
                <c:pt idx="1251" formatCode="m/d/yyyy">
                  <c:v>38873</c:v>
                </c:pt>
                <c:pt idx="1252" formatCode="m/d/yyyy">
                  <c:v>38874</c:v>
                </c:pt>
                <c:pt idx="1253" formatCode="m/d/yyyy">
                  <c:v>38875</c:v>
                </c:pt>
                <c:pt idx="1254" formatCode="m/d/yyyy">
                  <c:v>38876</c:v>
                </c:pt>
                <c:pt idx="1255" formatCode="m/d/yyyy">
                  <c:v>38877</c:v>
                </c:pt>
                <c:pt idx="1256" formatCode="m/d/yyyy">
                  <c:v>38878</c:v>
                </c:pt>
                <c:pt idx="1257" formatCode="m/d/yyyy">
                  <c:v>38879</c:v>
                </c:pt>
                <c:pt idx="1258" formatCode="m/d/yyyy">
                  <c:v>38880</c:v>
                </c:pt>
                <c:pt idx="1259" formatCode="m/d/yyyy">
                  <c:v>38881</c:v>
                </c:pt>
                <c:pt idx="1260" formatCode="m/d/yyyy">
                  <c:v>38882</c:v>
                </c:pt>
                <c:pt idx="1261" formatCode="m/d/yyyy">
                  <c:v>38883</c:v>
                </c:pt>
                <c:pt idx="1262" formatCode="m/d/yyyy">
                  <c:v>38884</c:v>
                </c:pt>
                <c:pt idx="1263" formatCode="m/d/yyyy">
                  <c:v>38885</c:v>
                </c:pt>
                <c:pt idx="1264" formatCode="m/d/yyyy">
                  <c:v>38886</c:v>
                </c:pt>
                <c:pt idx="1265" formatCode="m/d/yyyy">
                  <c:v>38887</c:v>
                </c:pt>
                <c:pt idx="1266" formatCode="m/d/yyyy">
                  <c:v>38888</c:v>
                </c:pt>
                <c:pt idx="1267" formatCode="m/d/yyyy">
                  <c:v>38889</c:v>
                </c:pt>
                <c:pt idx="1268" formatCode="m/d/yyyy">
                  <c:v>38890</c:v>
                </c:pt>
                <c:pt idx="1269" formatCode="m/d/yyyy">
                  <c:v>38891</c:v>
                </c:pt>
                <c:pt idx="1270" formatCode="m/d/yyyy">
                  <c:v>38892</c:v>
                </c:pt>
                <c:pt idx="1271" formatCode="m/d/yyyy">
                  <c:v>38893</c:v>
                </c:pt>
                <c:pt idx="1272" formatCode="m/d/yyyy">
                  <c:v>38894</c:v>
                </c:pt>
                <c:pt idx="1273" formatCode="m/d/yyyy">
                  <c:v>38895</c:v>
                </c:pt>
                <c:pt idx="1274" formatCode="m/d/yyyy">
                  <c:v>38896</c:v>
                </c:pt>
                <c:pt idx="1275" formatCode="m/d/yyyy">
                  <c:v>38897</c:v>
                </c:pt>
                <c:pt idx="1276" formatCode="m/d/yyyy">
                  <c:v>38898</c:v>
                </c:pt>
                <c:pt idx="1277" formatCode="m/d/yyyy">
                  <c:v>38899</c:v>
                </c:pt>
                <c:pt idx="1278" formatCode="m/d/yyyy">
                  <c:v>38900</c:v>
                </c:pt>
                <c:pt idx="1279" formatCode="m/d/yyyy">
                  <c:v>38901</c:v>
                </c:pt>
                <c:pt idx="1280" formatCode="m/d/yyyy">
                  <c:v>38902</c:v>
                </c:pt>
                <c:pt idx="1281" formatCode="m/d/yyyy">
                  <c:v>38903</c:v>
                </c:pt>
                <c:pt idx="1282" formatCode="m/d/yyyy">
                  <c:v>38904</c:v>
                </c:pt>
                <c:pt idx="1283" formatCode="m/d/yyyy">
                  <c:v>38905</c:v>
                </c:pt>
                <c:pt idx="1284" formatCode="m/d/yyyy">
                  <c:v>38906</c:v>
                </c:pt>
                <c:pt idx="1285" formatCode="m/d/yyyy">
                  <c:v>38907</c:v>
                </c:pt>
                <c:pt idx="1286" formatCode="m/d/yyyy">
                  <c:v>38908</c:v>
                </c:pt>
                <c:pt idx="1287" formatCode="m/d/yyyy">
                  <c:v>38909</c:v>
                </c:pt>
                <c:pt idx="1288" formatCode="m/d/yyyy">
                  <c:v>38910</c:v>
                </c:pt>
                <c:pt idx="1289" formatCode="m/d/yyyy">
                  <c:v>38911</c:v>
                </c:pt>
                <c:pt idx="1290" formatCode="m/d/yyyy">
                  <c:v>38912</c:v>
                </c:pt>
                <c:pt idx="1291" formatCode="m/d/yyyy">
                  <c:v>38913</c:v>
                </c:pt>
                <c:pt idx="1292" formatCode="m/d/yyyy">
                  <c:v>38914</c:v>
                </c:pt>
                <c:pt idx="1293" formatCode="m/d/yyyy">
                  <c:v>38915</c:v>
                </c:pt>
                <c:pt idx="1294" formatCode="m/d/yyyy">
                  <c:v>38916</c:v>
                </c:pt>
                <c:pt idx="1295" formatCode="m/d/yyyy">
                  <c:v>38917</c:v>
                </c:pt>
                <c:pt idx="1296" formatCode="m/d/yyyy">
                  <c:v>38918</c:v>
                </c:pt>
                <c:pt idx="1297" formatCode="m/d/yyyy">
                  <c:v>38919</c:v>
                </c:pt>
                <c:pt idx="1298" formatCode="m/d/yyyy">
                  <c:v>38920</c:v>
                </c:pt>
                <c:pt idx="1299" formatCode="m/d/yyyy">
                  <c:v>38921</c:v>
                </c:pt>
                <c:pt idx="1300" formatCode="m/d/yyyy">
                  <c:v>38922</c:v>
                </c:pt>
                <c:pt idx="1301" formatCode="m/d/yyyy">
                  <c:v>38923</c:v>
                </c:pt>
                <c:pt idx="1302" formatCode="m/d/yyyy">
                  <c:v>38924</c:v>
                </c:pt>
                <c:pt idx="1303" formatCode="m/d/yyyy">
                  <c:v>38925</c:v>
                </c:pt>
                <c:pt idx="1304" formatCode="m/d/yyyy">
                  <c:v>38926</c:v>
                </c:pt>
                <c:pt idx="1305" formatCode="m/d/yyyy">
                  <c:v>38927</c:v>
                </c:pt>
                <c:pt idx="1306" formatCode="m/d/yyyy">
                  <c:v>38928</c:v>
                </c:pt>
                <c:pt idx="1307" formatCode="m/d/yyyy">
                  <c:v>38929</c:v>
                </c:pt>
                <c:pt idx="1308" formatCode="m/d/yyyy">
                  <c:v>38930</c:v>
                </c:pt>
                <c:pt idx="1309" formatCode="m/d/yyyy">
                  <c:v>38931</c:v>
                </c:pt>
                <c:pt idx="1310" formatCode="m/d/yyyy">
                  <c:v>38932</c:v>
                </c:pt>
                <c:pt idx="1311" formatCode="m/d/yyyy">
                  <c:v>38933</c:v>
                </c:pt>
                <c:pt idx="1312" formatCode="m/d/yyyy">
                  <c:v>38934</c:v>
                </c:pt>
                <c:pt idx="1313" formatCode="m/d/yyyy">
                  <c:v>38935</c:v>
                </c:pt>
                <c:pt idx="1314" formatCode="m/d/yyyy">
                  <c:v>38936</c:v>
                </c:pt>
                <c:pt idx="1315" formatCode="m/d/yyyy">
                  <c:v>38937</c:v>
                </c:pt>
                <c:pt idx="1316" formatCode="m/d/yyyy">
                  <c:v>38938</c:v>
                </c:pt>
                <c:pt idx="1317" formatCode="m/d/yyyy">
                  <c:v>38939</c:v>
                </c:pt>
                <c:pt idx="1318" formatCode="m/d/yyyy">
                  <c:v>38940</c:v>
                </c:pt>
                <c:pt idx="1319" formatCode="m/d/yyyy">
                  <c:v>38941</c:v>
                </c:pt>
                <c:pt idx="1320" formatCode="m/d/yyyy">
                  <c:v>38942</c:v>
                </c:pt>
                <c:pt idx="1321" formatCode="m/d/yyyy">
                  <c:v>38943</c:v>
                </c:pt>
                <c:pt idx="1322" formatCode="m/d/yyyy">
                  <c:v>38944</c:v>
                </c:pt>
                <c:pt idx="1323" formatCode="m/d/yyyy">
                  <c:v>38945</c:v>
                </c:pt>
                <c:pt idx="1324" formatCode="m/d/yyyy">
                  <c:v>38946</c:v>
                </c:pt>
                <c:pt idx="1325" formatCode="m/d/yyyy">
                  <c:v>38947</c:v>
                </c:pt>
                <c:pt idx="1326" formatCode="m/d/yyyy">
                  <c:v>38948</c:v>
                </c:pt>
                <c:pt idx="1327" formatCode="m/d/yyyy">
                  <c:v>38949</c:v>
                </c:pt>
                <c:pt idx="1328" formatCode="m/d/yyyy">
                  <c:v>38950</c:v>
                </c:pt>
                <c:pt idx="1329" formatCode="m/d/yyyy">
                  <c:v>38951</c:v>
                </c:pt>
                <c:pt idx="1330" formatCode="m/d/yyyy">
                  <c:v>38952</c:v>
                </c:pt>
                <c:pt idx="1331" formatCode="m/d/yyyy">
                  <c:v>38953</c:v>
                </c:pt>
                <c:pt idx="1332" formatCode="m/d/yyyy">
                  <c:v>38954</c:v>
                </c:pt>
                <c:pt idx="1333" formatCode="m/d/yyyy">
                  <c:v>38955</c:v>
                </c:pt>
                <c:pt idx="1334" formatCode="m/d/yyyy">
                  <c:v>38956</c:v>
                </c:pt>
                <c:pt idx="1335" formatCode="m/d/yyyy">
                  <c:v>38957</c:v>
                </c:pt>
                <c:pt idx="1336" formatCode="m/d/yyyy">
                  <c:v>38958</c:v>
                </c:pt>
                <c:pt idx="1337" formatCode="m/d/yyyy">
                  <c:v>38959</c:v>
                </c:pt>
                <c:pt idx="1338" formatCode="m/d/yyyy">
                  <c:v>38960</c:v>
                </c:pt>
                <c:pt idx="1339" formatCode="m/d/yyyy">
                  <c:v>38961</c:v>
                </c:pt>
                <c:pt idx="1340" formatCode="m/d/yyyy">
                  <c:v>38962</c:v>
                </c:pt>
                <c:pt idx="1341" formatCode="m/d/yyyy">
                  <c:v>38963</c:v>
                </c:pt>
                <c:pt idx="1342" formatCode="m/d/yyyy">
                  <c:v>38964</c:v>
                </c:pt>
                <c:pt idx="1343" formatCode="m/d/yyyy">
                  <c:v>38965</c:v>
                </c:pt>
                <c:pt idx="1344" formatCode="m/d/yyyy">
                  <c:v>38966</c:v>
                </c:pt>
                <c:pt idx="1345" formatCode="m/d/yyyy">
                  <c:v>38967</c:v>
                </c:pt>
                <c:pt idx="1346" formatCode="m/d/yyyy">
                  <c:v>38968</c:v>
                </c:pt>
                <c:pt idx="1347" formatCode="m/d/yyyy">
                  <c:v>38969</c:v>
                </c:pt>
                <c:pt idx="1348" formatCode="m/d/yyyy">
                  <c:v>38970</c:v>
                </c:pt>
                <c:pt idx="1349" formatCode="m/d/yyyy">
                  <c:v>38971</c:v>
                </c:pt>
                <c:pt idx="1350" formatCode="m/d/yyyy">
                  <c:v>38972</c:v>
                </c:pt>
                <c:pt idx="1351" formatCode="m/d/yyyy">
                  <c:v>38973</c:v>
                </c:pt>
                <c:pt idx="1352" formatCode="m/d/yyyy">
                  <c:v>38974</c:v>
                </c:pt>
                <c:pt idx="1353" formatCode="m/d/yyyy">
                  <c:v>38975</c:v>
                </c:pt>
                <c:pt idx="1354" formatCode="m/d/yyyy">
                  <c:v>38976</c:v>
                </c:pt>
                <c:pt idx="1355" formatCode="m/d/yyyy">
                  <c:v>38977</c:v>
                </c:pt>
                <c:pt idx="1356" formatCode="m/d/yyyy">
                  <c:v>38978</c:v>
                </c:pt>
                <c:pt idx="1357" formatCode="m/d/yyyy">
                  <c:v>38979</c:v>
                </c:pt>
                <c:pt idx="1358" formatCode="m/d/yyyy">
                  <c:v>38980</c:v>
                </c:pt>
                <c:pt idx="1359" formatCode="m/d/yyyy">
                  <c:v>38981</c:v>
                </c:pt>
                <c:pt idx="1360" formatCode="m/d/yyyy">
                  <c:v>38982</c:v>
                </c:pt>
                <c:pt idx="1361" formatCode="m/d/yyyy">
                  <c:v>38983</c:v>
                </c:pt>
                <c:pt idx="1362" formatCode="m/d/yyyy">
                  <c:v>38984</c:v>
                </c:pt>
                <c:pt idx="1363" formatCode="m/d/yyyy">
                  <c:v>38985</c:v>
                </c:pt>
                <c:pt idx="1364" formatCode="m/d/yyyy">
                  <c:v>38986</c:v>
                </c:pt>
                <c:pt idx="1365" formatCode="m/d/yyyy">
                  <c:v>38987</c:v>
                </c:pt>
                <c:pt idx="1366" formatCode="m/d/yyyy">
                  <c:v>38988</c:v>
                </c:pt>
                <c:pt idx="1367" formatCode="m/d/yyyy">
                  <c:v>38989</c:v>
                </c:pt>
                <c:pt idx="1368" formatCode="m/d/yyyy">
                  <c:v>38990</c:v>
                </c:pt>
                <c:pt idx="1369" formatCode="m/d/yyyy">
                  <c:v>38991</c:v>
                </c:pt>
                <c:pt idx="1370" formatCode="m/d/yyyy">
                  <c:v>38992</c:v>
                </c:pt>
                <c:pt idx="1371" formatCode="m/d/yyyy">
                  <c:v>38993</c:v>
                </c:pt>
                <c:pt idx="1372" formatCode="m/d/yyyy">
                  <c:v>38994</c:v>
                </c:pt>
                <c:pt idx="1373" formatCode="m/d/yyyy">
                  <c:v>38995</c:v>
                </c:pt>
                <c:pt idx="1374" formatCode="m/d/yyyy">
                  <c:v>38996</c:v>
                </c:pt>
                <c:pt idx="1375" formatCode="m/d/yyyy">
                  <c:v>38997</c:v>
                </c:pt>
                <c:pt idx="1376" formatCode="m/d/yyyy">
                  <c:v>38998</c:v>
                </c:pt>
                <c:pt idx="1377" formatCode="m/d/yyyy">
                  <c:v>38999</c:v>
                </c:pt>
                <c:pt idx="1378" formatCode="m/d/yyyy">
                  <c:v>39000</c:v>
                </c:pt>
                <c:pt idx="1379" formatCode="m/d/yyyy">
                  <c:v>39001</c:v>
                </c:pt>
                <c:pt idx="1380" formatCode="m/d/yyyy">
                  <c:v>39002</c:v>
                </c:pt>
                <c:pt idx="1381" formatCode="m/d/yyyy">
                  <c:v>39003</c:v>
                </c:pt>
                <c:pt idx="1382" formatCode="m/d/yyyy">
                  <c:v>39004</c:v>
                </c:pt>
                <c:pt idx="1383" formatCode="m/d/yyyy">
                  <c:v>39005</c:v>
                </c:pt>
                <c:pt idx="1384" formatCode="m/d/yyyy">
                  <c:v>39006</c:v>
                </c:pt>
                <c:pt idx="1385" formatCode="m/d/yyyy">
                  <c:v>39007</c:v>
                </c:pt>
                <c:pt idx="1386" formatCode="m/d/yyyy">
                  <c:v>39008</c:v>
                </c:pt>
                <c:pt idx="1387" formatCode="m/d/yyyy">
                  <c:v>39009</c:v>
                </c:pt>
                <c:pt idx="1388" formatCode="m/d/yyyy">
                  <c:v>39010</c:v>
                </c:pt>
                <c:pt idx="1389" formatCode="m/d/yyyy">
                  <c:v>39011</c:v>
                </c:pt>
                <c:pt idx="1390" formatCode="m/d/yyyy">
                  <c:v>39012</c:v>
                </c:pt>
                <c:pt idx="1391" formatCode="m/d/yyyy">
                  <c:v>39013</c:v>
                </c:pt>
                <c:pt idx="1392" formatCode="m/d/yyyy">
                  <c:v>39014</c:v>
                </c:pt>
                <c:pt idx="1393" formatCode="m/d/yyyy">
                  <c:v>39015</c:v>
                </c:pt>
                <c:pt idx="1394" formatCode="m/d/yyyy">
                  <c:v>39016</c:v>
                </c:pt>
                <c:pt idx="1395" formatCode="m/d/yyyy">
                  <c:v>39017</c:v>
                </c:pt>
                <c:pt idx="1396" formatCode="m/d/yyyy">
                  <c:v>39018</c:v>
                </c:pt>
                <c:pt idx="1397" formatCode="m/d/yyyy">
                  <c:v>39019</c:v>
                </c:pt>
                <c:pt idx="1398" formatCode="m/d/yyyy">
                  <c:v>39020</c:v>
                </c:pt>
                <c:pt idx="1399" formatCode="m/d/yyyy">
                  <c:v>39021</c:v>
                </c:pt>
                <c:pt idx="1400" formatCode="m/d/yyyy">
                  <c:v>39022</c:v>
                </c:pt>
                <c:pt idx="1401" formatCode="m/d/yyyy">
                  <c:v>39023</c:v>
                </c:pt>
                <c:pt idx="1402" formatCode="m/d/yyyy">
                  <c:v>39024</c:v>
                </c:pt>
                <c:pt idx="1403" formatCode="m/d/yyyy">
                  <c:v>39025</c:v>
                </c:pt>
                <c:pt idx="1404" formatCode="m/d/yyyy">
                  <c:v>39026</c:v>
                </c:pt>
                <c:pt idx="1405" formatCode="m/d/yyyy">
                  <c:v>39027</c:v>
                </c:pt>
                <c:pt idx="1406" formatCode="m/d/yyyy">
                  <c:v>39028</c:v>
                </c:pt>
                <c:pt idx="1407" formatCode="m/d/yyyy">
                  <c:v>39029</c:v>
                </c:pt>
                <c:pt idx="1408" formatCode="m/d/yyyy">
                  <c:v>39030</c:v>
                </c:pt>
                <c:pt idx="1409" formatCode="m/d/yyyy">
                  <c:v>39031</c:v>
                </c:pt>
                <c:pt idx="1410" formatCode="m/d/yyyy">
                  <c:v>39032</c:v>
                </c:pt>
                <c:pt idx="1411" formatCode="m/d/yyyy">
                  <c:v>39033</c:v>
                </c:pt>
                <c:pt idx="1412" formatCode="m/d/yyyy">
                  <c:v>39034</c:v>
                </c:pt>
                <c:pt idx="1413" formatCode="m/d/yyyy">
                  <c:v>39035</c:v>
                </c:pt>
                <c:pt idx="1414" formatCode="m/d/yyyy">
                  <c:v>39036</c:v>
                </c:pt>
                <c:pt idx="1415" formatCode="m/d/yyyy">
                  <c:v>39037</c:v>
                </c:pt>
                <c:pt idx="1416" formatCode="m/d/yyyy">
                  <c:v>39038</c:v>
                </c:pt>
                <c:pt idx="1417" formatCode="m/d/yyyy">
                  <c:v>39039</c:v>
                </c:pt>
                <c:pt idx="1418" formatCode="m/d/yyyy">
                  <c:v>39040</c:v>
                </c:pt>
                <c:pt idx="1419" formatCode="m/d/yyyy">
                  <c:v>39041</c:v>
                </c:pt>
                <c:pt idx="1420" formatCode="m/d/yyyy">
                  <c:v>39042</c:v>
                </c:pt>
                <c:pt idx="1421" formatCode="m/d/yyyy">
                  <c:v>39043</c:v>
                </c:pt>
                <c:pt idx="1422" formatCode="m/d/yyyy">
                  <c:v>39044</c:v>
                </c:pt>
                <c:pt idx="1423" formatCode="m/d/yyyy">
                  <c:v>39045</c:v>
                </c:pt>
                <c:pt idx="1424" formatCode="m/d/yyyy">
                  <c:v>39046</c:v>
                </c:pt>
                <c:pt idx="1425" formatCode="m/d/yyyy">
                  <c:v>39047</c:v>
                </c:pt>
                <c:pt idx="1426" formatCode="m/d/yyyy">
                  <c:v>39048</c:v>
                </c:pt>
                <c:pt idx="1427" formatCode="m/d/yyyy">
                  <c:v>39049</c:v>
                </c:pt>
                <c:pt idx="1428" formatCode="m/d/yyyy">
                  <c:v>39050</c:v>
                </c:pt>
                <c:pt idx="1429" formatCode="m/d/yyyy">
                  <c:v>39051</c:v>
                </c:pt>
                <c:pt idx="1430" formatCode="m/d/yyyy">
                  <c:v>39052</c:v>
                </c:pt>
                <c:pt idx="1431" formatCode="m/d/yyyy">
                  <c:v>39053</c:v>
                </c:pt>
                <c:pt idx="1432" formatCode="m/d/yyyy">
                  <c:v>39054</c:v>
                </c:pt>
                <c:pt idx="1433" formatCode="m/d/yyyy">
                  <c:v>39055</c:v>
                </c:pt>
                <c:pt idx="1434" formatCode="m/d/yyyy">
                  <c:v>39056</c:v>
                </c:pt>
                <c:pt idx="1435" formatCode="m/d/yyyy">
                  <c:v>39057</c:v>
                </c:pt>
                <c:pt idx="1436" formatCode="m/d/yyyy">
                  <c:v>39058</c:v>
                </c:pt>
                <c:pt idx="1437" formatCode="m/d/yyyy">
                  <c:v>39059</c:v>
                </c:pt>
                <c:pt idx="1438" formatCode="m/d/yyyy">
                  <c:v>39060</c:v>
                </c:pt>
                <c:pt idx="1439" formatCode="m/d/yyyy">
                  <c:v>39061</c:v>
                </c:pt>
                <c:pt idx="1440" formatCode="m/d/yyyy">
                  <c:v>39062</c:v>
                </c:pt>
                <c:pt idx="1441" formatCode="m/d/yyyy">
                  <c:v>39063</c:v>
                </c:pt>
                <c:pt idx="1442" formatCode="m/d/yyyy">
                  <c:v>39064</c:v>
                </c:pt>
                <c:pt idx="1443" formatCode="m/d/yyyy">
                  <c:v>39065</c:v>
                </c:pt>
                <c:pt idx="1444" formatCode="m/d/yyyy">
                  <c:v>39066</c:v>
                </c:pt>
                <c:pt idx="1445" formatCode="m/d/yyyy">
                  <c:v>39067</c:v>
                </c:pt>
                <c:pt idx="1446" formatCode="m/d/yyyy">
                  <c:v>39068</c:v>
                </c:pt>
                <c:pt idx="1447" formatCode="m/d/yyyy">
                  <c:v>39069</c:v>
                </c:pt>
                <c:pt idx="1448" formatCode="m/d/yyyy">
                  <c:v>39070</c:v>
                </c:pt>
                <c:pt idx="1449" formatCode="m/d/yyyy">
                  <c:v>39071</c:v>
                </c:pt>
                <c:pt idx="1450" formatCode="m/d/yyyy">
                  <c:v>39072</c:v>
                </c:pt>
                <c:pt idx="1451" formatCode="m/d/yyyy">
                  <c:v>39073</c:v>
                </c:pt>
                <c:pt idx="1452" formatCode="m/d/yyyy">
                  <c:v>39074</c:v>
                </c:pt>
                <c:pt idx="1453" formatCode="m/d/yyyy">
                  <c:v>39075</c:v>
                </c:pt>
                <c:pt idx="1454" formatCode="m/d/yyyy">
                  <c:v>39076</c:v>
                </c:pt>
                <c:pt idx="1455" formatCode="m/d/yyyy">
                  <c:v>39077</c:v>
                </c:pt>
                <c:pt idx="1456" formatCode="m/d/yyyy">
                  <c:v>39078</c:v>
                </c:pt>
                <c:pt idx="1457" formatCode="m/d/yyyy">
                  <c:v>39079</c:v>
                </c:pt>
                <c:pt idx="1458" formatCode="m/d/yyyy">
                  <c:v>39080</c:v>
                </c:pt>
                <c:pt idx="1459" formatCode="m/d/yyyy">
                  <c:v>39081</c:v>
                </c:pt>
                <c:pt idx="1460" formatCode="m/d/yyyy">
                  <c:v>39082</c:v>
                </c:pt>
                <c:pt idx="1461" formatCode="m/d/yyyy">
                  <c:v>39083</c:v>
                </c:pt>
                <c:pt idx="1462" formatCode="m/d/yyyy">
                  <c:v>39084</c:v>
                </c:pt>
                <c:pt idx="1463" formatCode="m/d/yyyy">
                  <c:v>39085</c:v>
                </c:pt>
                <c:pt idx="1464" formatCode="m/d/yyyy">
                  <c:v>39086</c:v>
                </c:pt>
                <c:pt idx="1465" formatCode="m/d/yyyy">
                  <c:v>39087</c:v>
                </c:pt>
                <c:pt idx="1466" formatCode="m/d/yyyy">
                  <c:v>39088</c:v>
                </c:pt>
                <c:pt idx="1467" formatCode="m/d/yyyy">
                  <c:v>39089</c:v>
                </c:pt>
                <c:pt idx="1468" formatCode="m/d/yyyy">
                  <c:v>39090</c:v>
                </c:pt>
                <c:pt idx="1469" formatCode="m/d/yyyy">
                  <c:v>39091</c:v>
                </c:pt>
                <c:pt idx="1470" formatCode="m/d/yyyy">
                  <c:v>39092</c:v>
                </c:pt>
                <c:pt idx="1471" formatCode="m/d/yyyy">
                  <c:v>39093</c:v>
                </c:pt>
                <c:pt idx="1472" formatCode="m/d/yyyy">
                  <c:v>39094</c:v>
                </c:pt>
                <c:pt idx="1473" formatCode="m/d/yyyy">
                  <c:v>39095</c:v>
                </c:pt>
                <c:pt idx="1474" formatCode="m/d/yyyy">
                  <c:v>39096</c:v>
                </c:pt>
                <c:pt idx="1475" formatCode="m/d/yyyy">
                  <c:v>39097</c:v>
                </c:pt>
                <c:pt idx="1476" formatCode="m/d/yyyy">
                  <c:v>39098</c:v>
                </c:pt>
                <c:pt idx="1477" formatCode="m/d/yyyy">
                  <c:v>39099</c:v>
                </c:pt>
                <c:pt idx="1478" formatCode="m/d/yyyy">
                  <c:v>39100</c:v>
                </c:pt>
                <c:pt idx="1479" formatCode="m/d/yyyy">
                  <c:v>39101</c:v>
                </c:pt>
                <c:pt idx="1480" formatCode="m/d/yyyy">
                  <c:v>39102</c:v>
                </c:pt>
                <c:pt idx="1481" formatCode="m/d/yyyy">
                  <c:v>39103</c:v>
                </c:pt>
                <c:pt idx="1482" formatCode="m/d/yyyy">
                  <c:v>39104</c:v>
                </c:pt>
                <c:pt idx="1483" formatCode="m/d/yyyy">
                  <c:v>39105</c:v>
                </c:pt>
                <c:pt idx="1484" formatCode="m/d/yyyy">
                  <c:v>39106</c:v>
                </c:pt>
                <c:pt idx="1485" formatCode="m/d/yyyy">
                  <c:v>39107</c:v>
                </c:pt>
                <c:pt idx="1486" formatCode="m/d/yyyy">
                  <c:v>39108</c:v>
                </c:pt>
                <c:pt idx="1487" formatCode="m/d/yyyy">
                  <c:v>39109</c:v>
                </c:pt>
                <c:pt idx="1488" formatCode="m/d/yyyy">
                  <c:v>39110</c:v>
                </c:pt>
                <c:pt idx="1489" formatCode="m/d/yyyy">
                  <c:v>39111</c:v>
                </c:pt>
                <c:pt idx="1490" formatCode="m/d/yyyy">
                  <c:v>39112</c:v>
                </c:pt>
                <c:pt idx="1491" formatCode="m/d/yyyy">
                  <c:v>39113</c:v>
                </c:pt>
                <c:pt idx="1492" formatCode="m/d/yyyy">
                  <c:v>39114</c:v>
                </c:pt>
                <c:pt idx="1493" formatCode="m/d/yyyy">
                  <c:v>39115</c:v>
                </c:pt>
                <c:pt idx="1494" formatCode="m/d/yyyy">
                  <c:v>39116</c:v>
                </c:pt>
                <c:pt idx="1495" formatCode="m/d/yyyy">
                  <c:v>39117</c:v>
                </c:pt>
                <c:pt idx="1496" formatCode="m/d/yyyy">
                  <c:v>39118</c:v>
                </c:pt>
                <c:pt idx="1497" formatCode="m/d/yyyy">
                  <c:v>39119</c:v>
                </c:pt>
                <c:pt idx="1498" formatCode="m/d/yyyy">
                  <c:v>39120</c:v>
                </c:pt>
                <c:pt idx="1499" formatCode="m/d/yyyy">
                  <c:v>39121</c:v>
                </c:pt>
                <c:pt idx="1500" formatCode="m/d/yyyy">
                  <c:v>39122</c:v>
                </c:pt>
                <c:pt idx="1501" formatCode="m/d/yyyy">
                  <c:v>39123</c:v>
                </c:pt>
                <c:pt idx="1502" formatCode="m/d/yyyy">
                  <c:v>39124</c:v>
                </c:pt>
                <c:pt idx="1503" formatCode="m/d/yyyy">
                  <c:v>39125</c:v>
                </c:pt>
                <c:pt idx="1504" formatCode="m/d/yyyy">
                  <c:v>39126</c:v>
                </c:pt>
                <c:pt idx="1505" formatCode="m/d/yyyy">
                  <c:v>39127</c:v>
                </c:pt>
                <c:pt idx="1506" formatCode="m/d/yyyy">
                  <c:v>39128</c:v>
                </c:pt>
                <c:pt idx="1507" formatCode="m/d/yyyy">
                  <c:v>39129</c:v>
                </c:pt>
                <c:pt idx="1508" formatCode="m/d/yyyy">
                  <c:v>39130</c:v>
                </c:pt>
                <c:pt idx="1509" formatCode="m/d/yyyy">
                  <c:v>39131</c:v>
                </c:pt>
                <c:pt idx="1510" formatCode="m/d/yyyy">
                  <c:v>39132</c:v>
                </c:pt>
                <c:pt idx="1511" formatCode="m/d/yyyy">
                  <c:v>39133</c:v>
                </c:pt>
                <c:pt idx="1512" formatCode="m/d/yyyy">
                  <c:v>39134</c:v>
                </c:pt>
                <c:pt idx="1513" formatCode="m/d/yyyy">
                  <c:v>39135</c:v>
                </c:pt>
                <c:pt idx="1514" formatCode="m/d/yyyy">
                  <c:v>39136</c:v>
                </c:pt>
                <c:pt idx="1515" formatCode="m/d/yyyy">
                  <c:v>39137</c:v>
                </c:pt>
                <c:pt idx="1516" formatCode="m/d/yyyy">
                  <c:v>39138</c:v>
                </c:pt>
                <c:pt idx="1517" formatCode="m/d/yyyy">
                  <c:v>39139</c:v>
                </c:pt>
                <c:pt idx="1518" formatCode="m/d/yyyy">
                  <c:v>39140</c:v>
                </c:pt>
                <c:pt idx="1519" formatCode="m/d/yyyy">
                  <c:v>39141</c:v>
                </c:pt>
                <c:pt idx="1520" formatCode="m/d/yyyy">
                  <c:v>39142</c:v>
                </c:pt>
                <c:pt idx="1521" formatCode="m/d/yyyy">
                  <c:v>39143</c:v>
                </c:pt>
                <c:pt idx="1522" formatCode="m/d/yyyy">
                  <c:v>39144</c:v>
                </c:pt>
                <c:pt idx="1523" formatCode="m/d/yyyy">
                  <c:v>39145</c:v>
                </c:pt>
                <c:pt idx="1524" formatCode="m/d/yyyy">
                  <c:v>39146</c:v>
                </c:pt>
                <c:pt idx="1525" formatCode="m/d/yyyy">
                  <c:v>39147</c:v>
                </c:pt>
                <c:pt idx="1526" formatCode="m/d/yyyy">
                  <c:v>39148</c:v>
                </c:pt>
                <c:pt idx="1527" formatCode="m/d/yyyy">
                  <c:v>39149</c:v>
                </c:pt>
                <c:pt idx="1528" formatCode="m/d/yyyy">
                  <c:v>39150</c:v>
                </c:pt>
                <c:pt idx="1529" formatCode="m/d/yyyy">
                  <c:v>39151</c:v>
                </c:pt>
                <c:pt idx="1530" formatCode="m/d/yyyy">
                  <c:v>39152</c:v>
                </c:pt>
                <c:pt idx="1531" formatCode="m/d/yyyy">
                  <c:v>39153</c:v>
                </c:pt>
                <c:pt idx="1532" formatCode="m/d/yyyy">
                  <c:v>39154</c:v>
                </c:pt>
                <c:pt idx="1533" formatCode="m/d/yyyy">
                  <c:v>39155</c:v>
                </c:pt>
                <c:pt idx="1534" formatCode="m/d/yyyy">
                  <c:v>39156</c:v>
                </c:pt>
                <c:pt idx="1535" formatCode="m/d/yyyy">
                  <c:v>39157</c:v>
                </c:pt>
                <c:pt idx="1536" formatCode="m/d/yyyy">
                  <c:v>39158</c:v>
                </c:pt>
                <c:pt idx="1537" formatCode="m/d/yyyy">
                  <c:v>39159</c:v>
                </c:pt>
                <c:pt idx="1538" formatCode="m/d/yyyy">
                  <c:v>39160</c:v>
                </c:pt>
                <c:pt idx="1539" formatCode="m/d/yyyy">
                  <c:v>39161</c:v>
                </c:pt>
                <c:pt idx="1540" formatCode="m/d/yyyy">
                  <c:v>39162</c:v>
                </c:pt>
                <c:pt idx="1541" formatCode="m/d/yyyy">
                  <c:v>39163</c:v>
                </c:pt>
                <c:pt idx="1542" formatCode="m/d/yyyy">
                  <c:v>39164</c:v>
                </c:pt>
                <c:pt idx="1543" formatCode="m/d/yyyy">
                  <c:v>39165</c:v>
                </c:pt>
                <c:pt idx="1544" formatCode="m/d/yyyy">
                  <c:v>39166</c:v>
                </c:pt>
                <c:pt idx="1545" formatCode="m/d/yyyy">
                  <c:v>39167</c:v>
                </c:pt>
                <c:pt idx="1546" formatCode="m/d/yyyy">
                  <c:v>39168</c:v>
                </c:pt>
                <c:pt idx="1547" formatCode="m/d/yyyy">
                  <c:v>39169</c:v>
                </c:pt>
                <c:pt idx="1548" formatCode="m/d/yyyy">
                  <c:v>39170</c:v>
                </c:pt>
                <c:pt idx="1549" formatCode="m/d/yyyy">
                  <c:v>39171</c:v>
                </c:pt>
                <c:pt idx="1550" formatCode="m/d/yyyy">
                  <c:v>39172</c:v>
                </c:pt>
                <c:pt idx="1551" formatCode="m/d/yyyy">
                  <c:v>39173</c:v>
                </c:pt>
                <c:pt idx="1552" formatCode="m/d/yyyy">
                  <c:v>39174</c:v>
                </c:pt>
                <c:pt idx="1553" formatCode="m/d/yyyy">
                  <c:v>39175</c:v>
                </c:pt>
                <c:pt idx="1554" formatCode="m/d/yyyy">
                  <c:v>39176</c:v>
                </c:pt>
                <c:pt idx="1555" formatCode="m/d/yyyy">
                  <c:v>39177</c:v>
                </c:pt>
                <c:pt idx="1556" formatCode="m/d/yyyy">
                  <c:v>39178</c:v>
                </c:pt>
                <c:pt idx="1557" formatCode="m/d/yyyy">
                  <c:v>39179</c:v>
                </c:pt>
                <c:pt idx="1558" formatCode="m/d/yyyy">
                  <c:v>39180</c:v>
                </c:pt>
                <c:pt idx="1559" formatCode="m/d/yyyy">
                  <c:v>39181</c:v>
                </c:pt>
                <c:pt idx="1560" formatCode="m/d/yyyy">
                  <c:v>39182</c:v>
                </c:pt>
                <c:pt idx="1561" formatCode="m/d/yyyy">
                  <c:v>39183</c:v>
                </c:pt>
                <c:pt idx="1562" formatCode="m/d/yyyy">
                  <c:v>39184</c:v>
                </c:pt>
                <c:pt idx="1563" formatCode="m/d/yyyy">
                  <c:v>39185</c:v>
                </c:pt>
                <c:pt idx="1564" formatCode="m/d/yyyy">
                  <c:v>39186</c:v>
                </c:pt>
                <c:pt idx="1565" formatCode="m/d/yyyy">
                  <c:v>39187</c:v>
                </c:pt>
                <c:pt idx="1566" formatCode="m/d/yyyy">
                  <c:v>39188</c:v>
                </c:pt>
                <c:pt idx="1567" formatCode="m/d/yyyy">
                  <c:v>39189</c:v>
                </c:pt>
                <c:pt idx="1568" formatCode="m/d/yyyy">
                  <c:v>39190</c:v>
                </c:pt>
                <c:pt idx="1569" formatCode="m/d/yyyy">
                  <c:v>39191</c:v>
                </c:pt>
                <c:pt idx="1570" formatCode="m/d/yyyy">
                  <c:v>39192</c:v>
                </c:pt>
                <c:pt idx="1571" formatCode="m/d/yyyy">
                  <c:v>39193</c:v>
                </c:pt>
                <c:pt idx="1572" formatCode="m/d/yyyy">
                  <c:v>39194</c:v>
                </c:pt>
                <c:pt idx="1573" formatCode="m/d/yyyy">
                  <c:v>39195</c:v>
                </c:pt>
                <c:pt idx="1574" formatCode="m/d/yyyy">
                  <c:v>39196</c:v>
                </c:pt>
                <c:pt idx="1575" formatCode="m/d/yyyy">
                  <c:v>39197</c:v>
                </c:pt>
                <c:pt idx="1576" formatCode="m/d/yyyy">
                  <c:v>39198</c:v>
                </c:pt>
                <c:pt idx="1577" formatCode="m/d/yyyy">
                  <c:v>39199</c:v>
                </c:pt>
                <c:pt idx="1578" formatCode="m/d/yyyy">
                  <c:v>39200</c:v>
                </c:pt>
                <c:pt idx="1579" formatCode="m/d/yyyy">
                  <c:v>39201</c:v>
                </c:pt>
                <c:pt idx="1580" formatCode="m/d/yyyy">
                  <c:v>39202</c:v>
                </c:pt>
                <c:pt idx="1581" formatCode="m/d/yyyy">
                  <c:v>39203</c:v>
                </c:pt>
                <c:pt idx="1582" formatCode="m/d/yyyy">
                  <c:v>39204</c:v>
                </c:pt>
                <c:pt idx="1583" formatCode="m/d/yyyy">
                  <c:v>39205</c:v>
                </c:pt>
                <c:pt idx="1584" formatCode="m/d/yyyy">
                  <c:v>39206</c:v>
                </c:pt>
                <c:pt idx="1585" formatCode="m/d/yyyy">
                  <c:v>39207</c:v>
                </c:pt>
                <c:pt idx="1586" formatCode="m/d/yyyy">
                  <c:v>39208</c:v>
                </c:pt>
                <c:pt idx="1587" formatCode="m/d/yyyy">
                  <c:v>39209</c:v>
                </c:pt>
                <c:pt idx="1588" formatCode="m/d/yyyy">
                  <c:v>39210</c:v>
                </c:pt>
                <c:pt idx="1589" formatCode="m/d/yyyy">
                  <c:v>39211</c:v>
                </c:pt>
                <c:pt idx="1590" formatCode="m/d/yyyy">
                  <c:v>39212</c:v>
                </c:pt>
                <c:pt idx="1591" formatCode="m/d/yyyy">
                  <c:v>39213</c:v>
                </c:pt>
                <c:pt idx="1592" formatCode="m/d/yyyy">
                  <c:v>39214</c:v>
                </c:pt>
                <c:pt idx="1593" formatCode="m/d/yyyy">
                  <c:v>39215</c:v>
                </c:pt>
                <c:pt idx="1594" formatCode="m/d/yyyy">
                  <c:v>39216</c:v>
                </c:pt>
                <c:pt idx="1595" formatCode="m/d/yyyy">
                  <c:v>39217</c:v>
                </c:pt>
                <c:pt idx="1596" formatCode="m/d/yyyy">
                  <c:v>39218</c:v>
                </c:pt>
                <c:pt idx="1597" formatCode="m/d/yyyy">
                  <c:v>39219</c:v>
                </c:pt>
                <c:pt idx="1598" formatCode="m/d/yyyy">
                  <c:v>39220</c:v>
                </c:pt>
                <c:pt idx="1599" formatCode="m/d/yyyy">
                  <c:v>39221</c:v>
                </c:pt>
                <c:pt idx="1600" formatCode="m/d/yyyy">
                  <c:v>39222</c:v>
                </c:pt>
                <c:pt idx="1601" formatCode="m/d/yyyy">
                  <c:v>39223</c:v>
                </c:pt>
                <c:pt idx="1602" formatCode="m/d/yyyy">
                  <c:v>39224</c:v>
                </c:pt>
                <c:pt idx="1603" formatCode="m/d/yyyy">
                  <c:v>39225</c:v>
                </c:pt>
                <c:pt idx="1604" formatCode="m/d/yyyy">
                  <c:v>39226</c:v>
                </c:pt>
                <c:pt idx="1605" formatCode="m/d/yyyy">
                  <c:v>39227</c:v>
                </c:pt>
                <c:pt idx="1606" formatCode="m/d/yyyy">
                  <c:v>39228</c:v>
                </c:pt>
                <c:pt idx="1607" formatCode="m/d/yyyy">
                  <c:v>39229</c:v>
                </c:pt>
                <c:pt idx="1608" formatCode="m/d/yyyy">
                  <c:v>39230</c:v>
                </c:pt>
                <c:pt idx="1609" formatCode="m/d/yyyy">
                  <c:v>39231</c:v>
                </c:pt>
                <c:pt idx="1610" formatCode="m/d/yyyy">
                  <c:v>39232</c:v>
                </c:pt>
                <c:pt idx="1611" formatCode="m/d/yyyy">
                  <c:v>39233</c:v>
                </c:pt>
                <c:pt idx="1612" formatCode="m/d/yyyy">
                  <c:v>39234</c:v>
                </c:pt>
                <c:pt idx="1613" formatCode="m/d/yyyy">
                  <c:v>39235</c:v>
                </c:pt>
                <c:pt idx="1614" formatCode="m/d/yyyy">
                  <c:v>39236</c:v>
                </c:pt>
                <c:pt idx="1615" formatCode="m/d/yyyy">
                  <c:v>39237</c:v>
                </c:pt>
                <c:pt idx="1616" formatCode="m/d/yyyy">
                  <c:v>39238</c:v>
                </c:pt>
                <c:pt idx="1617" formatCode="m/d/yyyy">
                  <c:v>39239</c:v>
                </c:pt>
                <c:pt idx="1618" formatCode="m/d/yyyy">
                  <c:v>39240</c:v>
                </c:pt>
                <c:pt idx="1619" formatCode="m/d/yyyy">
                  <c:v>39241</c:v>
                </c:pt>
                <c:pt idx="1620" formatCode="m/d/yyyy">
                  <c:v>39242</c:v>
                </c:pt>
                <c:pt idx="1621" formatCode="m/d/yyyy">
                  <c:v>39243</c:v>
                </c:pt>
                <c:pt idx="1622" formatCode="m/d/yyyy">
                  <c:v>39244</c:v>
                </c:pt>
                <c:pt idx="1623" formatCode="m/d/yyyy">
                  <c:v>39245</c:v>
                </c:pt>
                <c:pt idx="1624" formatCode="m/d/yyyy">
                  <c:v>39246</c:v>
                </c:pt>
                <c:pt idx="1625" formatCode="m/d/yyyy">
                  <c:v>39247</c:v>
                </c:pt>
                <c:pt idx="1626" formatCode="m/d/yyyy">
                  <c:v>39248</c:v>
                </c:pt>
                <c:pt idx="1627" formatCode="m/d/yyyy">
                  <c:v>39249</c:v>
                </c:pt>
                <c:pt idx="1628" formatCode="m/d/yyyy">
                  <c:v>39250</c:v>
                </c:pt>
                <c:pt idx="1629" formatCode="m/d/yyyy">
                  <c:v>39251</c:v>
                </c:pt>
                <c:pt idx="1630" formatCode="m/d/yyyy">
                  <c:v>39252</c:v>
                </c:pt>
                <c:pt idx="1631" formatCode="m/d/yyyy">
                  <c:v>39253</c:v>
                </c:pt>
                <c:pt idx="1632" formatCode="m/d/yyyy">
                  <c:v>39254</c:v>
                </c:pt>
                <c:pt idx="1633" formatCode="m/d/yyyy">
                  <c:v>39255</c:v>
                </c:pt>
                <c:pt idx="1634" formatCode="m/d/yyyy">
                  <c:v>39256</c:v>
                </c:pt>
                <c:pt idx="1635" formatCode="m/d/yyyy">
                  <c:v>39257</c:v>
                </c:pt>
                <c:pt idx="1636" formatCode="m/d/yyyy">
                  <c:v>39258</c:v>
                </c:pt>
                <c:pt idx="1637" formatCode="m/d/yyyy">
                  <c:v>39259</c:v>
                </c:pt>
                <c:pt idx="1638" formatCode="m/d/yyyy">
                  <c:v>39260</c:v>
                </c:pt>
                <c:pt idx="1639" formatCode="m/d/yyyy">
                  <c:v>39261</c:v>
                </c:pt>
                <c:pt idx="1640" formatCode="m/d/yyyy">
                  <c:v>39262</c:v>
                </c:pt>
                <c:pt idx="1641" formatCode="m/d/yyyy">
                  <c:v>39263</c:v>
                </c:pt>
                <c:pt idx="1642" formatCode="m/d/yyyy">
                  <c:v>39264</c:v>
                </c:pt>
                <c:pt idx="1643" formatCode="m/d/yyyy">
                  <c:v>39265</c:v>
                </c:pt>
                <c:pt idx="1644" formatCode="m/d/yyyy">
                  <c:v>39266</c:v>
                </c:pt>
                <c:pt idx="1645" formatCode="m/d/yyyy">
                  <c:v>39267</c:v>
                </c:pt>
                <c:pt idx="1646" formatCode="m/d/yyyy">
                  <c:v>39268</c:v>
                </c:pt>
                <c:pt idx="1647" formatCode="m/d/yyyy">
                  <c:v>39269</c:v>
                </c:pt>
                <c:pt idx="1648" formatCode="m/d/yyyy">
                  <c:v>39270</c:v>
                </c:pt>
                <c:pt idx="1649" formatCode="m/d/yyyy">
                  <c:v>39271</c:v>
                </c:pt>
                <c:pt idx="1650" formatCode="m/d/yyyy">
                  <c:v>39272</c:v>
                </c:pt>
                <c:pt idx="1651" formatCode="m/d/yyyy">
                  <c:v>39273</c:v>
                </c:pt>
                <c:pt idx="1652" formatCode="m/d/yyyy">
                  <c:v>39274</c:v>
                </c:pt>
                <c:pt idx="1653" formatCode="m/d/yyyy">
                  <c:v>39275</c:v>
                </c:pt>
                <c:pt idx="1654" formatCode="m/d/yyyy">
                  <c:v>39276</c:v>
                </c:pt>
                <c:pt idx="1655" formatCode="m/d/yyyy">
                  <c:v>39277</c:v>
                </c:pt>
                <c:pt idx="1656" formatCode="m/d/yyyy">
                  <c:v>39278</c:v>
                </c:pt>
                <c:pt idx="1657" formatCode="m/d/yyyy">
                  <c:v>39279</c:v>
                </c:pt>
                <c:pt idx="1658" formatCode="m/d/yyyy">
                  <c:v>39280</c:v>
                </c:pt>
                <c:pt idx="1659" formatCode="m/d/yyyy">
                  <c:v>39281</c:v>
                </c:pt>
                <c:pt idx="1660" formatCode="m/d/yyyy">
                  <c:v>39282</c:v>
                </c:pt>
                <c:pt idx="1661" formatCode="m/d/yyyy">
                  <c:v>39283</c:v>
                </c:pt>
                <c:pt idx="1662" formatCode="m/d/yyyy">
                  <c:v>39284</c:v>
                </c:pt>
                <c:pt idx="1663" formatCode="m/d/yyyy">
                  <c:v>39285</c:v>
                </c:pt>
                <c:pt idx="1664" formatCode="m/d/yyyy">
                  <c:v>39286</c:v>
                </c:pt>
                <c:pt idx="1665" formatCode="m/d/yyyy">
                  <c:v>39287</c:v>
                </c:pt>
                <c:pt idx="1666" formatCode="m/d/yyyy">
                  <c:v>39288</c:v>
                </c:pt>
                <c:pt idx="1667" formatCode="m/d/yyyy">
                  <c:v>39289</c:v>
                </c:pt>
                <c:pt idx="1668" formatCode="m/d/yyyy">
                  <c:v>39290</c:v>
                </c:pt>
                <c:pt idx="1669" formatCode="m/d/yyyy">
                  <c:v>39291</c:v>
                </c:pt>
                <c:pt idx="1670" formatCode="m/d/yyyy">
                  <c:v>39292</c:v>
                </c:pt>
                <c:pt idx="1671" formatCode="m/d/yyyy">
                  <c:v>39293</c:v>
                </c:pt>
                <c:pt idx="1672" formatCode="m/d/yyyy">
                  <c:v>39294</c:v>
                </c:pt>
                <c:pt idx="1673" formatCode="m/d/yyyy">
                  <c:v>39295</c:v>
                </c:pt>
                <c:pt idx="1674" formatCode="m/d/yyyy">
                  <c:v>39296</c:v>
                </c:pt>
                <c:pt idx="1675" formatCode="m/d/yyyy">
                  <c:v>39297</c:v>
                </c:pt>
                <c:pt idx="1676" formatCode="m/d/yyyy">
                  <c:v>39298</c:v>
                </c:pt>
                <c:pt idx="1677" formatCode="m/d/yyyy">
                  <c:v>39299</c:v>
                </c:pt>
                <c:pt idx="1678" formatCode="m/d/yyyy">
                  <c:v>39300</c:v>
                </c:pt>
                <c:pt idx="1679" formatCode="m/d/yyyy">
                  <c:v>39301</c:v>
                </c:pt>
                <c:pt idx="1680" formatCode="m/d/yyyy">
                  <c:v>39302</c:v>
                </c:pt>
                <c:pt idx="1681" formatCode="m/d/yyyy">
                  <c:v>39303</c:v>
                </c:pt>
                <c:pt idx="1682" formatCode="m/d/yyyy">
                  <c:v>39304</c:v>
                </c:pt>
                <c:pt idx="1683" formatCode="m/d/yyyy">
                  <c:v>39305</c:v>
                </c:pt>
                <c:pt idx="1684" formatCode="m/d/yyyy">
                  <c:v>39306</c:v>
                </c:pt>
                <c:pt idx="1685" formatCode="m/d/yyyy">
                  <c:v>39307</c:v>
                </c:pt>
                <c:pt idx="1686" formatCode="m/d/yyyy">
                  <c:v>39308</c:v>
                </c:pt>
                <c:pt idx="1687" formatCode="m/d/yyyy">
                  <c:v>39309</c:v>
                </c:pt>
                <c:pt idx="1688" formatCode="m/d/yyyy">
                  <c:v>39310</c:v>
                </c:pt>
                <c:pt idx="1689" formatCode="m/d/yyyy">
                  <c:v>39311</c:v>
                </c:pt>
                <c:pt idx="1690" formatCode="m/d/yyyy">
                  <c:v>39312</c:v>
                </c:pt>
                <c:pt idx="1691" formatCode="m/d/yyyy">
                  <c:v>39313</c:v>
                </c:pt>
                <c:pt idx="1692" formatCode="m/d/yyyy">
                  <c:v>39314</c:v>
                </c:pt>
                <c:pt idx="1693" formatCode="m/d/yyyy">
                  <c:v>39315</c:v>
                </c:pt>
                <c:pt idx="1694" formatCode="m/d/yyyy">
                  <c:v>39316</c:v>
                </c:pt>
                <c:pt idx="1695" formatCode="m/d/yyyy">
                  <c:v>39317</c:v>
                </c:pt>
                <c:pt idx="1696" formatCode="m/d/yyyy">
                  <c:v>39318</c:v>
                </c:pt>
                <c:pt idx="1697" formatCode="m/d/yyyy">
                  <c:v>39319</c:v>
                </c:pt>
                <c:pt idx="1698" formatCode="m/d/yyyy">
                  <c:v>39320</c:v>
                </c:pt>
                <c:pt idx="1699" formatCode="m/d/yyyy">
                  <c:v>39321</c:v>
                </c:pt>
                <c:pt idx="1700" formatCode="m/d/yyyy">
                  <c:v>39322</c:v>
                </c:pt>
                <c:pt idx="1701" formatCode="m/d/yyyy">
                  <c:v>39323</c:v>
                </c:pt>
                <c:pt idx="1702" formatCode="m/d/yyyy">
                  <c:v>39324</c:v>
                </c:pt>
                <c:pt idx="1703" formatCode="m/d/yyyy">
                  <c:v>39325</c:v>
                </c:pt>
                <c:pt idx="1704" formatCode="m/d/yyyy">
                  <c:v>39326</c:v>
                </c:pt>
                <c:pt idx="1705" formatCode="m/d/yyyy">
                  <c:v>39327</c:v>
                </c:pt>
                <c:pt idx="1706" formatCode="m/d/yyyy">
                  <c:v>39328</c:v>
                </c:pt>
                <c:pt idx="1707" formatCode="m/d/yyyy">
                  <c:v>39329</c:v>
                </c:pt>
                <c:pt idx="1708" formatCode="m/d/yyyy">
                  <c:v>39330</c:v>
                </c:pt>
                <c:pt idx="1709" formatCode="m/d/yyyy">
                  <c:v>39331</c:v>
                </c:pt>
                <c:pt idx="1710" formatCode="m/d/yyyy">
                  <c:v>39332</c:v>
                </c:pt>
                <c:pt idx="1711" formatCode="m/d/yyyy">
                  <c:v>39333</c:v>
                </c:pt>
                <c:pt idx="1712" formatCode="m/d/yyyy">
                  <c:v>39334</c:v>
                </c:pt>
                <c:pt idx="1713" formatCode="m/d/yyyy">
                  <c:v>39335</c:v>
                </c:pt>
                <c:pt idx="1714" formatCode="m/d/yyyy">
                  <c:v>39336</c:v>
                </c:pt>
                <c:pt idx="1715" formatCode="m/d/yyyy">
                  <c:v>39337</c:v>
                </c:pt>
                <c:pt idx="1716" formatCode="m/d/yyyy">
                  <c:v>39338</c:v>
                </c:pt>
                <c:pt idx="1717" formatCode="m/d/yyyy">
                  <c:v>39339</c:v>
                </c:pt>
                <c:pt idx="1718" formatCode="m/d/yyyy">
                  <c:v>39340</c:v>
                </c:pt>
                <c:pt idx="1719" formatCode="m/d/yyyy">
                  <c:v>39341</c:v>
                </c:pt>
                <c:pt idx="1720" formatCode="m/d/yyyy">
                  <c:v>39342</c:v>
                </c:pt>
                <c:pt idx="1721" formatCode="m/d/yyyy">
                  <c:v>39343</c:v>
                </c:pt>
                <c:pt idx="1722" formatCode="m/d/yyyy">
                  <c:v>39344</c:v>
                </c:pt>
                <c:pt idx="1723" formatCode="m/d/yyyy">
                  <c:v>39345</c:v>
                </c:pt>
                <c:pt idx="1724" formatCode="m/d/yyyy">
                  <c:v>39346</c:v>
                </c:pt>
                <c:pt idx="1725" formatCode="m/d/yyyy">
                  <c:v>39347</c:v>
                </c:pt>
                <c:pt idx="1726" formatCode="m/d/yyyy">
                  <c:v>39348</c:v>
                </c:pt>
                <c:pt idx="1727" formatCode="m/d/yyyy">
                  <c:v>39349</c:v>
                </c:pt>
                <c:pt idx="1728" formatCode="m/d/yyyy">
                  <c:v>39350</c:v>
                </c:pt>
                <c:pt idx="1729" formatCode="m/d/yyyy">
                  <c:v>39351</c:v>
                </c:pt>
                <c:pt idx="1730" formatCode="m/d/yyyy">
                  <c:v>39352</c:v>
                </c:pt>
                <c:pt idx="1731" formatCode="m/d/yyyy">
                  <c:v>39353</c:v>
                </c:pt>
                <c:pt idx="1732" formatCode="m/d/yyyy">
                  <c:v>39354</c:v>
                </c:pt>
                <c:pt idx="1733" formatCode="m/d/yyyy">
                  <c:v>39355</c:v>
                </c:pt>
                <c:pt idx="1734" formatCode="m/d/yyyy">
                  <c:v>39356</c:v>
                </c:pt>
                <c:pt idx="1735" formatCode="m/d/yyyy">
                  <c:v>39357</c:v>
                </c:pt>
                <c:pt idx="1736" formatCode="m/d/yyyy">
                  <c:v>39358</c:v>
                </c:pt>
                <c:pt idx="1737" formatCode="m/d/yyyy">
                  <c:v>39359</c:v>
                </c:pt>
                <c:pt idx="1738" formatCode="m/d/yyyy">
                  <c:v>39360</c:v>
                </c:pt>
                <c:pt idx="1739" formatCode="m/d/yyyy">
                  <c:v>39361</c:v>
                </c:pt>
                <c:pt idx="1740" formatCode="m/d/yyyy">
                  <c:v>39362</c:v>
                </c:pt>
                <c:pt idx="1741" formatCode="m/d/yyyy">
                  <c:v>39363</c:v>
                </c:pt>
                <c:pt idx="1742" formatCode="m/d/yyyy">
                  <c:v>39364</c:v>
                </c:pt>
                <c:pt idx="1743" formatCode="m/d/yyyy">
                  <c:v>39365</c:v>
                </c:pt>
                <c:pt idx="1744" formatCode="m/d/yyyy">
                  <c:v>39366</c:v>
                </c:pt>
                <c:pt idx="1745" formatCode="m/d/yyyy">
                  <c:v>39367</c:v>
                </c:pt>
                <c:pt idx="1746" formatCode="m/d/yyyy">
                  <c:v>39368</c:v>
                </c:pt>
                <c:pt idx="1747" formatCode="m/d/yyyy">
                  <c:v>39369</c:v>
                </c:pt>
                <c:pt idx="1748" formatCode="m/d/yyyy">
                  <c:v>39370</c:v>
                </c:pt>
                <c:pt idx="1749" formatCode="m/d/yyyy">
                  <c:v>39371</c:v>
                </c:pt>
                <c:pt idx="1750" formatCode="m/d/yyyy">
                  <c:v>39372</c:v>
                </c:pt>
                <c:pt idx="1751" formatCode="m/d/yyyy">
                  <c:v>39373</c:v>
                </c:pt>
                <c:pt idx="1752" formatCode="m/d/yyyy">
                  <c:v>39374</c:v>
                </c:pt>
                <c:pt idx="1753" formatCode="m/d/yyyy">
                  <c:v>39375</c:v>
                </c:pt>
                <c:pt idx="1754" formatCode="m/d/yyyy">
                  <c:v>39376</c:v>
                </c:pt>
                <c:pt idx="1755" formatCode="m/d/yyyy">
                  <c:v>39377</c:v>
                </c:pt>
                <c:pt idx="1756" formatCode="m/d/yyyy">
                  <c:v>39378</c:v>
                </c:pt>
                <c:pt idx="1757" formatCode="m/d/yyyy">
                  <c:v>39379</c:v>
                </c:pt>
                <c:pt idx="1758" formatCode="m/d/yyyy">
                  <c:v>39380</c:v>
                </c:pt>
                <c:pt idx="1759" formatCode="m/d/yyyy">
                  <c:v>39381</c:v>
                </c:pt>
                <c:pt idx="1760" formatCode="m/d/yyyy">
                  <c:v>39382</c:v>
                </c:pt>
                <c:pt idx="1761" formatCode="m/d/yyyy">
                  <c:v>39383</c:v>
                </c:pt>
                <c:pt idx="1762" formatCode="m/d/yyyy">
                  <c:v>39384</c:v>
                </c:pt>
                <c:pt idx="1763" formatCode="m/d/yyyy">
                  <c:v>39385</c:v>
                </c:pt>
                <c:pt idx="1764" formatCode="m/d/yyyy">
                  <c:v>39386</c:v>
                </c:pt>
                <c:pt idx="1765" formatCode="m/d/yyyy">
                  <c:v>39387</c:v>
                </c:pt>
                <c:pt idx="1766" formatCode="m/d/yyyy">
                  <c:v>39388</c:v>
                </c:pt>
                <c:pt idx="1767" formatCode="m/d/yyyy">
                  <c:v>39389</c:v>
                </c:pt>
                <c:pt idx="1768" formatCode="m/d/yyyy">
                  <c:v>39390</c:v>
                </c:pt>
                <c:pt idx="1769" formatCode="m/d/yyyy">
                  <c:v>39391</c:v>
                </c:pt>
                <c:pt idx="1770" formatCode="m/d/yyyy">
                  <c:v>39392</c:v>
                </c:pt>
                <c:pt idx="1771" formatCode="m/d/yyyy">
                  <c:v>39393</c:v>
                </c:pt>
                <c:pt idx="1772" formatCode="m/d/yyyy">
                  <c:v>39394</c:v>
                </c:pt>
                <c:pt idx="1773" formatCode="m/d/yyyy">
                  <c:v>39395</c:v>
                </c:pt>
                <c:pt idx="1774" formatCode="m/d/yyyy">
                  <c:v>39396</c:v>
                </c:pt>
                <c:pt idx="1775" formatCode="m/d/yyyy">
                  <c:v>39397</c:v>
                </c:pt>
                <c:pt idx="1776" formatCode="m/d/yyyy">
                  <c:v>39398</c:v>
                </c:pt>
                <c:pt idx="1777" formatCode="m/d/yyyy">
                  <c:v>39399</c:v>
                </c:pt>
                <c:pt idx="1778" formatCode="m/d/yyyy">
                  <c:v>39400</c:v>
                </c:pt>
                <c:pt idx="1779" formatCode="m/d/yyyy">
                  <c:v>39401</c:v>
                </c:pt>
                <c:pt idx="1780" formatCode="m/d/yyyy">
                  <c:v>39402</c:v>
                </c:pt>
                <c:pt idx="1781" formatCode="m/d/yyyy">
                  <c:v>39403</c:v>
                </c:pt>
                <c:pt idx="1782" formatCode="m/d/yyyy">
                  <c:v>39404</c:v>
                </c:pt>
                <c:pt idx="1783" formatCode="m/d/yyyy">
                  <c:v>39405</c:v>
                </c:pt>
                <c:pt idx="1784" formatCode="m/d/yyyy">
                  <c:v>39406</c:v>
                </c:pt>
                <c:pt idx="1785" formatCode="m/d/yyyy">
                  <c:v>39407</c:v>
                </c:pt>
                <c:pt idx="1786" formatCode="m/d/yyyy">
                  <c:v>39408</c:v>
                </c:pt>
                <c:pt idx="1787" formatCode="m/d/yyyy">
                  <c:v>39409</c:v>
                </c:pt>
                <c:pt idx="1788" formatCode="m/d/yyyy">
                  <c:v>39410</c:v>
                </c:pt>
                <c:pt idx="1789" formatCode="m/d/yyyy">
                  <c:v>39411</c:v>
                </c:pt>
                <c:pt idx="1790" formatCode="m/d/yyyy">
                  <c:v>39412</c:v>
                </c:pt>
                <c:pt idx="1791" formatCode="m/d/yyyy">
                  <c:v>39413</c:v>
                </c:pt>
                <c:pt idx="1792" formatCode="m/d/yyyy">
                  <c:v>39414</c:v>
                </c:pt>
                <c:pt idx="1793" formatCode="m/d/yyyy">
                  <c:v>39415</c:v>
                </c:pt>
                <c:pt idx="1794" formatCode="m/d/yyyy">
                  <c:v>39416</c:v>
                </c:pt>
                <c:pt idx="1795" formatCode="m/d/yyyy">
                  <c:v>39417</c:v>
                </c:pt>
                <c:pt idx="1796" formatCode="m/d/yyyy">
                  <c:v>39418</c:v>
                </c:pt>
                <c:pt idx="1797" formatCode="m/d/yyyy">
                  <c:v>39419</c:v>
                </c:pt>
                <c:pt idx="1798" formatCode="m/d/yyyy">
                  <c:v>39420</c:v>
                </c:pt>
                <c:pt idx="1799" formatCode="m/d/yyyy">
                  <c:v>39421</c:v>
                </c:pt>
                <c:pt idx="1800" formatCode="m/d/yyyy">
                  <c:v>39422</c:v>
                </c:pt>
                <c:pt idx="1801" formatCode="m/d/yyyy">
                  <c:v>39423</c:v>
                </c:pt>
                <c:pt idx="1802" formatCode="m/d/yyyy">
                  <c:v>39424</c:v>
                </c:pt>
                <c:pt idx="1803" formatCode="m/d/yyyy">
                  <c:v>39425</c:v>
                </c:pt>
                <c:pt idx="1804" formatCode="m/d/yyyy">
                  <c:v>39426</c:v>
                </c:pt>
                <c:pt idx="1805" formatCode="m/d/yyyy">
                  <c:v>39427</c:v>
                </c:pt>
                <c:pt idx="1806" formatCode="m/d/yyyy">
                  <c:v>39428</c:v>
                </c:pt>
                <c:pt idx="1807" formatCode="m/d/yyyy">
                  <c:v>39429</c:v>
                </c:pt>
                <c:pt idx="1808" formatCode="m/d/yyyy">
                  <c:v>39430</c:v>
                </c:pt>
                <c:pt idx="1809" formatCode="m/d/yyyy">
                  <c:v>39431</c:v>
                </c:pt>
                <c:pt idx="1810" formatCode="m/d/yyyy">
                  <c:v>39432</c:v>
                </c:pt>
                <c:pt idx="1811" formatCode="m/d/yyyy">
                  <c:v>39433</c:v>
                </c:pt>
                <c:pt idx="1812" formatCode="m/d/yyyy">
                  <c:v>39434</c:v>
                </c:pt>
                <c:pt idx="1813" formatCode="m/d/yyyy">
                  <c:v>39435</c:v>
                </c:pt>
                <c:pt idx="1814" formatCode="m/d/yyyy">
                  <c:v>39436</c:v>
                </c:pt>
                <c:pt idx="1815" formatCode="m/d/yyyy">
                  <c:v>39437</c:v>
                </c:pt>
                <c:pt idx="1816" formatCode="m/d/yyyy">
                  <c:v>39438</c:v>
                </c:pt>
                <c:pt idx="1817" formatCode="m/d/yyyy">
                  <c:v>39439</c:v>
                </c:pt>
                <c:pt idx="1818" formatCode="m/d/yyyy">
                  <c:v>39440</c:v>
                </c:pt>
                <c:pt idx="1819" formatCode="m/d/yyyy">
                  <c:v>39441</c:v>
                </c:pt>
                <c:pt idx="1820" formatCode="m/d/yyyy">
                  <c:v>39442</c:v>
                </c:pt>
                <c:pt idx="1821" formatCode="m/d/yyyy">
                  <c:v>39443</c:v>
                </c:pt>
                <c:pt idx="1822" formatCode="m/d/yyyy">
                  <c:v>39444</c:v>
                </c:pt>
                <c:pt idx="1823" formatCode="m/d/yyyy">
                  <c:v>39445</c:v>
                </c:pt>
                <c:pt idx="1824" formatCode="m/d/yyyy">
                  <c:v>39446</c:v>
                </c:pt>
                <c:pt idx="1825" formatCode="m/d/yyyy">
                  <c:v>39447</c:v>
                </c:pt>
                <c:pt idx="1826" formatCode="m/d/yyyy">
                  <c:v>39448</c:v>
                </c:pt>
                <c:pt idx="1827" formatCode="m/d/yyyy">
                  <c:v>39449</c:v>
                </c:pt>
                <c:pt idx="1828" formatCode="m/d/yyyy">
                  <c:v>39450</c:v>
                </c:pt>
                <c:pt idx="1829" formatCode="m/d/yyyy">
                  <c:v>39451</c:v>
                </c:pt>
                <c:pt idx="1830" formatCode="m/d/yyyy">
                  <c:v>39452</c:v>
                </c:pt>
                <c:pt idx="1831" formatCode="m/d/yyyy">
                  <c:v>39453</c:v>
                </c:pt>
                <c:pt idx="1832" formatCode="m/d/yyyy">
                  <c:v>39454</c:v>
                </c:pt>
                <c:pt idx="1833" formatCode="m/d/yyyy">
                  <c:v>39455</c:v>
                </c:pt>
                <c:pt idx="1834" formatCode="m/d/yyyy">
                  <c:v>39456</c:v>
                </c:pt>
                <c:pt idx="1835" formatCode="m/d/yyyy">
                  <c:v>39457</c:v>
                </c:pt>
                <c:pt idx="1836" formatCode="m/d/yyyy">
                  <c:v>39458</c:v>
                </c:pt>
                <c:pt idx="1837" formatCode="m/d/yyyy">
                  <c:v>39459</c:v>
                </c:pt>
                <c:pt idx="1838" formatCode="m/d/yyyy">
                  <c:v>39460</c:v>
                </c:pt>
                <c:pt idx="1839" formatCode="m/d/yyyy">
                  <c:v>39461</c:v>
                </c:pt>
                <c:pt idx="1840" formatCode="m/d/yyyy">
                  <c:v>39462</c:v>
                </c:pt>
                <c:pt idx="1841" formatCode="m/d/yyyy">
                  <c:v>39463</c:v>
                </c:pt>
                <c:pt idx="1842" formatCode="m/d/yyyy">
                  <c:v>39464</c:v>
                </c:pt>
                <c:pt idx="1843" formatCode="m/d/yyyy">
                  <c:v>39465</c:v>
                </c:pt>
                <c:pt idx="1844" formatCode="m/d/yyyy">
                  <c:v>39466</c:v>
                </c:pt>
                <c:pt idx="1845" formatCode="m/d/yyyy">
                  <c:v>39467</c:v>
                </c:pt>
                <c:pt idx="1846" formatCode="m/d/yyyy">
                  <c:v>39468</c:v>
                </c:pt>
                <c:pt idx="1847" formatCode="m/d/yyyy">
                  <c:v>39469</c:v>
                </c:pt>
                <c:pt idx="1848" formatCode="m/d/yyyy">
                  <c:v>39470</c:v>
                </c:pt>
                <c:pt idx="1849" formatCode="m/d/yyyy">
                  <c:v>39471</c:v>
                </c:pt>
                <c:pt idx="1850" formatCode="m/d/yyyy">
                  <c:v>39472</c:v>
                </c:pt>
                <c:pt idx="1851" formatCode="m/d/yyyy">
                  <c:v>39473</c:v>
                </c:pt>
                <c:pt idx="1852" formatCode="m/d/yyyy">
                  <c:v>39474</c:v>
                </c:pt>
                <c:pt idx="1853" formatCode="m/d/yyyy">
                  <c:v>39475</c:v>
                </c:pt>
                <c:pt idx="1854" formatCode="m/d/yyyy">
                  <c:v>39476</c:v>
                </c:pt>
                <c:pt idx="1855" formatCode="m/d/yyyy">
                  <c:v>39477</c:v>
                </c:pt>
                <c:pt idx="1856" formatCode="m/d/yyyy">
                  <c:v>39478</c:v>
                </c:pt>
                <c:pt idx="1857" formatCode="m/d/yyyy">
                  <c:v>39479</c:v>
                </c:pt>
                <c:pt idx="1858" formatCode="m/d/yyyy">
                  <c:v>39480</c:v>
                </c:pt>
                <c:pt idx="1859" formatCode="m/d/yyyy">
                  <c:v>39481</c:v>
                </c:pt>
                <c:pt idx="1860" formatCode="m/d/yyyy">
                  <c:v>39482</c:v>
                </c:pt>
                <c:pt idx="1861" formatCode="m/d/yyyy">
                  <c:v>39483</c:v>
                </c:pt>
                <c:pt idx="1862" formatCode="m/d/yyyy">
                  <c:v>39484</c:v>
                </c:pt>
                <c:pt idx="1863" formatCode="m/d/yyyy">
                  <c:v>39485</c:v>
                </c:pt>
                <c:pt idx="1864" formatCode="m/d/yyyy">
                  <c:v>39486</c:v>
                </c:pt>
                <c:pt idx="1865" formatCode="m/d/yyyy">
                  <c:v>39487</c:v>
                </c:pt>
                <c:pt idx="1866" formatCode="m/d/yyyy">
                  <c:v>39488</c:v>
                </c:pt>
                <c:pt idx="1867" formatCode="m/d/yyyy">
                  <c:v>39489</c:v>
                </c:pt>
                <c:pt idx="1868" formatCode="m/d/yyyy">
                  <c:v>39490</c:v>
                </c:pt>
                <c:pt idx="1869" formatCode="m/d/yyyy">
                  <c:v>39491</c:v>
                </c:pt>
                <c:pt idx="1870" formatCode="m/d/yyyy">
                  <c:v>39492</c:v>
                </c:pt>
                <c:pt idx="1871" formatCode="m/d/yyyy">
                  <c:v>39493</c:v>
                </c:pt>
                <c:pt idx="1872" formatCode="m/d/yyyy">
                  <c:v>39494</c:v>
                </c:pt>
                <c:pt idx="1873" formatCode="m/d/yyyy">
                  <c:v>39495</c:v>
                </c:pt>
                <c:pt idx="1874" formatCode="m/d/yyyy">
                  <c:v>39496</c:v>
                </c:pt>
                <c:pt idx="1875" formatCode="m/d/yyyy">
                  <c:v>39497</c:v>
                </c:pt>
                <c:pt idx="1876" formatCode="m/d/yyyy">
                  <c:v>39498</c:v>
                </c:pt>
                <c:pt idx="1877" formatCode="m/d/yyyy">
                  <c:v>39499</c:v>
                </c:pt>
                <c:pt idx="1878" formatCode="m/d/yyyy">
                  <c:v>39500</c:v>
                </c:pt>
                <c:pt idx="1879" formatCode="m/d/yyyy">
                  <c:v>39501</c:v>
                </c:pt>
                <c:pt idx="1880" formatCode="m/d/yyyy">
                  <c:v>39502</c:v>
                </c:pt>
                <c:pt idx="1881" formatCode="m/d/yyyy">
                  <c:v>39503</c:v>
                </c:pt>
                <c:pt idx="1882" formatCode="m/d/yyyy">
                  <c:v>39504</c:v>
                </c:pt>
                <c:pt idx="1883" formatCode="m/d/yyyy">
                  <c:v>39505</c:v>
                </c:pt>
                <c:pt idx="1884" formatCode="m/d/yyyy">
                  <c:v>39506</c:v>
                </c:pt>
                <c:pt idx="1885" formatCode="m/d/yyyy">
                  <c:v>39507</c:v>
                </c:pt>
                <c:pt idx="1886" formatCode="m/d/yyyy">
                  <c:v>39508</c:v>
                </c:pt>
                <c:pt idx="1887" formatCode="m/d/yyyy">
                  <c:v>39509</c:v>
                </c:pt>
                <c:pt idx="1888" formatCode="m/d/yyyy">
                  <c:v>39510</c:v>
                </c:pt>
                <c:pt idx="1889" formatCode="m/d/yyyy">
                  <c:v>39511</c:v>
                </c:pt>
                <c:pt idx="1890" formatCode="m/d/yyyy">
                  <c:v>39512</c:v>
                </c:pt>
                <c:pt idx="1891" formatCode="m/d/yyyy">
                  <c:v>39513</c:v>
                </c:pt>
                <c:pt idx="1892" formatCode="m/d/yyyy">
                  <c:v>39514</c:v>
                </c:pt>
                <c:pt idx="1893" formatCode="m/d/yyyy">
                  <c:v>39515</c:v>
                </c:pt>
                <c:pt idx="1894" formatCode="m/d/yyyy">
                  <c:v>39516</c:v>
                </c:pt>
                <c:pt idx="1895" formatCode="m/d/yyyy">
                  <c:v>39517</c:v>
                </c:pt>
                <c:pt idx="1896" formatCode="m/d/yyyy">
                  <c:v>39518</c:v>
                </c:pt>
                <c:pt idx="1897" formatCode="m/d/yyyy">
                  <c:v>39519</c:v>
                </c:pt>
                <c:pt idx="1898" formatCode="m/d/yyyy">
                  <c:v>39520</c:v>
                </c:pt>
                <c:pt idx="1899" formatCode="m/d/yyyy">
                  <c:v>39521</c:v>
                </c:pt>
                <c:pt idx="1900" formatCode="m/d/yyyy">
                  <c:v>39522</c:v>
                </c:pt>
                <c:pt idx="1901" formatCode="m/d/yyyy">
                  <c:v>39523</c:v>
                </c:pt>
                <c:pt idx="1902" formatCode="m/d/yyyy">
                  <c:v>39524</c:v>
                </c:pt>
                <c:pt idx="1903" formatCode="m/d/yyyy">
                  <c:v>39525</c:v>
                </c:pt>
                <c:pt idx="1904" formatCode="m/d/yyyy">
                  <c:v>39526</c:v>
                </c:pt>
                <c:pt idx="1905" formatCode="m/d/yyyy">
                  <c:v>39527</c:v>
                </c:pt>
                <c:pt idx="1906" formatCode="m/d/yyyy">
                  <c:v>39528</c:v>
                </c:pt>
                <c:pt idx="1907" formatCode="m/d/yyyy">
                  <c:v>39529</c:v>
                </c:pt>
                <c:pt idx="1908" formatCode="m/d/yyyy">
                  <c:v>39530</c:v>
                </c:pt>
                <c:pt idx="1909" formatCode="m/d/yyyy">
                  <c:v>39531</c:v>
                </c:pt>
                <c:pt idx="1910" formatCode="m/d/yyyy">
                  <c:v>39532</c:v>
                </c:pt>
                <c:pt idx="1911" formatCode="m/d/yyyy">
                  <c:v>39533</c:v>
                </c:pt>
                <c:pt idx="1912" formatCode="m/d/yyyy">
                  <c:v>39534</c:v>
                </c:pt>
                <c:pt idx="1913" formatCode="m/d/yyyy">
                  <c:v>39535</c:v>
                </c:pt>
                <c:pt idx="1914" formatCode="m/d/yyyy">
                  <c:v>39536</c:v>
                </c:pt>
                <c:pt idx="1915" formatCode="m/d/yyyy">
                  <c:v>39537</c:v>
                </c:pt>
                <c:pt idx="1916" formatCode="m/d/yyyy">
                  <c:v>39538</c:v>
                </c:pt>
                <c:pt idx="1917" formatCode="m/d/yyyy">
                  <c:v>39539</c:v>
                </c:pt>
                <c:pt idx="1918" formatCode="m/d/yyyy">
                  <c:v>39540</c:v>
                </c:pt>
                <c:pt idx="1919" formatCode="m/d/yyyy">
                  <c:v>39541</c:v>
                </c:pt>
                <c:pt idx="1920" formatCode="m/d/yyyy">
                  <c:v>39542</c:v>
                </c:pt>
                <c:pt idx="1921" formatCode="m/d/yyyy">
                  <c:v>39543</c:v>
                </c:pt>
                <c:pt idx="1922" formatCode="m/d/yyyy">
                  <c:v>39544</c:v>
                </c:pt>
                <c:pt idx="1923" formatCode="m/d/yyyy">
                  <c:v>39545</c:v>
                </c:pt>
                <c:pt idx="1924" formatCode="m/d/yyyy">
                  <c:v>39546</c:v>
                </c:pt>
                <c:pt idx="1925" formatCode="m/d/yyyy">
                  <c:v>39547</c:v>
                </c:pt>
                <c:pt idx="1926" formatCode="m/d/yyyy">
                  <c:v>39548</c:v>
                </c:pt>
                <c:pt idx="1927" formatCode="m/d/yyyy">
                  <c:v>39549</c:v>
                </c:pt>
                <c:pt idx="1928" formatCode="m/d/yyyy">
                  <c:v>39550</c:v>
                </c:pt>
                <c:pt idx="1929" formatCode="m/d/yyyy">
                  <c:v>39551</c:v>
                </c:pt>
                <c:pt idx="1930" formatCode="m/d/yyyy">
                  <c:v>39552</c:v>
                </c:pt>
                <c:pt idx="1931" formatCode="m/d/yyyy">
                  <c:v>39553</c:v>
                </c:pt>
                <c:pt idx="1932" formatCode="m/d/yyyy">
                  <c:v>39554</c:v>
                </c:pt>
                <c:pt idx="1933" formatCode="m/d/yyyy">
                  <c:v>39555</c:v>
                </c:pt>
                <c:pt idx="1934" formatCode="m/d/yyyy">
                  <c:v>39556</c:v>
                </c:pt>
                <c:pt idx="1935" formatCode="m/d/yyyy">
                  <c:v>39557</c:v>
                </c:pt>
                <c:pt idx="1936" formatCode="m/d/yyyy">
                  <c:v>39558</c:v>
                </c:pt>
                <c:pt idx="1937" formatCode="m/d/yyyy">
                  <c:v>39559</c:v>
                </c:pt>
                <c:pt idx="1938" formatCode="m/d/yyyy">
                  <c:v>39560</c:v>
                </c:pt>
                <c:pt idx="1939" formatCode="m/d/yyyy">
                  <c:v>39561</c:v>
                </c:pt>
                <c:pt idx="1940" formatCode="m/d/yyyy">
                  <c:v>39562</c:v>
                </c:pt>
                <c:pt idx="1941" formatCode="m/d/yyyy">
                  <c:v>39563</c:v>
                </c:pt>
                <c:pt idx="1942" formatCode="m/d/yyyy">
                  <c:v>39564</c:v>
                </c:pt>
                <c:pt idx="1943" formatCode="m/d/yyyy">
                  <c:v>39565</c:v>
                </c:pt>
                <c:pt idx="1944" formatCode="m/d/yyyy">
                  <c:v>39566</c:v>
                </c:pt>
                <c:pt idx="1945" formatCode="m/d/yyyy">
                  <c:v>39567</c:v>
                </c:pt>
                <c:pt idx="1946" formatCode="m/d/yyyy">
                  <c:v>39568</c:v>
                </c:pt>
                <c:pt idx="1947" formatCode="m/d/yyyy">
                  <c:v>39569</c:v>
                </c:pt>
                <c:pt idx="1948" formatCode="m/d/yyyy">
                  <c:v>39570</c:v>
                </c:pt>
                <c:pt idx="1949" formatCode="m/d/yyyy">
                  <c:v>39571</c:v>
                </c:pt>
                <c:pt idx="1950" formatCode="m/d/yyyy">
                  <c:v>39572</c:v>
                </c:pt>
                <c:pt idx="1951" formatCode="m/d/yyyy">
                  <c:v>39573</c:v>
                </c:pt>
                <c:pt idx="1952" formatCode="m/d/yyyy">
                  <c:v>39574</c:v>
                </c:pt>
                <c:pt idx="1953" formatCode="m/d/yyyy">
                  <c:v>39575</c:v>
                </c:pt>
                <c:pt idx="1954" formatCode="m/d/yyyy">
                  <c:v>39576</c:v>
                </c:pt>
                <c:pt idx="1955" formatCode="m/d/yyyy">
                  <c:v>39577</c:v>
                </c:pt>
                <c:pt idx="1956" formatCode="m/d/yyyy">
                  <c:v>39578</c:v>
                </c:pt>
                <c:pt idx="1957" formatCode="m/d/yyyy">
                  <c:v>39579</c:v>
                </c:pt>
                <c:pt idx="1958" formatCode="m/d/yyyy">
                  <c:v>39580</c:v>
                </c:pt>
                <c:pt idx="1959" formatCode="m/d/yyyy">
                  <c:v>39581</c:v>
                </c:pt>
                <c:pt idx="1960" formatCode="m/d/yyyy">
                  <c:v>39582</c:v>
                </c:pt>
                <c:pt idx="1961" formatCode="m/d/yyyy">
                  <c:v>39583</c:v>
                </c:pt>
                <c:pt idx="1962" formatCode="m/d/yyyy">
                  <c:v>39584</c:v>
                </c:pt>
                <c:pt idx="1963" formatCode="m/d/yyyy">
                  <c:v>39585</c:v>
                </c:pt>
                <c:pt idx="1964" formatCode="m/d/yyyy">
                  <c:v>39586</c:v>
                </c:pt>
                <c:pt idx="1965" formatCode="m/d/yyyy">
                  <c:v>39587</c:v>
                </c:pt>
                <c:pt idx="1966" formatCode="m/d/yyyy">
                  <c:v>39588</c:v>
                </c:pt>
                <c:pt idx="1967" formatCode="m/d/yyyy">
                  <c:v>39589</c:v>
                </c:pt>
                <c:pt idx="1968" formatCode="m/d/yyyy">
                  <c:v>39590</c:v>
                </c:pt>
                <c:pt idx="1969" formatCode="m/d/yyyy">
                  <c:v>39591</c:v>
                </c:pt>
                <c:pt idx="1970" formatCode="m/d/yyyy">
                  <c:v>39592</c:v>
                </c:pt>
                <c:pt idx="1971" formatCode="m/d/yyyy">
                  <c:v>39593</c:v>
                </c:pt>
                <c:pt idx="1972" formatCode="m/d/yyyy">
                  <c:v>39594</c:v>
                </c:pt>
                <c:pt idx="1973" formatCode="m/d/yyyy">
                  <c:v>39595</c:v>
                </c:pt>
                <c:pt idx="1974" formatCode="m/d/yyyy">
                  <c:v>39596</c:v>
                </c:pt>
                <c:pt idx="1975" formatCode="m/d/yyyy">
                  <c:v>39597</c:v>
                </c:pt>
                <c:pt idx="1976" formatCode="m/d/yyyy">
                  <c:v>39598</c:v>
                </c:pt>
                <c:pt idx="1977" formatCode="m/d/yyyy">
                  <c:v>39599</c:v>
                </c:pt>
                <c:pt idx="1978" formatCode="m/d/yyyy">
                  <c:v>39600</c:v>
                </c:pt>
                <c:pt idx="1979" formatCode="m/d/yyyy">
                  <c:v>39601</c:v>
                </c:pt>
                <c:pt idx="1980" formatCode="m/d/yyyy">
                  <c:v>39602</c:v>
                </c:pt>
                <c:pt idx="1981" formatCode="m/d/yyyy">
                  <c:v>39603</c:v>
                </c:pt>
                <c:pt idx="1982" formatCode="m/d/yyyy">
                  <c:v>39604</c:v>
                </c:pt>
                <c:pt idx="1983" formatCode="m/d/yyyy">
                  <c:v>39605</c:v>
                </c:pt>
                <c:pt idx="1984" formatCode="m/d/yyyy">
                  <c:v>39606</c:v>
                </c:pt>
                <c:pt idx="1985" formatCode="m/d/yyyy">
                  <c:v>39607</c:v>
                </c:pt>
                <c:pt idx="1986" formatCode="m/d/yyyy">
                  <c:v>39608</c:v>
                </c:pt>
                <c:pt idx="1987" formatCode="m/d/yyyy">
                  <c:v>39609</c:v>
                </c:pt>
                <c:pt idx="1988" formatCode="m/d/yyyy">
                  <c:v>39610</c:v>
                </c:pt>
                <c:pt idx="1989" formatCode="m/d/yyyy">
                  <c:v>39611</c:v>
                </c:pt>
                <c:pt idx="1990" formatCode="m/d/yyyy">
                  <c:v>39612</c:v>
                </c:pt>
                <c:pt idx="1991" formatCode="m/d/yyyy">
                  <c:v>39613</c:v>
                </c:pt>
                <c:pt idx="1992" formatCode="m/d/yyyy">
                  <c:v>39614</c:v>
                </c:pt>
                <c:pt idx="1993" formatCode="m/d/yyyy">
                  <c:v>39615</c:v>
                </c:pt>
                <c:pt idx="1994" formatCode="m/d/yyyy">
                  <c:v>39616</c:v>
                </c:pt>
                <c:pt idx="1995" formatCode="m/d/yyyy">
                  <c:v>39617</c:v>
                </c:pt>
                <c:pt idx="1996" formatCode="m/d/yyyy">
                  <c:v>39618</c:v>
                </c:pt>
                <c:pt idx="1997" formatCode="m/d/yyyy">
                  <c:v>39619</c:v>
                </c:pt>
                <c:pt idx="1998" formatCode="m/d/yyyy">
                  <c:v>39620</c:v>
                </c:pt>
                <c:pt idx="1999" formatCode="m/d/yyyy">
                  <c:v>39621</c:v>
                </c:pt>
                <c:pt idx="2000" formatCode="m/d/yyyy">
                  <c:v>39622</c:v>
                </c:pt>
                <c:pt idx="2001" formatCode="m/d/yyyy">
                  <c:v>39623</c:v>
                </c:pt>
                <c:pt idx="2002" formatCode="m/d/yyyy">
                  <c:v>39624</c:v>
                </c:pt>
                <c:pt idx="2003" formatCode="m/d/yyyy">
                  <c:v>39625</c:v>
                </c:pt>
                <c:pt idx="2004" formatCode="m/d/yyyy">
                  <c:v>39626</c:v>
                </c:pt>
                <c:pt idx="2005" formatCode="m/d/yyyy">
                  <c:v>39627</c:v>
                </c:pt>
                <c:pt idx="2006" formatCode="m/d/yyyy">
                  <c:v>39628</c:v>
                </c:pt>
                <c:pt idx="2007" formatCode="m/d/yyyy">
                  <c:v>39629</c:v>
                </c:pt>
                <c:pt idx="2008" formatCode="m/d/yyyy">
                  <c:v>39630</c:v>
                </c:pt>
                <c:pt idx="2009" formatCode="m/d/yyyy">
                  <c:v>39631</c:v>
                </c:pt>
                <c:pt idx="2010" formatCode="m/d/yyyy">
                  <c:v>39632</c:v>
                </c:pt>
                <c:pt idx="2011" formatCode="m/d/yyyy">
                  <c:v>39633</c:v>
                </c:pt>
                <c:pt idx="2012" formatCode="m/d/yyyy">
                  <c:v>39634</c:v>
                </c:pt>
                <c:pt idx="2013" formatCode="m/d/yyyy">
                  <c:v>39635</c:v>
                </c:pt>
                <c:pt idx="2014" formatCode="m/d/yyyy">
                  <c:v>39636</c:v>
                </c:pt>
                <c:pt idx="2015" formatCode="m/d/yyyy">
                  <c:v>39637</c:v>
                </c:pt>
                <c:pt idx="2016" formatCode="m/d/yyyy">
                  <c:v>39638</c:v>
                </c:pt>
                <c:pt idx="2017" formatCode="m/d/yyyy">
                  <c:v>39639</c:v>
                </c:pt>
                <c:pt idx="2018" formatCode="m/d/yyyy">
                  <c:v>39640</c:v>
                </c:pt>
                <c:pt idx="2019" formatCode="m/d/yyyy">
                  <c:v>39641</c:v>
                </c:pt>
                <c:pt idx="2020" formatCode="m/d/yyyy">
                  <c:v>39642</c:v>
                </c:pt>
                <c:pt idx="2021" formatCode="m/d/yyyy">
                  <c:v>39643</c:v>
                </c:pt>
                <c:pt idx="2022" formatCode="m/d/yyyy">
                  <c:v>39644</c:v>
                </c:pt>
                <c:pt idx="2023" formatCode="m/d/yyyy">
                  <c:v>39645</c:v>
                </c:pt>
                <c:pt idx="2024" formatCode="m/d/yyyy">
                  <c:v>39646</c:v>
                </c:pt>
                <c:pt idx="2025" formatCode="m/d/yyyy">
                  <c:v>39647</c:v>
                </c:pt>
                <c:pt idx="2026" formatCode="m/d/yyyy">
                  <c:v>39648</c:v>
                </c:pt>
                <c:pt idx="2027" formatCode="m/d/yyyy">
                  <c:v>39649</c:v>
                </c:pt>
                <c:pt idx="2028" formatCode="m/d/yyyy">
                  <c:v>39650</c:v>
                </c:pt>
                <c:pt idx="2029" formatCode="m/d/yyyy">
                  <c:v>39651</c:v>
                </c:pt>
                <c:pt idx="2030" formatCode="m/d/yyyy">
                  <c:v>39652</c:v>
                </c:pt>
                <c:pt idx="2031" formatCode="m/d/yyyy">
                  <c:v>39653</c:v>
                </c:pt>
                <c:pt idx="2032" formatCode="m/d/yyyy">
                  <c:v>39654</c:v>
                </c:pt>
                <c:pt idx="2033" formatCode="m/d/yyyy">
                  <c:v>39655</c:v>
                </c:pt>
                <c:pt idx="2034" formatCode="m/d/yyyy">
                  <c:v>39656</c:v>
                </c:pt>
                <c:pt idx="2035" formatCode="m/d/yyyy">
                  <c:v>39657</c:v>
                </c:pt>
                <c:pt idx="2036" formatCode="m/d/yyyy">
                  <c:v>39658</c:v>
                </c:pt>
                <c:pt idx="2037" formatCode="m/d/yyyy">
                  <c:v>39659</c:v>
                </c:pt>
                <c:pt idx="2038" formatCode="m/d/yyyy">
                  <c:v>39660</c:v>
                </c:pt>
                <c:pt idx="2039" formatCode="m/d/yyyy">
                  <c:v>39661</c:v>
                </c:pt>
                <c:pt idx="2040" formatCode="m/d/yyyy">
                  <c:v>39662</c:v>
                </c:pt>
                <c:pt idx="2041" formatCode="m/d/yyyy">
                  <c:v>39663</c:v>
                </c:pt>
                <c:pt idx="2042" formatCode="m/d/yyyy">
                  <c:v>39664</c:v>
                </c:pt>
                <c:pt idx="2043" formatCode="m/d/yyyy">
                  <c:v>39665</c:v>
                </c:pt>
                <c:pt idx="2044" formatCode="m/d/yyyy">
                  <c:v>39666</c:v>
                </c:pt>
                <c:pt idx="2045" formatCode="m/d/yyyy">
                  <c:v>39667</c:v>
                </c:pt>
                <c:pt idx="2046" formatCode="m/d/yyyy">
                  <c:v>39668</c:v>
                </c:pt>
                <c:pt idx="2047" formatCode="m/d/yyyy">
                  <c:v>39669</c:v>
                </c:pt>
                <c:pt idx="2048" formatCode="m/d/yyyy">
                  <c:v>39670</c:v>
                </c:pt>
                <c:pt idx="2049" formatCode="m/d/yyyy">
                  <c:v>39671</c:v>
                </c:pt>
                <c:pt idx="2050" formatCode="m/d/yyyy">
                  <c:v>39672</c:v>
                </c:pt>
                <c:pt idx="2051" formatCode="m/d/yyyy">
                  <c:v>39673</c:v>
                </c:pt>
                <c:pt idx="2052" formatCode="m/d/yyyy">
                  <c:v>39674</c:v>
                </c:pt>
                <c:pt idx="2053" formatCode="m/d/yyyy">
                  <c:v>39675</c:v>
                </c:pt>
                <c:pt idx="2054" formatCode="m/d/yyyy">
                  <c:v>39676</c:v>
                </c:pt>
                <c:pt idx="2055" formatCode="m/d/yyyy">
                  <c:v>39677</c:v>
                </c:pt>
                <c:pt idx="2056" formatCode="m/d/yyyy">
                  <c:v>39678</c:v>
                </c:pt>
                <c:pt idx="2057" formatCode="m/d/yyyy">
                  <c:v>39679</c:v>
                </c:pt>
                <c:pt idx="2058" formatCode="m/d/yyyy">
                  <c:v>39680</c:v>
                </c:pt>
                <c:pt idx="2059" formatCode="m/d/yyyy">
                  <c:v>39681</c:v>
                </c:pt>
                <c:pt idx="2060" formatCode="m/d/yyyy">
                  <c:v>39682</c:v>
                </c:pt>
                <c:pt idx="2061" formatCode="m/d/yyyy">
                  <c:v>39683</c:v>
                </c:pt>
                <c:pt idx="2062" formatCode="m/d/yyyy">
                  <c:v>39684</c:v>
                </c:pt>
                <c:pt idx="2063" formatCode="m/d/yyyy">
                  <c:v>39685</c:v>
                </c:pt>
                <c:pt idx="2064" formatCode="m/d/yyyy">
                  <c:v>39686</c:v>
                </c:pt>
                <c:pt idx="2065" formatCode="m/d/yyyy">
                  <c:v>39687</c:v>
                </c:pt>
                <c:pt idx="2066" formatCode="m/d/yyyy">
                  <c:v>39688</c:v>
                </c:pt>
                <c:pt idx="2067" formatCode="m/d/yyyy">
                  <c:v>39689</c:v>
                </c:pt>
                <c:pt idx="2068" formatCode="m/d/yyyy">
                  <c:v>39690</c:v>
                </c:pt>
                <c:pt idx="2069" formatCode="m/d/yyyy">
                  <c:v>39691</c:v>
                </c:pt>
                <c:pt idx="2070" formatCode="m/d/yyyy">
                  <c:v>39692</c:v>
                </c:pt>
                <c:pt idx="2071" formatCode="m/d/yyyy">
                  <c:v>39693</c:v>
                </c:pt>
                <c:pt idx="2072" formatCode="m/d/yyyy">
                  <c:v>39694</c:v>
                </c:pt>
                <c:pt idx="2073" formatCode="m/d/yyyy">
                  <c:v>39695</c:v>
                </c:pt>
                <c:pt idx="2074" formatCode="m/d/yyyy">
                  <c:v>39696</c:v>
                </c:pt>
                <c:pt idx="2075" formatCode="m/d/yyyy">
                  <c:v>39697</c:v>
                </c:pt>
                <c:pt idx="2076" formatCode="m/d/yyyy">
                  <c:v>39698</c:v>
                </c:pt>
                <c:pt idx="2077" formatCode="m/d/yyyy">
                  <c:v>39699</c:v>
                </c:pt>
                <c:pt idx="2078" formatCode="m/d/yyyy">
                  <c:v>39700</c:v>
                </c:pt>
                <c:pt idx="2079" formatCode="m/d/yyyy">
                  <c:v>39701</c:v>
                </c:pt>
                <c:pt idx="2080" formatCode="m/d/yyyy">
                  <c:v>39702</c:v>
                </c:pt>
                <c:pt idx="2081" formatCode="m/d/yyyy">
                  <c:v>39703</c:v>
                </c:pt>
                <c:pt idx="2082" formatCode="m/d/yyyy">
                  <c:v>39704</c:v>
                </c:pt>
                <c:pt idx="2083" formatCode="m/d/yyyy">
                  <c:v>39705</c:v>
                </c:pt>
                <c:pt idx="2084" formatCode="m/d/yyyy">
                  <c:v>39706</c:v>
                </c:pt>
                <c:pt idx="2085" formatCode="m/d/yyyy">
                  <c:v>39707</c:v>
                </c:pt>
                <c:pt idx="2086" formatCode="m/d/yyyy">
                  <c:v>39708</c:v>
                </c:pt>
                <c:pt idx="2087" formatCode="m/d/yyyy">
                  <c:v>39709</c:v>
                </c:pt>
                <c:pt idx="2088" formatCode="m/d/yyyy">
                  <c:v>39710</c:v>
                </c:pt>
                <c:pt idx="2089" formatCode="m/d/yyyy">
                  <c:v>39711</c:v>
                </c:pt>
                <c:pt idx="2090" formatCode="m/d/yyyy">
                  <c:v>39712</c:v>
                </c:pt>
                <c:pt idx="2091" formatCode="m/d/yyyy">
                  <c:v>39713</c:v>
                </c:pt>
                <c:pt idx="2092" formatCode="m/d/yyyy">
                  <c:v>39714</c:v>
                </c:pt>
                <c:pt idx="2093" formatCode="m/d/yyyy">
                  <c:v>39715</c:v>
                </c:pt>
                <c:pt idx="2094" formatCode="m/d/yyyy">
                  <c:v>39716</c:v>
                </c:pt>
                <c:pt idx="2095" formatCode="m/d/yyyy">
                  <c:v>39717</c:v>
                </c:pt>
                <c:pt idx="2096" formatCode="m/d/yyyy">
                  <c:v>39718</c:v>
                </c:pt>
                <c:pt idx="2097" formatCode="m/d/yyyy">
                  <c:v>39719</c:v>
                </c:pt>
                <c:pt idx="2098" formatCode="m/d/yyyy">
                  <c:v>39720</c:v>
                </c:pt>
                <c:pt idx="2099" formatCode="m/d/yyyy">
                  <c:v>39721</c:v>
                </c:pt>
                <c:pt idx="2100" formatCode="m/d/yyyy">
                  <c:v>39722</c:v>
                </c:pt>
                <c:pt idx="2101" formatCode="m/d/yyyy">
                  <c:v>39723</c:v>
                </c:pt>
                <c:pt idx="2102" formatCode="m/d/yyyy">
                  <c:v>39724</c:v>
                </c:pt>
                <c:pt idx="2103" formatCode="m/d/yyyy">
                  <c:v>39725</c:v>
                </c:pt>
                <c:pt idx="2104" formatCode="m/d/yyyy">
                  <c:v>39726</c:v>
                </c:pt>
                <c:pt idx="2105" formatCode="m/d/yyyy">
                  <c:v>39727</c:v>
                </c:pt>
                <c:pt idx="2106" formatCode="m/d/yyyy">
                  <c:v>39728</c:v>
                </c:pt>
                <c:pt idx="2107" formatCode="m/d/yyyy">
                  <c:v>39729</c:v>
                </c:pt>
                <c:pt idx="2108" formatCode="m/d/yyyy">
                  <c:v>39730</c:v>
                </c:pt>
                <c:pt idx="2109" formatCode="m/d/yyyy">
                  <c:v>39731</c:v>
                </c:pt>
                <c:pt idx="2110" formatCode="m/d/yyyy">
                  <c:v>39732</c:v>
                </c:pt>
                <c:pt idx="2111" formatCode="m/d/yyyy">
                  <c:v>39733</c:v>
                </c:pt>
                <c:pt idx="2112" formatCode="m/d/yyyy">
                  <c:v>39734</c:v>
                </c:pt>
                <c:pt idx="2113" formatCode="m/d/yyyy">
                  <c:v>39735</c:v>
                </c:pt>
                <c:pt idx="2114" formatCode="m/d/yyyy">
                  <c:v>39736</c:v>
                </c:pt>
                <c:pt idx="2115" formatCode="m/d/yyyy">
                  <c:v>39737</c:v>
                </c:pt>
                <c:pt idx="2116" formatCode="m/d/yyyy">
                  <c:v>39738</c:v>
                </c:pt>
                <c:pt idx="2117" formatCode="m/d/yyyy">
                  <c:v>39739</c:v>
                </c:pt>
                <c:pt idx="2118" formatCode="m/d/yyyy">
                  <c:v>39740</c:v>
                </c:pt>
                <c:pt idx="2119" formatCode="m/d/yyyy">
                  <c:v>39741</c:v>
                </c:pt>
                <c:pt idx="2120" formatCode="m/d/yyyy">
                  <c:v>39742</c:v>
                </c:pt>
                <c:pt idx="2121" formatCode="m/d/yyyy">
                  <c:v>39743</c:v>
                </c:pt>
                <c:pt idx="2122" formatCode="m/d/yyyy">
                  <c:v>39744</c:v>
                </c:pt>
                <c:pt idx="2123" formatCode="m/d/yyyy">
                  <c:v>39745</c:v>
                </c:pt>
                <c:pt idx="2124" formatCode="m/d/yyyy">
                  <c:v>39746</c:v>
                </c:pt>
                <c:pt idx="2125" formatCode="m/d/yyyy">
                  <c:v>39747</c:v>
                </c:pt>
                <c:pt idx="2126" formatCode="m/d/yyyy">
                  <c:v>39748</c:v>
                </c:pt>
                <c:pt idx="2127" formatCode="m/d/yyyy">
                  <c:v>39749</c:v>
                </c:pt>
                <c:pt idx="2128" formatCode="m/d/yyyy">
                  <c:v>39750</c:v>
                </c:pt>
                <c:pt idx="2129" formatCode="m/d/yyyy">
                  <c:v>39751</c:v>
                </c:pt>
                <c:pt idx="2130" formatCode="m/d/yyyy">
                  <c:v>39752</c:v>
                </c:pt>
                <c:pt idx="2131" formatCode="m/d/yyyy">
                  <c:v>39753</c:v>
                </c:pt>
                <c:pt idx="2132" formatCode="m/d/yyyy">
                  <c:v>39754</c:v>
                </c:pt>
                <c:pt idx="2133" formatCode="m/d/yyyy">
                  <c:v>39755</c:v>
                </c:pt>
                <c:pt idx="2134" formatCode="m/d/yyyy">
                  <c:v>39756</c:v>
                </c:pt>
                <c:pt idx="2135" formatCode="m/d/yyyy">
                  <c:v>39757</c:v>
                </c:pt>
                <c:pt idx="2136" formatCode="m/d/yyyy">
                  <c:v>39758</c:v>
                </c:pt>
                <c:pt idx="2137" formatCode="m/d/yyyy">
                  <c:v>39759</c:v>
                </c:pt>
                <c:pt idx="2138" formatCode="m/d/yyyy">
                  <c:v>39760</c:v>
                </c:pt>
                <c:pt idx="2139" formatCode="m/d/yyyy">
                  <c:v>39761</c:v>
                </c:pt>
                <c:pt idx="2140" formatCode="m/d/yyyy">
                  <c:v>39762</c:v>
                </c:pt>
                <c:pt idx="2141" formatCode="m/d/yyyy">
                  <c:v>39763</c:v>
                </c:pt>
                <c:pt idx="2142" formatCode="m/d/yyyy">
                  <c:v>39764</c:v>
                </c:pt>
                <c:pt idx="2143" formatCode="m/d/yyyy">
                  <c:v>39765</c:v>
                </c:pt>
                <c:pt idx="2144" formatCode="m/d/yyyy">
                  <c:v>39766</c:v>
                </c:pt>
                <c:pt idx="2145" formatCode="m/d/yyyy">
                  <c:v>39767</c:v>
                </c:pt>
                <c:pt idx="2146" formatCode="m/d/yyyy">
                  <c:v>39768</c:v>
                </c:pt>
                <c:pt idx="2147" formatCode="m/d/yyyy">
                  <c:v>39769</c:v>
                </c:pt>
                <c:pt idx="2148" formatCode="m/d/yyyy">
                  <c:v>39770</c:v>
                </c:pt>
                <c:pt idx="2149" formatCode="m/d/yyyy">
                  <c:v>39771</c:v>
                </c:pt>
                <c:pt idx="2150" formatCode="m/d/yyyy">
                  <c:v>39772</c:v>
                </c:pt>
                <c:pt idx="2151" formatCode="m/d/yyyy">
                  <c:v>39773</c:v>
                </c:pt>
                <c:pt idx="2152" formatCode="m/d/yyyy">
                  <c:v>39774</c:v>
                </c:pt>
                <c:pt idx="2153" formatCode="m/d/yyyy">
                  <c:v>39775</c:v>
                </c:pt>
                <c:pt idx="2154" formatCode="m/d/yyyy">
                  <c:v>39776</c:v>
                </c:pt>
                <c:pt idx="2155" formatCode="m/d/yyyy">
                  <c:v>39777</c:v>
                </c:pt>
                <c:pt idx="2156" formatCode="m/d/yyyy">
                  <c:v>39778</c:v>
                </c:pt>
                <c:pt idx="2157" formatCode="m/d/yyyy">
                  <c:v>39779</c:v>
                </c:pt>
                <c:pt idx="2158" formatCode="m/d/yyyy">
                  <c:v>39780</c:v>
                </c:pt>
                <c:pt idx="2159" formatCode="m/d/yyyy">
                  <c:v>39781</c:v>
                </c:pt>
                <c:pt idx="2160" formatCode="m/d/yyyy">
                  <c:v>39782</c:v>
                </c:pt>
                <c:pt idx="2161" formatCode="m/d/yyyy">
                  <c:v>39783</c:v>
                </c:pt>
                <c:pt idx="2162" formatCode="m/d/yyyy">
                  <c:v>39784</c:v>
                </c:pt>
                <c:pt idx="2163" formatCode="m/d/yyyy">
                  <c:v>39785</c:v>
                </c:pt>
                <c:pt idx="2164" formatCode="m/d/yyyy">
                  <c:v>39786</c:v>
                </c:pt>
                <c:pt idx="2165" formatCode="m/d/yyyy">
                  <c:v>39787</c:v>
                </c:pt>
                <c:pt idx="2166" formatCode="m/d/yyyy">
                  <c:v>39788</c:v>
                </c:pt>
                <c:pt idx="2167" formatCode="m/d/yyyy">
                  <c:v>39789</c:v>
                </c:pt>
                <c:pt idx="2168" formatCode="m/d/yyyy">
                  <c:v>39790</c:v>
                </c:pt>
                <c:pt idx="2169" formatCode="m/d/yyyy">
                  <c:v>39791</c:v>
                </c:pt>
                <c:pt idx="2170" formatCode="m/d/yyyy">
                  <c:v>39792</c:v>
                </c:pt>
                <c:pt idx="2171" formatCode="m/d/yyyy">
                  <c:v>39793</c:v>
                </c:pt>
                <c:pt idx="2172" formatCode="m/d/yyyy">
                  <c:v>39794</c:v>
                </c:pt>
                <c:pt idx="2173" formatCode="m/d/yyyy">
                  <c:v>39795</c:v>
                </c:pt>
                <c:pt idx="2174" formatCode="m/d/yyyy">
                  <c:v>39796</c:v>
                </c:pt>
                <c:pt idx="2175" formatCode="m/d/yyyy">
                  <c:v>39797</c:v>
                </c:pt>
                <c:pt idx="2176" formatCode="m/d/yyyy">
                  <c:v>39798</c:v>
                </c:pt>
                <c:pt idx="2177" formatCode="m/d/yyyy">
                  <c:v>39799</c:v>
                </c:pt>
                <c:pt idx="2178" formatCode="m/d/yyyy">
                  <c:v>39800</c:v>
                </c:pt>
                <c:pt idx="2179" formatCode="m/d/yyyy">
                  <c:v>39801</c:v>
                </c:pt>
                <c:pt idx="2180" formatCode="m/d/yyyy">
                  <c:v>39802</c:v>
                </c:pt>
                <c:pt idx="2181" formatCode="m/d/yyyy">
                  <c:v>39803</c:v>
                </c:pt>
                <c:pt idx="2182" formatCode="m/d/yyyy">
                  <c:v>39804</c:v>
                </c:pt>
                <c:pt idx="2183" formatCode="m/d/yyyy">
                  <c:v>39805</c:v>
                </c:pt>
                <c:pt idx="2184" formatCode="m/d/yyyy">
                  <c:v>39806</c:v>
                </c:pt>
                <c:pt idx="2185" formatCode="m/d/yyyy">
                  <c:v>39807</c:v>
                </c:pt>
                <c:pt idx="2186" formatCode="m/d/yyyy">
                  <c:v>39808</c:v>
                </c:pt>
                <c:pt idx="2187" formatCode="m/d/yyyy">
                  <c:v>39809</c:v>
                </c:pt>
                <c:pt idx="2188" formatCode="m/d/yyyy">
                  <c:v>39810</c:v>
                </c:pt>
                <c:pt idx="2189" formatCode="m/d/yyyy">
                  <c:v>39811</c:v>
                </c:pt>
                <c:pt idx="2190" formatCode="m/d/yyyy">
                  <c:v>39812</c:v>
                </c:pt>
                <c:pt idx="2191" formatCode="m/d/yyyy">
                  <c:v>39813</c:v>
                </c:pt>
                <c:pt idx="2192" formatCode="m/d/yyyy">
                  <c:v>39814</c:v>
                </c:pt>
                <c:pt idx="2193" formatCode="m/d/yyyy">
                  <c:v>39815</c:v>
                </c:pt>
                <c:pt idx="2194" formatCode="m/d/yyyy">
                  <c:v>39816</c:v>
                </c:pt>
                <c:pt idx="2195" formatCode="m/d/yyyy">
                  <c:v>39817</c:v>
                </c:pt>
                <c:pt idx="2196" formatCode="m/d/yyyy">
                  <c:v>39818</c:v>
                </c:pt>
                <c:pt idx="2197" formatCode="m/d/yyyy">
                  <c:v>39819</c:v>
                </c:pt>
                <c:pt idx="2198" formatCode="m/d/yyyy">
                  <c:v>39820</c:v>
                </c:pt>
                <c:pt idx="2199" formatCode="m/d/yyyy">
                  <c:v>39821</c:v>
                </c:pt>
                <c:pt idx="2200" formatCode="m/d/yyyy">
                  <c:v>39822</c:v>
                </c:pt>
                <c:pt idx="2201" formatCode="m/d/yyyy">
                  <c:v>39823</c:v>
                </c:pt>
                <c:pt idx="2202" formatCode="m/d/yyyy">
                  <c:v>39824</c:v>
                </c:pt>
                <c:pt idx="2203" formatCode="m/d/yyyy">
                  <c:v>39825</c:v>
                </c:pt>
                <c:pt idx="2204" formatCode="m/d/yyyy">
                  <c:v>39826</c:v>
                </c:pt>
                <c:pt idx="2205" formatCode="m/d/yyyy">
                  <c:v>39827</c:v>
                </c:pt>
                <c:pt idx="2206" formatCode="m/d/yyyy">
                  <c:v>39828</c:v>
                </c:pt>
                <c:pt idx="2207" formatCode="m/d/yyyy">
                  <c:v>39829</c:v>
                </c:pt>
                <c:pt idx="2208" formatCode="m/d/yyyy">
                  <c:v>39830</c:v>
                </c:pt>
                <c:pt idx="2209" formatCode="m/d/yyyy">
                  <c:v>39831</c:v>
                </c:pt>
                <c:pt idx="2210" formatCode="m/d/yyyy">
                  <c:v>39832</c:v>
                </c:pt>
                <c:pt idx="2211" formatCode="m/d/yyyy">
                  <c:v>39833</c:v>
                </c:pt>
                <c:pt idx="2212" formatCode="m/d/yyyy">
                  <c:v>39834</c:v>
                </c:pt>
                <c:pt idx="2213" formatCode="m/d/yyyy">
                  <c:v>39835</c:v>
                </c:pt>
                <c:pt idx="2214" formatCode="m/d/yyyy">
                  <c:v>39836</c:v>
                </c:pt>
                <c:pt idx="2215" formatCode="m/d/yyyy">
                  <c:v>39837</c:v>
                </c:pt>
                <c:pt idx="2216" formatCode="m/d/yyyy">
                  <c:v>39838</c:v>
                </c:pt>
                <c:pt idx="2217" formatCode="m/d/yyyy">
                  <c:v>39839</c:v>
                </c:pt>
                <c:pt idx="2218" formatCode="m/d/yyyy">
                  <c:v>39840</c:v>
                </c:pt>
                <c:pt idx="2219" formatCode="m/d/yyyy">
                  <c:v>39841</c:v>
                </c:pt>
                <c:pt idx="2220" formatCode="m/d/yyyy">
                  <c:v>39842</c:v>
                </c:pt>
                <c:pt idx="2221" formatCode="m/d/yyyy">
                  <c:v>39843</c:v>
                </c:pt>
                <c:pt idx="2222" formatCode="m/d/yyyy">
                  <c:v>39844</c:v>
                </c:pt>
                <c:pt idx="2223" formatCode="m/d/yyyy">
                  <c:v>39845</c:v>
                </c:pt>
                <c:pt idx="2224" formatCode="m/d/yyyy">
                  <c:v>39846</c:v>
                </c:pt>
                <c:pt idx="2225" formatCode="m/d/yyyy">
                  <c:v>39847</c:v>
                </c:pt>
                <c:pt idx="2226" formatCode="m/d/yyyy">
                  <c:v>39848</c:v>
                </c:pt>
                <c:pt idx="2227" formatCode="m/d/yyyy">
                  <c:v>39849</c:v>
                </c:pt>
                <c:pt idx="2228" formatCode="m/d/yyyy">
                  <c:v>39850</c:v>
                </c:pt>
                <c:pt idx="2229" formatCode="m/d/yyyy">
                  <c:v>39851</c:v>
                </c:pt>
                <c:pt idx="2230" formatCode="m/d/yyyy">
                  <c:v>39852</c:v>
                </c:pt>
                <c:pt idx="2231" formatCode="m/d/yyyy">
                  <c:v>39853</c:v>
                </c:pt>
                <c:pt idx="2232" formatCode="m/d/yyyy">
                  <c:v>39854</c:v>
                </c:pt>
                <c:pt idx="2233" formatCode="m/d/yyyy">
                  <c:v>39855</c:v>
                </c:pt>
                <c:pt idx="2234" formatCode="m/d/yyyy">
                  <c:v>39856</c:v>
                </c:pt>
                <c:pt idx="2235" formatCode="m/d/yyyy">
                  <c:v>39857</c:v>
                </c:pt>
                <c:pt idx="2236" formatCode="m/d/yyyy">
                  <c:v>39858</c:v>
                </c:pt>
                <c:pt idx="2237" formatCode="m/d/yyyy">
                  <c:v>39859</c:v>
                </c:pt>
                <c:pt idx="2238" formatCode="m/d/yyyy">
                  <c:v>39860</c:v>
                </c:pt>
                <c:pt idx="2239" formatCode="m/d/yyyy">
                  <c:v>39861</c:v>
                </c:pt>
                <c:pt idx="2240" formatCode="m/d/yyyy">
                  <c:v>39862</c:v>
                </c:pt>
                <c:pt idx="2241" formatCode="m/d/yyyy">
                  <c:v>39863</c:v>
                </c:pt>
                <c:pt idx="2242" formatCode="m/d/yyyy">
                  <c:v>39864</c:v>
                </c:pt>
                <c:pt idx="2243" formatCode="m/d/yyyy">
                  <c:v>39865</c:v>
                </c:pt>
                <c:pt idx="2244" formatCode="m/d/yyyy">
                  <c:v>39866</c:v>
                </c:pt>
                <c:pt idx="2245" formatCode="m/d/yyyy">
                  <c:v>39867</c:v>
                </c:pt>
                <c:pt idx="2246" formatCode="m/d/yyyy">
                  <c:v>39868</c:v>
                </c:pt>
                <c:pt idx="2247" formatCode="m/d/yyyy">
                  <c:v>39869</c:v>
                </c:pt>
                <c:pt idx="2248" formatCode="m/d/yyyy">
                  <c:v>39870</c:v>
                </c:pt>
                <c:pt idx="2249" formatCode="m/d/yyyy">
                  <c:v>39871</c:v>
                </c:pt>
                <c:pt idx="2250" formatCode="m/d/yyyy">
                  <c:v>39872</c:v>
                </c:pt>
                <c:pt idx="2251" formatCode="m/d/yyyy">
                  <c:v>39873</c:v>
                </c:pt>
                <c:pt idx="2252" formatCode="m/d/yyyy">
                  <c:v>39874</c:v>
                </c:pt>
                <c:pt idx="2253" formatCode="m/d/yyyy">
                  <c:v>39875</c:v>
                </c:pt>
                <c:pt idx="2254" formatCode="m/d/yyyy">
                  <c:v>39876</c:v>
                </c:pt>
                <c:pt idx="2255" formatCode="m/d/yyyy">
                  <c:v>39877</c:v>
                </c:pt>
                <c:pt idx="2256" formatCode="m/d/yyyy">
                  <c:v>39878</c:v>
                </c:pt>
                <c:pt idx="2257" formatCode="m/d/yyyy">
                  <c:v>39879</c:v>
                </c:pt>
                <c:pt idx="2258" formatCode="m/d/yyyy">
                  <c:v>39880</c:v>
                </c:pt>
                <c:pt idx="2259" formatCode="m/d/yyyy">
                  <c:v>39881</c:v>
                </c:pt>
                <c:pt idx="2260" formatCode="m/d/yyyy">
                  <c:v>39882</c:v>
                </c:pt>
                <c:pt idx="2261" formatCode="m/d/yyyy">
                  <c:v>39883</c:v>
                </c:pt>
                <c:pt idx="2262" formatCode="m/d/yyyy">
                  <c:v>39884</c:v>
                </c:pt>
                <c:pt idx="2263" formatCode="m/d/yyyy">
                  <c:v>39885</c:v>
                </c:pt>
                <c:pt idx="2264" formatCode="m/d/yyyy">
                  <c:v>39886</c:v>
                </c:pt>
                <c:pt idx="2265" formatCode="m/d/yyyy">
                  <c:v>39887</c:v>
                </c:pt>
                <c:pt idx="2266" formatCode="m/d/yyyy">
                  <c:v>39888</c:v>
                </c:pt>
                <c:pt idx="2267" formatCode="m/d/yyyy">
                  <c:v>39889</c:v>
                </c:pt>
                <c:pt idx="2268" formatCode="m/d/yyyy">
                  <c:v>39890</c:v>
                </c:pt>
                <c:pt idx="2269" formatCode="m/d/yyyy">
                  <c:v>39891</c:v>
                </c:pt>
                <c:pt idx="2270" formatCode="m/d/yyyy">
                  <c:v>39892</c:v>
                </c:pt>
                <c:pt idx="2271" formatCode="m/d/yyyy">
                  <c:v>39893</c:v>
                </c:pt>
                <c:pt idx="2272" formatCode="m/d/yyyy">
                  <c:v>39894</c:v>
                </c:pt>
                <c:pt idx="2273" formatCode="m/d/yyyy">
                  <c:v>39895</c:v>
                </c:pt>
                <c:pt idx="2274" formatCode="m/d/yyyy">
                  <c:v>39896</c:v>
                </c:pt>
                <c:pt idx="2275" formatCode="m/d/yyyy">
                  <c:v>39897</c:v>
                </c:pt>
                <c:pt idx="2276" formatCode="m/d/yyyy">
                  <c:v>39898</c:v>
                </c:pt>
                <c:pt idx="2277" formatCode="m/d/yyyy">
                  <c:v>39899</c:v>
                </c:pt>
                <c:pt idx="2278" formatCode="m/d/yyyy">
                  <c:v>39900</c:v>
                </c:pt>
                <c:pt idx="2279" formatCode="m/d/yyyy">
                  <c:v>39901</c:v>
                </c:pt>
                <c:pt idx="2280" formatCode="m/d/yyyy">
                  <c:v>39902</c:v>
                </c:pt>
                <c:pt idx="2281" formatCode="m/d/yyyy">
                  <c:v>39903</c:v>
                </c:pt>
                <c:pt idx="2282" formatCode="m/d/yyyy">
                  <c:v>39904</c:v>
                </c:pt>
                <c:pt idx="2283" formatCode="m/d/yyyy">
                  <c:v>39905</c:v>
                </c:pt>
                <c:pt idx="2284" formatCode="m/d/yyyy">
                  <c:v>39906</c:v>
                </c:pt>
                <c:pt idx="2285" formatCode="m/d/yyyy">
                  <c:v>39907</c:v>
                </c:pt>
                <c:pt idx="2286" formatCode="m/d/yyyy">
                  <c:v>39908</c:v>
                </c:pt>
                <c:pt idx="2287" formatCode="m/d/yyyy">
                  <c:v>39909</c:v>
                </c:pt>
                <c:pt idx="2288" formatCode="m/d/yyyy">
                  <c:v>39910</c:v>
                </c:pt>
                <c:pt idx="2289" formatCode="m/d/yyyy">
                  <c:v>39911</c:v>
                </c:pt>
                <c:pt idx="2290" formatCode="m/d/yyyy">
                  <c:v>39912</c:v>
                </c:pt>
                <c:pt idx="2291" formatCode="m/d/yyyy">
                  <c:v>39913</c:v>
                </c:pt>
                <c:pt idx="2292" formatCode="m/d/yyyy">
                  <c:v>39914</c:v>
                </c:pt>
                <c:pt idx="2293" formatCode="m/d/yyyy">
                  <c:v>39915</c:v>
                </c:pt>
                <c:pt idx="2294" formatCode="m/d/yyyy">
                  <c:v>39916</c:v>
                </c:pt>
                <c:pt idx="2295" formatCode="m/d/yyyy">
                  <c:v>39917</c:v>
                </c:pt>
                <c:pt idx="2296" formatCode="m/d/yyyy">
                  <c:v>39918</c:v>
                </c:pt>
                <c:pt idx="2297" formatCode="m/d/yyyy">
                  <c:v>39919</c:v>
                </c:pt>
                <c:pt idx="2298" formatCode="m/d/yyyy">
                  <c:v>39920</c:v>
                </c:pt>
                <c:pt idx="2299" formatCode="m/d/yyyy">
                  <c:v>39921</c:v>
                </c:pt>
                <c:pt idx="2300" formatCode="m/d/yyyy">
                  <c:v>39922</c:v>
                </c:pt>
                <c:pt idx="2301" formatCode="m/d/yyyy">
                  <c:v>39923</c:v>
                </c:pt>
                <c:pt idx="2302" formatCode="m/d/yyyy">
                  <c:v>39924</c:v>
                </c:pt>
                <c:pt idx="2303" formatCode="m/d/yyyy">
                  <c:v>39925</c:v>
                </c:pt>
                <c:pt idx="2304" formatCode="m/d/yyyy">
                  <c:v>39926</c:v>
                </c:pt>
                <c:pt idx="2305" formatCode="m/d/yyyy">
                  <c:v>39927</c:v>
                </c:pt>
                <c:pt idx="2306" formatCode="m/d/yyyy">
                  <c:v>39928</c:v>
                </c:pt>
                <c:pt idx="2307" formatCode="m/d/yyyy">
                  <c:v>39929</c:v>
                </c:pt>
                <c:pt idx="2308" formatCode="m/d/yyyy">
                  <c:v>39930</c:v>
                </c:pt>
                <c:pt idx="2309" formatCode="m/d/yyyy">
                  <c:v>39931</c:v>
                </c:pt>
                <c:pt idx="2310" formatCode="m/d/yyyy">
                  <c:v>39932</c:v>
                </c:pt>
                <c:pt idx="2311" formatCode="m/d/yyyy">
                  <c:v>39933</c:v>
                </c:pt>
                <c:pt idx="2312" formatCode="m/d/yyyy">
                  <c:v>39934</c:v>
                </c:pt>
                <c:pt idx="2313" formatCode="m/d/yyyy">
                  <c:v>39935</c:v>
                </c:pt>
                <c:pt idx="2314" formatCode="m/d/yyyy">
                  <c:v>39936</c:v>
                </c:pt>
                <c:pt idx="2315" formatCode="m/d/yyyy">
                  <c:v>39937</c:v>
                </c:pt>
                <c:pt idx="2316" formatCode="m/d/yyyy">
                  <c:v>39938</c:v>
                </c:pt>
                <c:pt idx="2317" formatCode="m/d/yyyy">
                  <c:v>39939</c:v>
                </c:pt>
                <c:pt idx="2318" formatCode="m/d/yyyy">
                  <c:v>39940</c:v>
                </c:pt>
                <c:pt idx="2319" formatCode="m/d/yyyy">
                  <c:v>39941</c:v>
                </c:pt>
                <c:pt idx="2320" formatCode="m/d/yyyy">
                  <c:v>39942</c:v>
                </c:pt>
                <c:pt idx="2321" formatCode="m/d/yyyy">
                  <c:v>39943</c:v>
                </c:pt>
                <c:pt idx="2322" formatCode="m/d/yyyy">
                  <c:v>39944</c:v>
                </c:pt>
                <c:pt idx="2323" formatCode="m/d/yyyy">
                  <c:v>39945</c:v>
                </c:pt>
                <c:pt idx="2324" formatCode="m/d/yyyy">
                  <c:v>39946</c:v>
                </c:pt>
                <c:pt idx="2325" formatCode="m/d/yyyy">
                  <c:v>39947</c:v>
                </c:pt>
                <c:pt idx="2326" formatCode="m/d/yyyy">
                  <c:v>39948</c:v>
                </c:pt>
                <c:pt idx="2327" formatCode="m/d/yyyy">
                  <c:v>39949</c:v>
                </c:pt>
                <c:pt idx="2328" formatCode="m/d/yyyy">
                  <c:v>39950</c:v>
                </c:pt>
                <c:pt idx="2329" formatCode="m/d/yyyy">
                  <c:v>39951</c:v>
                </c:pt>
                <c:pt idx="2330" formatCode="m/d/yyyy">
                  <c:v>39952</c:v>
                </c:pt>
                <c:pt idx="2331" formatCode="m/d/yyyy">
                  <c:v>39953</c:v>
                </c:pt>
                <c:pt idx="2332" formatCode="m/d/yyyy">
                  <c:v>39954</c:v>
                </c:pt>
                <c:pt idx="2333" formatCode="m/d/yyyy">
                  <c:v>39955</c:v>
                </c:pt>
                <c:pt idx="2334" formatCode="m/d/yyyy">
                  <c:v>39956</c:v>
                </c:pt>
                <c:pt idx="2335" formatCode="m/d/yyyy">
                  <c:v>39957</c:v>
                </c:pt>
                <c:pt idx="2336" formatCode="m/d/yyyy">
                  <c:v>39958</c:v>
                </c:pt>
                <c:pt idx="2337" formatCode="m/d/yyyy">
                  <c:v>39959</c:v>
                </c:pt>
                <c:pt idx="2338" formatCode="m/d/yyyy">
                  <c:v>39960</c:v>
                </c:pt>
                <c:pt idx="2339" formatCode="m/d/yyyy">
                  <c:v>39961</c:v>
                </c:pt>
                <c:pt idx="2340" formatCode="m/d/yyyy">
                  <c:v>39962</c:v>
                </c:pt>
                <c:pt idx="2341" formatCode="m/d/yyyy">
                  <c:v>39963</c:v>
                </c:pt>
                <c:pt idx="2342" formatCode="m/d/yyyy">
                  <c:v>39964</c:v>
                </c:pt>
                <c:pt idx="2343" formatCode="m/d/yyyy">
                  <c:v>39965</c:v>
                </c:pt>
                <c:pt idx="2344" formatCode="m/d/yyyy">
                  <c:v>39966</c:v>
                </c:pt>
                <c:pt idx="2345" formatCode="m/d/yyyy">
                  <c:v>39967</c:v>
                </c:pt>
                <c:pt idx="2346" formatCode="m/d/yyyy">
                  <c:v>39968</c:v>
                </c:pt>
                <c:pt idx="2347" formatCode="m/d/yyyy">
                  <c:v>39969</c:v>
                </c:pt>
                <c:pt idx="2348" formatCode="m/d/yyyy">
                  <c:v>39970</c:v>
                </c:pt>
                <c:pt idx="2349" formatCode="m/d/yyyy">
                  <c:v>39971</c:v>
                </c:pt>
                <c:pt idx="2350" formatCode="m/d/yyyy">
                  <c:v>39972</c:v>
                </c:pt>
                <c:pt idx="2351" formatCode="m/d/yyyy">
                  <c:v>39973</c:v>
                </c:pt>
                <c:pt idx="2352" formatCode="m/d/yyyy">
                  <c:v>39974</c:v>
                </c:pt>
                <c:pt idx="2353" formatCode="m/d/yyyy">
                  <c:v>39975</c:v>
                </c:pt>
                <c:pt idx="2354" formatCode="m/d/yyyy">
                  <c:v>39976</c:v>
                </c:pt>
                <c:pt idx="2355" formatCode="m/d/yyyy">
                  <c:v>39977</c:v>
                </c:pt>
                <c:pt idx="2356" formatCode="m/d/yyyy">
                  <c:v>39978</c:v>
                </c:pt>
                <c:pt idx="2357" formatCode="m/d/yyyy">
                  <c:v>39979</c:v>
                </c:pt>
                <c:pt idx="2358" formatCode="m/d/yyyy">
                  <c:v>39980</c:v>
                </c:pt>
                <c:pt idx="2359" formatCode="m/d/yyyy">
                  <c:v>39981</c:v>
                </c:pt>
                <c:pt idx="2360" formatCode="m/d/yyyy">
                  <c:v>39982</c:v>
                </c:pt>
                <c:pt idx="2361" formatCode="m/d/yyyy">
                  <c:v>39983</c:v>
                </c:pt>
                <c:pt idx="2362" formatCode="m/d/yyyy">
                  <c:v>39984</c:v>
                </c:pt>
                <c:pt idx="2363" formatCode="m/d/yyyy">
                  <c:v>39985</c:v>
                </c:pt>
                <c:pt idx="2364" formatCode="m/d/yyyy">
                  <c:v>39986</c:v>
                </c:pt>
                <c:pt idx="2365" formatCode="m/d/yyyy">
                  <c:v>39987</c:v>
                </c:pt>
                <c:pt idx="2366" formatCode="m/d/yyyy">
                  <c:v>39988</c:v>
                </c:pt>
                <c:pt idx="2367" formatCode="m/d/yyyy">
                  <c:v>39989</c:v>
                </c:pt>
                <c:pt idx="2368" formatCode="m/d/yyyy">
                  <c:v>39990</c:v>
                </c:pt>
                <c:pt idx="2369" formatCode="m/d/yyyy">
                  <c:v>39991</c:v>
                </c:pt>
                <c:pt idx="2370" formatCode="m/d/yyyy">
                  <c:v>39992</c:v>
                </c:pt>
                <c:pt idx="2371" formatCode="m/d/yyyy">
                  <c:v>39993</c:v>
                </c:pt>
                <c:pt idx="2372" formatCode="m/d/yyyy">
                  <c:v>39994</c:v>
                </c:pt>
                <c:pt idx="2373" formatCode="m/d/yyyy">
                  <c:v>39995</c:v>
                </c:pt>
                <c:pt idx="2374" formatCode="m/d/yyyy">
                  <c:v>39996</c:v>
                </c:pt>
                <c:pt idx="2375" formatCode="m/d/yyyy">
                  <c:v>39997</c:v>
                </c:pt>
                <c:pt idx="2376" formatCode="m/d/yyyy">
                  <c:v>39998</c:v>
                </c:pt>
                <c:pt idx="2377" formatCode="m/d/yyyy">
                  <c:v>39999</c:v>
                </c:pt>
                <c:pt idx="2378" formatCode="m/d/yyyy">
                  <c:v>40000</c:v>
                </c:pt>
                <c:pt idx="2379" formatCode="m/d/yyyy">
                  <c:v>40001</c:v>
                </c:pt>
                <c:pt idx="2380" formatCode="m/d/yyyy">
                  <c:v>40002</c:v>
                </c:pt>
                <c:pt idx="2381" formatCode="m/d/yyyy">
                  <c:v>40003</c:v>
                </c:pt>
                <c:pt idx="2382" formatCode="m/d/yyyy">
                  <c:v>40004</c:v>
                </c:pt>
                <c:pt idx="2383" formatCode="m/d/yyyy">
                  <c:v>40005</c:v>
                </c:pt>
                <c:pt idx="2384" formatCode="m/d/yyyy">
                  <c:v>40006</c:v>
                </c:pt>
                <c:pt idx="2385" formatCode="m/d/yyyy">
                  <c:v>40007</c:v>
                </c:pt>
                <c:pt idx="2386" formatCode="m/d/yyyy">
                  <c:v>40008</c:v>
                </c:pt>
                <c:pt idx="2387" formatCode="m/d/yyyy">
                  <c:v>40009</c:v>
                </c:pt>
                <c:pt idx="2388" formatCode="m/d/yyyy">
                  <c:v>40010</c:v>
                </c:pt>
                <c:pt idx="2389" formatCode="m/d/yyyy">
                  <c:v>40011</c:v>
                </c:pt>
                <c:pt idx="2390" formatCode="m/d/yyyy">
                  <c:v>40012</c:v>
                </c:pt>
                <c:pt idx="2391" formatCode="m/d/yyyy">
                  <c:v>40013</c:v>
                </c:pt>
                <c:pt idx="2392" formatCode="m/d/yyyy">
                  <c:v>40014</c:v>
                </c:pt>
                <c:pt idx="2393" formatCode="m/d/yyyy">
                  <c:v>40015</c:v>
                </c:pt>
                <c:pt idx="2394" formatCode="m/d/yyyy">
                  <c:v>40016</c:v>
                </c:pt>
                <c:pt idx="2395" formatCode="m/d/yyyy">
                  <c:v>40017</c:v>
                </c:pt>
                <c:pt idx="2396" formatCode="m/d/yyyy">
                  <c:v>40018</c:v>
                </c:pt>
                <c:pt idx="2397" formatCode="m/d/yyyy">
                  <c:v>40019</c:v>
                </c:pt>
                <c:pt idx="2398" formatCode="m/d/yyyy">
                  <c:v>40020</c:v>
                </c:pt>
                <c:pt idx="2399" formatCode="m/d/yyyy">
                  <c:v>40021</c:v>
                </c:pt>
                <c:pt idx="2400" formatCode="m/d/yyyy">
                  <c:v>40022</c:v>
                </c:pt>
                <c:pt idx="2401" formatCode="m/d/yyyy">
                  <c:v>40023</c:v>
                </c:pt>
                <c:pt idx="2402" formatCode="m/d/yyyy">
                  <c:v>40024</c:v>
                </c:pt>
                <c:pt idx="2403" formatCode="m/d/yyyy">
                  <c:v>40025</c:v>
                </c:pt>
                <c:pt idx="2404" formatCode="m/d/yyyy">
                  <c:v>40026</c:v>
                </c:pt>
                <c:pt idx="2405" formatCode="m/d/yyyy">
                  <c:v>40027</c:v>
                </c:pt>
                <c:pt idx="2406" formatCode="m/d/yyyy">
                  <c:v>40028</c:v>
                </c:pt>
                <c:pt idx="2407" formatCode="m/d/yyyy">
                  <c:v>40029</c:v>
                </c:pt>
                <c:pt idx="2408" formatCode="m/d/yyyy">
                  <c:v>40030</c:v>
                </c:pt>
                <c:pt idx="2409" formatCode="m/d/yyyy">
                  <c:v>40031</c:v>
                </c:pt>
                <c:pt idx="2410" formatCode="m/d/yyyy">
                  <c:v>40032</c:v>
                </c:pt>
                <c:pt idx="2411" formatCode="m/d/yyyy">
                  <c:v>40033</c:v>
                </c:pt>
                <c:pt idx="2412" formatCode="m/d/yyyy">
                  <c:v>40034</c:v>
                </c:pt>
                <c:pt idx="2413" formatCode="m/d/yyyy">
                  <c:v>40035</c:v>
                </c:pt>
                <c:pt idx="2414" formatCode="m/d/yyyy">
                  <c:v>40036</c:v>
                </c:pt>
                <c:pt idx="2415" formatCode="m/d/yyyy">
                  <c:v>40037</c:v>
                </c:pt>
                <c:pt idx="2416" formatCode="m/d/yyyy">
                  <c:v>40038</c:v>
                </c:pt>
                <c:pt idx="2417" formatCode="m/d/yyyy">
                  <c:v>40039</c:v>
                </c:pt>
                <c:pt idx="2418" formatCode="m/d/yyyy">
                  <c:v>40040</c:v>
                </c:pt>
                <c:pt idx="2419" formatCode="m/d/yyyy">
                  <c:v>40041</c:v>
                </c:pt>
                <c:pt idx="2420" formatCode="m/d/yyyy">
                  <c:v>40042</c:v>
                </c:pt>
                <c:pt idx="2421" formatCode="m/d/yyyy">
                  <c:v>40043</c:v>
                </c:pt>
                <c:pt idx="2422" formatCode="m/d/yyyy">
                  <c:v>40044</c:v>
                </c:pt>
                <c:pt idx="2423" formatCode="m/d/yyyy">
                  <c:v>40045</c:v>
                </c:pt>
                <c:pt idx="2424" formatCode="m/d/yyyy">
                  <c:v>40046</c:v>
                </c:pt>
                <c:pt idx="2425" formatCode="m/d/yyyy">
                  <c:v>40047</c:v>
                </c:pt>
                <c:pt idx="2426" formatCode="m/d/yyyy">
                  <c:v>40048</c:v>
                </c:pt>
                <c:pt idx="2427" formatCode="m/d/yyyy">
                  <c:v>40049</c:v>
                </c:pt>
                <c:pt idx="2428" formatCode="m/d/yyyy">
                  <c:v>40050</c:v>
                </c:pt>
                <c:pt idx="2429" formatCode="m/d/yyyy">
                  <c:v>40051</c:v>
                </c:pt>
                <c:pt idx="2430" formatCode="m/d/yyyy">
                  <c:v>40052</c:v>
                </c:pt>
                <c:pt idx="2431" formatCode="m/d/yyyy">
                  <c:v>40053</c:v>
                </c:pt>
                <c:pt idx="2432" formatCode="m/d/yyyy">
                  <c:v>40054</c:v>
                </c:pt>
                <c:pt idx="2433" formatCode="m/d/yyyy">
                  <c:v>40055</c:v>
                </c:pt>
                <c:pt idx="2434" formatCode="m/d/yyyy">
                  <c:v>40056</c:v>
                </c:pt>
                <c:pt idx="2435" formatCode="m/d/yyyy">
                  <c:v>40057</c:v>
                </c:pt>
                <c:pt idx="2436" formatCode="m/d/yyyy">
                  <c:v>40058</c:v>
                </c:pt>
                <c:pt idx="2437" formatCode="m/d/yyyy">
                  <c:v>40059</c:v>
                </c:pt>
                <c:pt idx="2438" formatCode="m/d/yyyy">
                  <c:v>40060</c:v>
                </c:pt>
                <c:pt idx="2439" formatCode="m/d/yyyy">
                  <c:v>40061</c:v>
                </c:pt>
                <c:pt idx="2440" formatCode="m/d/yyyy">
                  <c:v>40062</c:v>
                </c:pt>
                <c:pt idx="2441" formatCode="m/d/yyyy">
                  <c:v>40063</c:v>
                </c:pt>
                <c:pt idx="2442" formatCode="m/d/yyyy">
                  <c:v>40064</c:v>
                </c:pt>
                <c:pt idx="2443" formatCode="m/d/yyyy">
                  <c:v>40065</c:v>
                </c:pt>
                <c:pt idx="2444" formatCode="m/d/yyyy">
                  <c:v>40066</c:v>
                </c:pt>
                <c:pt idx="2445" formatCode="m/d/yyyy">
                  <c:v>40067</c:v>
                </c:pt>
                <c:pt idx="2446" formatCode="m/d/yyyy">
                  <c:v>40068</c:v>
                </c:pt>
                <c:pt idx="2447" formatCode="m/d/yyyy">
                  <c:v>40069</c:v>
                </c:pt>
                <c:pt idx="2448" formatCode="m/d/yyyy">
                  <c:v>40070</c:v>
                </c:pt>
                <c:pt idx="2449" formatCode="m/d/yyyy">
                  <c:v>40071</c:v>
                </c:pt>
                <c:pt idx="2450" formatCode="m/d/yyyy">
                  <c:v>40072</c:v>
                </c:pt>
                <c:pt idx="2451" formatCode="m/d/yyyy">
                  <c:v>40073</c:v>
                </c:pt>
                <c:pt idx="2452" formatCode="m/d/yyyy">
                  <c:v>40074</c:v>
                </c:pt>
                <c:pt idx="2453" formatCode="m/d/yyyy">
                  <c:v>40075</c:v>
                </c:pt>
                <c:pt idx="2454" formatCode="m/d/yyyy">
                  <c:v>40076</c:v>
                </c:pt>
                <c:pt idx="2455" formatCode="m/d/yyyy">
                  <c:v>40077</c:v>
                </c:pt>
                <c:pt idx="2456" formatCode="m/d/yyyy">
                  <c:v>40078</c:v>
                </c:pt>
                <c:pt idx="2457" formatCode="m/d/yyyy">
                  <c:v>40079</c:v>
                </c:pt>
                <c:pt idx="2458" formatCode="m/d/yyyy">
                  <c:v>40080</c:v>
                </c:pt>
                <c:pt idx="2459" formatCode="m/d/yyyy">
                  <c:v>40081</c:v>
                </c:pt>
                <c:pt idx="2460" formatCode="m/d/yyyy">
                  <c:v>40082</c:v>
                </c:pt>
                <c:pt idx="2461" formatCode="m/d/yyyy">
                  <c:v>40083</c:v>
                </c:pt>
                <c:pt idx="2462" formatCode="m/d/yyyy">
                  <c:v>40084</c:v>
                </c:pt>
                <c:pt idx="2463" formatCode="m/d/yyyy">
                  <c:v>40085</c:v>
                </c:pt>
                <c:pt idx="2464" formatCode="m/d/yyyy">
                  <c:v>40086</c:v>
                </c:pt>
                <c:pt idx="2465" formatCode="m/d/yyyy">
                  <c:v>40087</c:v>
                </c:pt>
                <c:pt idx="2466" formatCode="m/d/yyyy">
                  <c:v>40088</c:v>
                </c:pt>
                <c:pt idx="2467" formatCode="m/d/yyyy">
                  <c:v>40089</c:v>
                </c:pt>
                <c:pt idx="2468" formatCode="m/d/yyyy">
                  <c:v>40090</c:v>
                </c:pt>
                <c:pt idx="2469" formatCode="m/d/yyyy">
                  <c:v>40091</c:v>
                </c:pt>
                <c:pt idx="2470" formatCode="m/d/yyyy">
                  <c:v>40092</c:v>
                </c:pt>
                <c:pt idx="2471" formatCode="m/d/yyyy">
                  <c:v>40093</c:v>
                </c:pt>
                <c:pt idx="2472" formatCode="m/d/yyyy">
                  <c:v>40094</c:v>
                </c:pt>
                <c:pt idx="2473" formatCode="m/d/yyyy">
                  <c:v>40095</c:v>
                </c:pt>
                <c:pt idx="2474" formatCode="m/d/yyyy">
                  <c:v>40096</c:v>
                </c:pt>
                <c:pt idx="2475" formatCode="m/d/yyyy">
                  <c:v>40097</c:v>
                </c:pt>
                <c:pt idx="2476" formatCode="m/d/yyyy">
                  <c:v>40098</c:v>
                </c:pt>
                <c:pt idx="2477" formatCode="m/d/yyyy">
                  <c:v>40099</c:v>
                </c:pt>
                <c:pt idx="2478" formatCode="m/d/yyyy">
                  <c:v>40100</c:v>
                </c:pt>
                <c:pt idx="2479" formatCode="m/d/yyyy">
                  <c:v>40101</c:v>
                </c:pt>
                <c:pt idx="2480" formatCode="m/d/yyyy">
                  <c:v>40102</c:v>
                </c:pt>
                <c:pt idx="2481" formatCode="m/d/yyyy">
                  <c:v>40103</c:v>
                </c:pt>
                <c:pt idx="2482" formatCode="m/d/yyyy">
                  <c:v>40104</c:v>
                </c:pt>
                <c:pt idx="2483" formatCode="m/d/yyyy">
                  <c:v>40105</c:v>
                </c:pt>
                <c:pt idx="2484" formatCode="m/d/yyyy">
                  <c:v>40106</c:v>
                </c:pt>
                <c:pt idx="2485" formatCode="m/d/yyyy">
                  <c:v>40107</c:v>
                </c:pt>
                <c:pt idx="2486" formatCode="m/d/yyyy">
                  <c:v>40108</c:v>
                </c:pt>
                <c:pt idx="2487" formatCode="m/d/yyyy">
                  <c:v>40109</c:v>
                </c:pt>
                <c:pt idx="2488" formatCode="m/d/yyyy">
                  <c:v>40110</c:v>
                </c:pt>
                <c:pt idx="2489" formatCode="m/d/yyyy">
                  <c:v>40111</c:v>
                </c:pt>
                <c:pt idx="2490" formatCode="m/d/yyyy">
                  <c:v>40112</c:v>
                </c:pt>
                <c:pt idx="2491" formatCode="m/d/yyyy">
                  <c:v>40113</c:v>
                </c:pt>
                <c:pt idx="2492" formatCode="m/d/yyyy">
                  <c:v>40114</c:v>
                </c:pt>
                <c:pt idx="2493" formatCode="m/d/yyyy">
                  <c:v>40115</c:v>
                </c:pt>
                <c:pt idx="2494" formatCode="m/d/yyyy">
                  <c:v>40116</c:v>
                </c:pt>
                <c:pt idx="2495" formatCode="m/d/yyyy">
                  <c:v>40117</c:v>
                </c:pt>
                <c:pt idx="2496" formatCode="m/d/yyyy">
                  <c:v>40118</c:v>
                </c:pt>
                <c:pt idx="2497" formatCode="m/d/yyyy">
                  <c:v>40119</c:v>
                </c:pt>
                <c:pt idx="2498" formatCode="m/d/yyyy">
                  <c:v>40120</c:v>
                </c:pt>
                <c:pt idx="2499" formatCode="m/d/yyyy">
                  <c:v>40121</c:v>
                </c:pt>
                <c:pt idx="2500" formatCode="m/d/yyyy">
                  <c:v>40122</c:v>
                </c:pt>
                <c:pt idx="2501" formatCode="m/d/yyyy">
                  <c:v>40123</c:v>
                </c:pt>
                <c:pt idx="2502" formatCode="m/d/yyyy">
                  <c:v>40124</c:v>
                </c:pt>
                <c:pt idx="2503" formatCode="m/d/yyyy">
                  <c:v>40125</c:v>
                </c:pt>
                <c:pt idx="2504" formatCode="m/d/yyyy">
                  <c:v>40126</c:v>
                </c:pt>
                <c:pt idx="2505" formatCode="m/d/yyyy">
                  <c:v>40127</c:v>
                </c:pt>
                <c:pt idx="2506" formatCode="m/d/yyyy">
                  <c:v>40128</c:v>
                </c:pt>
                <c:pt idx="2507" formatCode="m/d/yyyy">
                  <c:v>40129</c:v>
                </c:pt>
                <c:pt idx="2508" formatCode="m/d/yyyy">
                  <c:v>40130</c:v>
                </c:pt>
                <c:pt idx="2509" formatCode="m/d/yyyy">
                  <c:v>40131</c:v>
                </c:pt>
                <c:pt idx="2510" formatCode="m/d/yyyy">
                  <c:v>40132</c:v>
                </c:pt>
                <c:pt idx="2511" formatCode="m/d/yyyy">
                  <c:v>40133</c:v>
                </c:pt>
                <c:pt idx="2512" formatCode="m/d/yyyy">
                  <c:v>40134</c:v>
                </c:pt>
                <c:pt idx="2513" formatCode="m/d/yyyy">
                  <c:v>40135</c:v>
                </c:pt>
                <c:pt idx="2514" formatCode="m/d/yyyy">
                  <c:v>40136</c:v>
                </c:pt>
                <c:pt idx="2515" formatCode="m/d/yyyy">
                  <c:v>40137</c:v>
                </c:pt>
                <c:pt idx="2516" formatCode="m/d/yyyy">
                  <c:v>40138</c:v>
                </c:pt>
                <c:pt idx="2517" formatCode="m/d/yyyy">
                  <c:v>40139</c:v>
                </c:pt>
                <c:pt idx="2518" formatCode="m/d/yyyy">
                  <c:v>40140</c:v>
                </c:pt>
                <c:pt idx="2519" formatCode="m/d/yyyy">
                  <c:v>40141</c:v>
                </c:pt>
                <c:pt idx="2520" formatCode="m/d/yyyy">
                  <c:v>40142</c:v>
                </c:pt>
                <c:pt idx="2521" formatCode="m/d/yyyy">
                  <c:v>40143</c:v>
                </c:pt>
                <c:pt idx="2522" formatCode="m/d/yyyy">
                  <c:v>40144</c:v>
                </c:pt>
                <c:pt idx="2523" formatCode="m/d/yyyy">
                  <c:v>40145</c:v>
                </c:pt>
                <c:pt idx="2524" formatCode="m/d/yyyy">
                  <c:v>40146</c:v>
                </c:pt>
                <c:pt idx="2525" formatCode="m/d/yyyy">
                  <c:v>40147</c:v>
                </c:pt>
                <c:pt idx="2526" formatCode="m/d/yyyy">
                  <c:v>40148</c:v>
                </c:pt>
                <c:pt idx="2527" formatCode="m/d/yyyy">
                  <c:v>40149</c:v>
                </c:pt>
                <c:pt idx="2528" formatCode="m/d/yyyy">
                  <c:v>40150</c:v>
                </c:pt>
                <c:pt idx="2529" formatCode="m/d/yyyy">
                  <c:v>40151</c:v>
                </c:pt>
                <c:pt idx="2530" formatCode="m/d/yyyy">
                  <c:v>40152</c:v>
                </c:pt>
                <c:pt idx="2531" formatCode="m/d/yyyy">
                  <c:v>40153</c:v>
                </c:pt>
                <c:pt idx="2532" formatCode="m/d/yyyy">
                  <c:v>40154</c:v>
                </c:pt>
                <c:pt idx="2533" formatCode="m/d/yyyy">
                  <c:v>40155</c:v>
                </c:pt>
                <c:pt idx="2534" formatCode="m/d/yyyy">
                  <c:v>40156</c:v>
                </c:pt>
                <c:pt idx="2535" formatCode="m/d/yyyy">
                  <c:v>40157</c:v>
                </c:pt>
                <c:pt idx="2536" formatCode="m/d/yyyy">
                  <c:v>40158</c:v>
                </c:pt>
                <c:pt idx="2537" formatCode="m/d/yyyy">
                  <c:v>40159</c:v>
                </c:pt>
                <c:pt idx="2538" formatCode="m/d/yyyy">
                  <c:v>40160</c:v>
                </c:pt>
                <c:pt idx="2539" formatCode="m/d/yyyy">
                  <c:v>40161</c:v>
                </c:pt>
                <c:pt idx="2540" formatCode="m/d/yyyy">
                  <c:v>40162</c:v>
                </c:pt>
                <c:pt idx="2541" formatCode="m/d/yyyy">
                  <c:v>40163</c:v>
                </c:pt>
                <c:pt idx="2542" formatCode="m/d/yyyy">
                  <c:v>40164</c:v>
                </c:pt>
                <c:pt idx="2543" formatCode="m/d/yyyy">
                  <c:v>40165</c:v>
                </c:pt>
                <c:pt idx="2544" formatCode="m/d/yyyy">
                  <c:v>40166</c:v>
                </c:pt>
                <c:pt idx="2545" formatCode="m/d/yyyy">
                  <c:v>40167</c:v>
                </c:pt>
                <c:pt idx="2546" formatCode="m/d/yyyy">
                  <c:v>40168</c:v>
                </c:pt>
                <c:pt idx="2547" formatCode="m/d/yyyy">
                  <c:v>40169</c:v>
                </c:pt>
                <c:pt idx="2548" formatCode="m/d/yyyy">
                  <c:v>40170</c:v>
                </c:pt>
                <c:pt idx="2549" formatCode="m/d/yyyy">
                  <c:v>40171</c:v>
                </c:pt>
                <c:pt idx="2550" formatCode="m/d/yyyy">
                  <c:v>40172</c:v>
                </c:pt>
                <c:pt idx="2551" formatCode="m/d/yyyy">
                  <c:v>40173</c:v>
                </c:pt>
                <c:pt idx="2552" formatCode="m/d/yyyy">
                  <c:v>40174</c:v>
                </c:pt>
                <c:pt idx="2553" formatCode="m/d/yyyy">
                  <c:v>40175</c:v>
                </c:pt>
                <c:pt idx="2554" formatCode="m/d/yyyy">
                  <c:v>40176</c:v>
                </c:pt>
                <c:pt idx="2555" formatCode="m/d/yyyy">
                  <c:v>40177</c:v>
                </c:pt>
                <c:pt idx="2556" formatCode="m/d/yyyy">
                  <c:v>40178</c:v>
                </c:pt>
                <c:pt idx="2557" formatCode="m/d/yyyy">
                  <c:v>40179</c:v>
                </c:pt>
                <c:pt idx="2558" formatCode="m/d/yyyy">
                  <c:v>40180</c:v>
                </c:pt>
                <c:pt idx="2559" formatCode="m/d/yyyy">
                  <c:v>40181</c:v>
                </c:pt>
                <c:pt idx="2560" formatCode="m/d/yyyy">
                  <c:v>40182</c:v>
                </c:pt>
                <c:pt idx="2561" formatCode="m/d/yyyy">
                  <c:v>40183</c:v>
                </c:pt>
                <c:pt idx="2562" formatCode="m/d/yyyy">
                  <c:v>40184</c:v>
                </c:pt>
                <c:pt idx="2563" formatCode="m/d/yyyy">
                  <c:v>40185</c:v>
                </c:pt>
                <c:pt idx="2564" formatCode="m/d/yyyy">
                  <c:v>40186</c:v>
                </c:pt>
                <c:pt idx="2565" formatCode="m/d/yyyy">
                  <c:v>40187</c:v>
                </c:pt>
                <c:pt idx="2566" formatCode="m/d/yyyy">
                  <c:v>40188</c:v>
                </c:pt>
                <c:pt idx="2567" formatCode="m/d/yyyy">
                  <c:v>40189</c:v>
                </c:pt>
                <c:pt idx="2568" formatCode="m/d/yyyy">
                  <c:v>40190</c:v>
                </c:pt>
                <c:pt idx="2569" formatCode="m/d/yyyy">
                  <c:v>40191</c:v>
                </c:pt>
                <c:pt idx="2570" formatCode="m/d/yyyy">
                  <c:v>40192</c:v>
                </c:pt>
                <c:pt idx="2571" formatCode="m/d/yyyy">
                  <c:v>40193</c:v>
                </c:pt>
                <c:pt idx="2572" formatCode="m/d/yyyy">
                  <c:v>40194</c:v>
                </c:pt>
                <c:pt idx="2573" formatCode="m/d/yyyy">
                  <c:v>40195</c:v>
                </c:pt>
                <c:pt idx="2574" formatCode="m/d/yyyy">
                  <c:v>40196</c:v>
                </c:pt>
                <c:pt idx="2575" formatCode="m/d/yyyy">
                  <c:v>40197</c:v>
                </c:pt>
                <c:pt idx="2576" formatCode="m/d/yyyy">
                  <c:v>40198</c:v>
                </c:pt>
                <c:pt idx="2577" formatCode="m/d/yyyy">
                  <c:v>40199</c:v>
                </c:pt>
                <c:pt idx="2578" formatCode="m/d/yyyy">
                  <c:v>40200</c:v>
                </c:pt>
                <c:pt idx="2579" formatCode="m/d/yyyy">
                  <c:v>40201</c:v>
                </c:pt>
                <c:pt idx="2580" formatCode="m/d/yyyy">
                  <c:v>40202</c:v>
                </c:pt>
                <c:pt idx="2581" formatCode="m/d/yyyy">
                  <c:v>40203</c:v>
                </c:pt>
                <c:pt idx="2582" formatCode="m/d/yyyy">
                  <c:v>40204</c:v>
                </c:pt>
                <c:pt idx="2583" formatCode="m/d/yyyy">
                  <c:v>40205</c:v>
                </c:pt>
                <c:pt idx="2584" formatCode="m/d/yyyy">
                  <c:v>40206</c:v>
                </c:pt>
                <c:pt idx="2585" formatCode="m/d/yyyy">
                  <c:v>40207</c:v>
                </c:pt>
                <c:pt idx="2586" formatCode="m/d/yyyy">
                  <c:v>40208</c:v>
                </c:pt>
                <c:pt idx="2587" formatCode="m/d/yyyy">
                  <c:v>40209</c:v>
                </c:pt>
                <c:pt idx="2588" formatCode="m/d/yyyy">
                  <c:v>40210</c:v>
                </c:pt>
                <c:pt idx="2589" formatCode="m/d/yyyy">
                  <c:v>40211</c:v>
                </c:pt>
                <c:pt idx="2590" formatCode="m/d/yyyy">
                  <c:v>40212</c:v>
                </c:pt>
                <c:pt idx="2591" formatCode="m/d/yyyy">
                  <c:v>40213</c:v>
                </c:pt>
                <c:pt idx="2592" formatCode="m/d/yyyy">
                  <c:v>40214</c:v>
                </c:pt>
                <c:pt idx="2593" formatCode="m/d/yyyy">
                  <c:v>40215</c:v>
                </c:pt>
                <c:pt idx="2594" formatCode="m/d/yyyy">
                  <c:v>40216</c:v>
                </c:pt>
                <c:pt idx="2595" formatCode="m/d/yyyy">
                  <c:v>40217</c:v>
                </c:pt>
                <c:pt idx="2596" formatCode="m/d/yyyy">
                  <c:v>40218</c:v>
                </c:pt>
                <c:pt idx="2597" formatCode="m/d/yyyy">
                  <c:v>40219</c:v>
                </c:pt>
                <c:pt idx="2598" formatCode="m/d/yyyy">
                  <c:v>40220</c:v>
                </c:pt>
                <c:pt idx="2599" formatCode="m/d/yyyy">
                  <c:v>40221</c:v>
                </c:pt>
                <c:pt idx="2600" formatCode="m/d/yyyy">
                  <c:v>40222</c:v>
                </c:pt>
                <c:pt idx="2601" formatCode="m/d/yyyy">
                  <c:v>40223</c:v>
                </c:pt>
                <c:pt idx="2602" formatCode="m/d/yyyy">
                  <c:v>40224</c:v>
                </c:pt>
                <c:pt idx="2603" formatCode="m/d/yyyy">
                  <c:v>40225</c:v>
                </c:pt>
                <c:pt idx="2604" formatCode="m/d/yyyy">
                  <c:v>40226</c:v>
                </c:pt>
                <c:pt idx="2605" formatCode="m/d/yyyy">
                  <c:v>40227</c:v>
                </c:pt>
                <c:pt idx="2606" formatCode="m/d/yyyy">
                  <c:v>40228</c:v>
                </c:pt>
                <c:pt idx="2607" formatCode="m/d/yyyy">
                  <c:v>40229</c:v>
                </c:pt>
                <c:pt idx="2608" formatCode="m/d/yyyy">
                  <c:v>40230</c:v>
                </c:pt>
                <c:pt idx="2609" formatCode="m/d/yyyy">
                  <c:v>40231</c:v>
                </c:pt>
                <c:pt idx="2610" formatCode="m/d/yyyy">
                  <c:v>40232</c:v>
                </c:pt>
                <c:pt idx="2611" formatCode="m/d/yyyy">
                  <c:v>40233</c:v>
                </c:pt>
                <c:pt idx="2612" formatCode="m/d/yyyy">
                  <c:v>40234</c:v>
                </c:pt>
                <c:pt idx="2613" formatCode="m/d/yyyy">
                  <c:v>40235</c:v>
                </c:pt>
                <c:pt idx="2614" formatCode="m/d/yyyy">
                  <c:v>40236</c:v>
                </c:pt>
                <c:pt idx="2615" formatCode="m/d/yyyy">
                  <c:v>40237</c:v>
                </c:pt>
                <c:pt idx="2616" formatCode="m/d/yyyy">
                  <c:v>40238</c:v>
                </c:pt>
                <c:pt idx="2617" formatCode="m/d/yyyy">
                  <c:v>40239</c:v>
                </c:pt>
                <c:pt idx="2618" formatCode="m/d/yyyy">
                  <c:v>40240</c:v>
                </c:pt>
                <c:pt idx="2619" formatCode="m/d/yyyy">
                  <c:v>40241</c:v>
                </c:pt>
                <c:pt idx="2620" formatCode="m/d/yyyy">
                  <c:v>40242</c:v>
                </c:pt>
                <c:pt idx="2621" formatCode="m/d/yyyy">
                  <c:v>40243</c:v>
                </c:pt>
                <c:pt idx="2622" formatCode="m/d/yyyy">
                  <c:v>40244</c:v>
                </c:pt>
                <c:pt idx="2623" formatCode="m/d/yyyy">
                  <c:v>40245</c:v>
                </c:pt>
                <c:pt idx="2624" formatCode="m/d/yyyy">
                  <c:v>40246</c:v>
                </c:pt>
                <c:pt idx="2625" formatCode="m/d/yyyy">
                  <c:v>40247</c:v>
                </c:pt>
                <c:pt idx="2626" formatCode="m/d/yyyy">
                  <c:v>40248</c:v>
                </c:pt>
                <c:pt idx="2627" formatCode="m/d/yyyy">
                  <c:v>40249</c:v>
                </c:pt>
                <c:pt idx="2628" formatCode="m/d/yyyy">
                  <c:v>40250</c:v>
                </c:pt>
                <c:pt idx="2629" formatCode="m/d/yyyy">
                  <c:v>40251</c:v>
                </c:pt>
                <c:pt idx="2630" formatCode="m/d/yyyy">
                  <c:v>40252</c:v>
                </c:pt>
                <c:pt idx="2631" formatCode="m/d/yyyy">
                  <c:v>40253</c:v>
                </c:pt>
                <c:pt idx="2632" formatCode="m/d/yyyy">
                  <c:v>40254</c:v>
                </c:pt>
                <c:pt idx="2633" formatCode="m/d/yyyy">
                  <c:v>40255</c:v>
                </c:pt>
                <c:pt idx="2634" formatCode="m/d/yyyy">
                  <c:v>40256</c:v>
                </c:pt>
                <c:pt idx="2635" formatCode="m/d/yyyy">
                  <c:v>40257</c:v>
                </c:pt>
                <c:pt idx="2636" formatCode="m/d/yyyy">
                  <c:v>40258</c:v>
                </c:pt>
                <c:pt idx="2637" formatCode="m/d/yyyy">
                  <c:v>40259</c:v>
                </c:pt>
                <c:pt idx="2638" formatCode="m/d/yyyy">
                  <c:v>40260</c:v>
                </c:pt>
                <c:pt idx="2639" formatCode="m/d/yyyy">
                  <c:v>40261</c:v>
                </c:pt>
                <c:pt idx="2640" formatCode="m/d/yyyy">
                  <c:v>40262</c:v>
                </c:pt>
                <c:pt idx="2641" formatCode="m/d/yyyy">
                  <c:v>40263</c:v>
                </c:pt>
                <c:pt idx="2642" formatCode="m/d/yyyy">
                  <c:v>40264</c:v>
                </c:pt>
                <c:pt idx="2643" formatCode="m/d/yyyy">
                  <c:v>40265</c:v>
                </c:pt>
                <c:pt idx="2644" formatCode="m/d/yyyy">
                  <c:v>40266</c:v>
                </c:pt>
                <c:pt idx="2645" formatCode="m/d/yyyy">
                  <c:v>40267</c:v>
                </c:pt>
                <c:pt idx="2646" formatCode="m/d/yyyy">
                  <c:v>40268</c:v>
                </c:pt>
                <c:pt idx="2647" formatCode="m/d/yyyy">
                  <c:v>40269</c:v>
                </c:pt>
                <c:pt idx="2648" formatCode="m/d/yyyy">
                  <c:v>40270</c:v>
                </c:pt>
                <c:pt idx="2649" formatCode="m/d/yyyy">
                  <c:v>40271</c:v>
                </c:pt>
                <c:pt idx="2650" formatCode="m/d/yyyy">
                  <c:v>40272</c:v>
                </c:pt>
                <c:pt idx="2651" formatCode="m/d/yyyy">
                  <c:v>40273</c:v>
                </c:pt>
                <c:pt idx="2652" formatCode="m/d/yyyy">
                  <c:v>40274</c:v>
                </c:pt>
                <c:pt idx="2653" formatCode="m/d/yyyy">
                  <c:v>40275</c:v>
                </c:pt>
                <c:pt idx="2654" formatCode="m/d/yyyy">
                  <c:v>40276</c:v>
                </c:pt>
                <c:pt idx="2655" formatCode="m/d/yyyy">
                  <c:v>40277</c:v>
                </c:pt>
                <c:pt idx="2656" formatCode="m/d/yyyy">
                  <c:v>40278</c:v>
                </c:pt>
                <c:pt idx="2657" formatCode="m/d/yyyy">
                  <c:v>40279</c:v>
                </c:pt>
                <c:pt idx="2658" formatCode="m/d/yyyy">
                  <c:v>40280</c:v>
                </c:pt>
                <c:pt idx="2659" formatCode="m/d/yyyy">
                  <c:v>40281</c:v>
                </c:pt>
                <c:pt idx="2660" formatCode="m/d/yyyy">
                  <c:v>40282</c:v>
                </c:pt>
                <c:pt idx="2661" formatCode="m/d/yyyy">
                  <c:v>40283</c:v>
                </c:pt>
                <c:pt idx="2662" formatCode="m/d/yyyy">
                  <c:v>40284</c:v>
                </c:pt>
                <c:pt idx="2663" formatCode="m/d/yyyy">
                  <c:v>40285</c:v>
                </c:pt>
                <c:pt idx="2664" formatCode="m/d/yyyy">
                  <c:v>40286</c:v>
                </c:pt>
                <c:pt idx="2665" formatCode="m/d/yyyy">
                  <c:v>40287</c:v>
                </c:pt>
                <c:pt idx="2666" formatCode="m/d/yyyy">
                  <c:v>40288</c:v>
                </c:pt>
                <c:pt idx="2667" formatCode="m/d/yyyy">
                  <c:v>40289</c:v>
                </c:pt>
                <c:pt idx="2668" formatCode="m/d/yyyy">
                  <c:v>40290</c:v>
                </c:pt>
                <c:pt idx="2669" formatCode="m/d/yyyy">
                  <c:v>40291</c:v>
                </c:pt>
                <c:pt idx="2670" formatCode="m/d/yyyy">
                  <c:v>40292</c:v>
                </c:pt>
                <c:pt idx="2671" formatCode="m/d/yyyy">
                  <c:v>40293</c:v>
                </c:pt>
                <c:pt idx="2672" formatCode="m/d/yyyy">
                  <c:v>40294</c:v>
                </c:pt>
                <c:pt idx="2673" formatCode="m/d/yyyy">
                  <c:v>40295</c:v>
                </c:pt>
                <c:pt idx="2674" formatCode="m/d/yyyy">
                  <c:v>40296</c:v>
                </c:pt>
                <c:pt idx="2675" formatCode="m/d/yyyy">
                  <c:v>40297</c:v>
                </c:pt>
                <c:pt idx="2676" formatCode="m/d/yyyy">
                  <c:v>40298</c:v>
                </c:pt>
                <c:pt idx="2677" formatCode="m/d/yyyy">
                  <c:v>40299</c:v>
                </c:pt>
                <c:pt idx="2678" formatCode="m/d/yyyy">
                  <c:v>40300</c:v>
                </c:pt>
                <c:pt idx="2679" formatCode="m/d/yyyy">
                  <c:v>40301</c:v>
                </c:pt>
                <c:pt idx="2680" formatCode="m/d/yyyy">
                  <c:v>40302</c:v>
                </c:pt>
                <c:pt idx="2681" formatCode="m/d/yyyy">
                  <c:v>40303</c:v>
                </c:pt>
                <c:pt idx="2682" formatCode="m/d/yyyy">
                  <c:v>40304</c:v>
                </c:pt>
                <c:pt idx="2683" formatCode="m/d/yyyy">
                  <c:v>40305</c:v>
                </c:pt>
                <c:pt idx="2684" formatCode="m/d/yyyy">
                  <c:v>40306</c:v>
                </c:pt>
                <c:pt idx="2685" formatCode="m/d/yyyy">
                  <c:v>40307</c:v>
                </c:pt>
                <c:pt idx="2686" formatCode="m/d/yyyy">
                  <c:v>40308</c:v>
                </c:pt>
                <c:pt idx="2687" formatCode="m/d/yyyy">
                  <c:v>40309</c:v>
                </c:pt>
                <c:pt idx="2688" formatCode="m/d/yyyy">
                  <c:v>40310</c:v>
                </c:pt>
                <c:pt idx="2689" formatCode="m/d/yyyy">
                  <c:v>40311</c:v>
                </c:pt>
                <c:pt idx="2690" formatCode="m/d/yyyy">
                  <c:v>40312</c:v>
                </c:pt>
                <c:pt idx="2691" formatCode="m/d/yyyy">
                  <c:v>40313</c:v>
                </c:pt>
                <c:pt idx="2692" formatCode="m/d/yyyy">
                  <c:v>40314</c:v>
                </c:pt>
                <c:pt idx="2693" formatCode="m/d/yyyy">
                  <c:v>40315</c:v>
                </c:pt>
                <c:pt idx="2694" formatCode="m/d/yyyy">
                  <c:v>40316</c:v>
                </c:pt>
                <c:pt idx="2695" formatCode="m/d/yyyy">
                  <c:v>40317</c:v>
                </c:pt>
                <c:pt idx="2696" formatCode="m/d/yyyy">
                  <c:v>40318</c:v>
                </c:pt>
                <c:pt idx="2697" formatCode="m/d/yyyy">
                  <c:v>40319</c:v>
                </c:pt>
                <c:pt idx="2698" formatCode="m/d/yyyy">
                  <c:v>40320</c:v>
                </c:pt>
                <c:pt idx="2699" formatCode="m/d/yyyy">
                  <c:v>40321</c:v>
                </c:pt>
                <c:pt idx="2700" formatCode="m/d/yyyy">
                  <c:v>40322</c:v>
                </c:pt>
                <c:pt idx="2701" formatCode="m/d/yyyy">
                  <c:v>40323</c:v>
                </c:pt>
                <c:pt idx="2702" formatCode="m/d/yyyy">
                  <c:v>40324</c:v>
                </c:pt>
                <c:pt idx="2703" formatCode="m/d/yyyy">
                  <c:v>40325</c:v>
                </c:pt>
                <c:pt idx="2704" formatCode="m/d/yyyy">
                  <c:v>40326</c:v>
                </c:pt>
                <c:pt idx="2705" formatCode="m/d/yyyy">
                  <c:v>40327</c:v>
                </c:pt>
                <c:pt idx="2706" formatCode="m/d/yyyy">
                  <c:v>40328</c:v>
                </c:pt>
                <c:pt idx="2707" formatCode="m/d/yyyy">
                  <c:v>40329</c:v>
                </c:pt>
                <c:pt idx="2708" formatCode="m/d/yyyy">
                  <c:v>40330</c:v>
                </c:pt>
                <c:pt idx="2709" formatCode="m/d/yyyy">
                  <c:v>40331</c:v>
                </c:pt>
                <c:pt idx="2710" formatCode="m/d/yyyy">
                  <c:v>40332</c:v>
                </c:pt>
                <c:pt idx="2711" formatCode="m/d/yyyy">
                  <c:v>40333</c:v>
                </c:pt>
                <c:pt idx="2712" formatCode="m/d/yyyy">
                  <c:v>40334</c:v>
                </c:pt>
                <c:pt idx="2713" formatCode="m/d/yyyy">
                  <c:v>40335</c:v>
                </c:pt>
                <c:pt idx="2714" formatCode="m/d/yyyy">
                  <c:v>40336</c:v>
                </c:pt>
                <c:pt idx="2715" formatCode="m/d/yyyy">
                  <c:v>40337</c:v>
                </c:pt>
                <c:pt idx="2716" formatCode="m/d/yyyy">
                  <c:v>40338</c:v>
                </c:pt>
                <c:pt idx="2717" formatCode="m/d/yyyy">
                  <c:v>40339</c:v>
                </c:pt>
                <c:pt idx="2718" formatCode="m/d/yyyy">
                  <c:v>40340</c:v>
                </c:pt>
                <c:pt idx="2719" formatCode="m/d/yyyy">
                  <c:v>40341</c:v>
                </c:pt>
                <c:pt idx="2720" formatCode="m/d/yyyy">
                  <c:v>40342</c:v>
                </c:pt>
                <c:pt idx="2721" formatCode="m/d/yyyy">
                  <c:v>40343</c:v>
                </c:pt>
                <c:pt idx="2722" formatCode="m/d/yyyy">
                  <c:v>40344</c:v>
                </c:pt>
                <c:pt idx="2723" formatCode="m/d/yyyy">
                  <c:v>40345</c:v>
                </c:pt>
                <c:pt idx="2724" formatCode="m/d/yyyy">
                  <c:v>40346</c:v>
                </c:pt>
                <c:pt idx="2725" formatCode="m/d/yyyy">
                  <c:v>40347</c:v>
                </c:pt>
                <c:pt idx="2726" formatCode="m/d/yyyy">
                  <c:v>40348</c:v>
                </c:pt>
                <c:pt idx="2727" formatCode="m/d/yyyy">
                  <c:v>40349</c:v>
                </c:pt>
                <c:pt idx="2728" formatCode="m/d/yyyy">
                  <c:v>40350</c:v>
                </c:pt>
                <c:pt idx="2729" formatCode="m/d/yyyy">
                  <c:v>40351</c:v>
                </c:pt>
                <c:pt idx="2730" formatCode="m/d/yyyy">
                  <c:v>40352</c:v>
                </c:pt>
                <c:pt idx="2731" formatCode="m/d/yyyy">
                  <c:v>40353</c:v>
                </c:pt>
                <c:pt idx="2732" formatCode="m/d/yyyy">
                  <c:v>40354</c:v>
                </c:pt>
                <c:pt idx="2733" formatCode="m/d/yyyy">
                  <c:v>40355</c:v>
                </c:pt>
                <c:pt idx="2734" formatCode="m/d/yyyy">
                  <c:v>40356</c:v>
                </c:pt>
                <c:pt idx="2735" formatCode="m/d/yyyy">
                  <c:v>40357</c:v>
                </c:pt>
                <c:pt idx="2736" formatCode="m/d/yyyy">
                  <c:v>40358</c:v>
                </c:pt>
                <c:pt idx="2737" formatCode="m/d/yyyy">
                  <c:v>40359</c:v>
                </c:pt>
                <c:pt idx="2738" formatCode="m/d/yyyy">
                  <c:v>40360</c:v>
                </c:pt>
                <c:pt idx="2739" formatCode="m/d/yyyy">
                  <c:v>40361</c:v>
                </c:pt>
                <c:pt idx="2740" formatCode="m/d/yyyy">
                  <c:v>40362</c:v>
                </c:pt>
                <c:pt idx="2741" formatCode="m/d/yyyy">
                  <c:v>40363</c:v>
                </c:pt>
                <c:pt idx="2742" formatCode="m/d/yyyy">
                  <c:v>40364</c:v>
                </c:pt>
                <c:pt idx="2743" formatCode="m/d/yyyy">
                  <c:v>40365</c:v>
                </c:pt>
                <c:pt idx="2744" formatCode="m/d/yyyy">
                  <c:v>40366</c:v>
                </c:pt>
                <c:pt idx="2745" formatCode="m/d/yyyy">
                  <c:v>40367</c:v>
                </c:pt>
                <c:pt idx="2746" formatCode="m/d/yyyy">
                  <c:v>40368</c:v>
                </c:pt>
                <c:pt idx="2747" formatCode="m/d/yyyy">
                  <c:v>40369</c:v>
                </c:pt>
                <c:pt idx="2748" formatCode="m/d/yyyy">
                  <c:v>40370</c:v>
                </c:pt>
                <c:pt idx="2749" formatCode="m/d/yyyy">
                  <c:v>40371</c:v>
                </c:pt>
                <c:pt idx="2750" formatCode="m/d/yyyy">
                  <c:v>40372</c:v>
                </c:pt>
                <c:pt idx="2751" formatCode="m/d/yyyy">
                  <c:v>40373</c:v>
                </c:pt>
                <c:pt idx="2752" formatCode="m/d/yyyy">
                  <c:v>40374</c:v>
                </c:pt>
                <c:pt idx="2753" formatCode="m/d/yyyy">
                  <c:v>40375</c:v>
                </c:pt>
                <c:pt idx="2754" formatCode="m/d/yyyy">
                  <c:v>40376</c:v>
                </c:pt>
                <c:pt idx="2755" formatCode="m/d/yyyy">
                  <c:v>40377</c:v>
                </c:pt>
                <c:pt idx="2756" formatCode="m/d/yyyy">
                  <c:v>40378</c:v>
                </c:pt>
                <c:pt idx="2757" formatCode="m/d/yyyy">
                  <c:v>40379</c:v>
                </c:pt>
                <c:pt idx="2758" formatCode="m/d/yyyy">
                  <c:v>40380</c:v>
                </c:pt>
                <c:pt idx="2759" formatCode="m/d/yyyy">
                  <c:v>40381</c:v>
                </c:pt>
                <c:pt idx="2760" formatCode="m/d/yyyy">
                  <c:v>40382</c:v>
                </c:pt>
                <c:pt idx="2761" formatCode="m/d/yyyy">
                  <c:v>40383</c:v>
                </c:pt>
                <c:pt idx="2762" formatCode="m/d/yyyy">
                  <c:v>40384</c:v>
                </c:pt>
                <c:pt idx="2763" formatCode="m/d/yyyy">
                  <c:v>40385</c:v>
                </c:pt>
                <c:pt idx="2764" formatCode="m/d/yyyy">
                  <c:v>40386</c:v>
                </c:pt>
                <c:pt idx="2765" formatCode="m/d/yyyy">
                  <c:v>40387</c:v>
                </c:pt>
                <c:pt idx="2766" formatCode="m/d/yyyy">
                  <c:v>40388</c:v>
                </c:pt>
                <c:pt idx="2767" formatCode="m/d/yyyy">
                  <c:v>40389</c:v>
                </c:pt>
                <c:pt idx="2768" formatCode="m/d/yyyy">
                  <c:v>40390</c:v>
                </c:pt>
                <c:pt idx="2769" formatCode="m/d/yyyy">
                  <c:v>40391</c:v>
                </c:pt>
                <c:pt idx="2770" formatCode="m/d/yyyy">
                  <c:v>40392</c:v>
                </c:pt>
                <c:pt idx="2771" formatCode="m/d/yyyy">
                  <c:v>40393</c:v>
                </c:pt>
                <c:pt idx="2772" formatCode="m/d/yyyy">
                  <c:v>40394</c:v>
                </c:pt>
                <c:pt idx="2773" formatCode="m/d/yyyy">
                  <c:v>40395</c:v>
                </c:pt>
                <c:pt idx="2774" formatCode="m/d/yyyy">
                  <c:v>40396</c:v>
                </c:pt>
                <c:pt idx="2775" formatCode="m/d/yyyy">
                  <c:v>40397</c:v>
                </c:pt>
                <c:pt idx="2776" formatCode="m/d/yyyy">
                  <c:v>40398</c:v>
                </c:pt>
                <c:pt idx="2777" formatCode="m/d/yyyy">
                  <c:v>40399</c:v>
                </c:pt>
                <c:pt idx="2778" formatCode="m/d/yyyy">
                  <c:v>40400</c:v>
                </c:pt>
                <c:pt idx="2779" formatCode="m/d/yyyy">
                  <c:v>40401</c:v>
                </c:pt>
                <c:pt idx="2780" formatCode="m/d/yyyy">
                  <c:v>40402</c:v>
                </c:pt>
                <c:pt idx="2781" formatCode="m/d/yyyy">
                  <c:v>40403</c:v>
                </c:pt>
                <c:pt idx="2782" formatCode="m/d/yyyy">
                  <c:v>40404</c:v>
                </c:pt>
                <c:pt idx="2783" formatCode="m/d/yyyy">
                  <c:v>40405</c:v>
                </c:pt>
                <c:pt idx="2784" formatCode="m/d/yyyy">
                  <c:v>40406</c:v>
                </c:pt>
                <c:pt idx="2785" formatCode="m/d/yyyy">
                  <c:v>40407</c:v>
                </c:pt>
                <c:pt idx="2786" formatCode="m/d/yyyy">
                  <c:v>40408</c:v>
                </c:pt>
                <c:pt idx="2787" formatCode="m/d/yyyy">
                  <c:v>40409</c:v>
                </c:pt>
                <c:pt idx="2788" formatCode="m/d/yyyy">
                  <c:v>40410</c:v>
                </c:pt>
                <c:pt idx="2789" formatCode="m/d/yyyy">
                  <c:v>40411</c:v>
                </c:pt>
                <c:pt idx="2790" formatCode="m/d/yyyy">
                  <c:v>40412</c:v>
                </c:pt>
                <c:pt idx="2791" formatCode="m/d/yyyy">
                  <c:v>40413</c:v>
                </c:pt>
                <c:pt idx="2792" formatCode="m/d/yyyy">
                  <c:v>40414</c:v>
                </c:pt>
                <c:pt idx="2793" formatCode="m/d/yyyy">
                  <c:v>40415</c:v>
                </c:pt>
                <c:pt idx="2794" formatCode="m/d/yyyy">
                  <c:v>40416</c:v>
                </c:pt>
                <c:pt idx="2795" formatCode="m/d/yyyy">
                  <c:v>40417</c:v>
                </c:pt>
                <c:pt idx="2796" formatCode="m/d/yyyy">
                  <c:v>40418</c:v>
                </c:pt>
                <c:pt idx="2797" formatCode="m/d/yyyy">
                  <c:v>40419</c:v>
                </c:pt>
                <c:pt idx="2798" formatCode="m/d/yyyy">
                  <c:v>40420</c:v>
                </c:pt>
                <c:pt idx="2799" formatCode="m/d/yyyy">
                  <c:v>40421</c:v>
                </c:pt>
                <c:pt idx="2800" formatCode="m/d/yyyy">
                  <c:v>40422</c:v>
                </c:pt>
                <c:pt idx="2801" formatCode="m/d/yyyy">
                  <c:v>40423</c:v>
                </c:pt>
                <c:pt idx="2802" formatCode="m/d/yyyy">
                  <c:v>40424</c:v>
                </c:pt>
                <c:pt idx="2803" formatCode="m/d/yyyy">
                  <c:v>40425</c:v>
                </c:pt>
                <c:pt idx="2804" formatCode="m/d/yyyy">
                  <c:v>40426</c:v>
                </c:pt>
                <c:pt idx="2805" formatCode="m/d/yyyy">
                  <c:v>40427</c:v>
                </c:pt>
                <c:pt idx="2806" formatCode="m/d/yyyy">
                  <c:v>40428</c:v>
                </c:pt>
                <c:pt idx="2807" formatCode="m/d/yyyy">
                  <c:v>40429</c:v>
                </c:pt>
                <c:pt idx="2808" formatCode="m/d/yyyy">
                  <c:v>40430</c:v>
                </c:pt>
                <c:pt idx="2809" formatCode="m/d/yyyy">
                  <c:v>40431</c:v>
                </c:pt>
                <c:pt idx="2810" formatCode="m/d/yyyy">
                  <c:v>40432</c:v>
                </c:pt>
                <c:pt idx="2811" formatCode="m/d/yyyy">
                  <c:v>40433</c:v>
                </c:pt>
                <c:pt idx="2812" formatCode="m/d/yyyy">
                  <c:v>40434</c:v>
                </c:pt>
                <c:pt idx="2813" formatCode="m/d/yyyy">
                  <c:v>40435</c:v>
                </c:pt>
                <c:pt idx="2814" formatCode="m/d/yyyy">
                  <c:v>40436</c:v>
                </c:pt>
                <c:pt idx="2815" formatCode="m/d/yyyy">
                  <c:v>40437</c:v>
                </c:pt>
                <c:pt idx="2816" formatCode="m/d/yyyy">
                  <c:v>40438</c:v>
                </c:pt>
                <c:pt idx="2817" formatCode="m/d/yyyy">
                  <c:v>40439</c:v>
                </c:pt>
                <c:pt idx="2818" formatCode="m/d/yyyy">
                  <c:v>40440</c:v>
                </c:pt>
                <c:pt idx="2819" formatCode="m/d/yyyy">
                  <c:v>40441</c:v>
                </c:pt>
                <c:pt idx="2820" formatCode="m/d/yyyy">
                  <c:v>40442</c:v>
                </c:pt>
                <c:pt idx="2821" formatCode="m/d/yyyy">
                  <c:v>40443</c:v>
                </c:pt>
                <c:pt idx="2822" formatCode="m/d/yyyy">
                  <c:v>40444</c:v>
                </c:pt>
                <c:pt idx="2823" formatCode="m/d/yyyy">
                  <c:v>40445</c:v>
                </c:pt>
                <c:pt idx="2824" formatCode="m/d/yyyy">
                  <c:v>40446</c:v>
                </c:pt>
                <c:pt idx="2825" formatCode="m/d/yyyy">
                  <c:v>40447</c:v>
                </c:pt>
                <c:pt idx="2826" formatCode="m/d/yyyy">
                  <c:v>40448</c:v>
                </c:pt>
                <c:pt idx="2827" formatCode="m/d/yyyy">
                  <c:v>40449</c:v>
                </c:pt>
                <c:pt idx="2828" formatCode="m/d/yyyy">
                  <c:v>40450</c:v>
                </c:pt>
                <c:pt idx="2829" formatCode="m/d/yyyy">
                  <c:v>40451</c:v>
                </c:pt>
                <c:pt idx="2830" formatCode="m/d/yyyy">
                  <c:v>40452</c:v>
                </c:pt>
                <c:pt idx="2831" formatCode="m/d/yyyy">
                  <c:v>40453</c:v>
                </c:pt>
                <c:pt idx="2832" formatCode="m/d/yyyy">
                  <c:v>40454</c:v>
                </c:pt>
                <c:pt idx="2833" formatCode="m/d/yyyy">
                  <c:v>40455</c:v>
                </c:pt>
                <c:pt idx="2834" formatCode="m/d/yyyy">
                  <c:v>40456</c:v>
                </c:pt>
                <c:pt idx="2835" formatCode="m/d/yyyy">
                  <c:v>40457</c:v>
                </c:pt>
                <c:pt idx="2836" formatCode="m/d/yyyy">
                  <c:v>40458</c:v>
                </c:pt>
                <c:pt idx="2837" formatCode="m/d/yyyy">
                  <c:v>40459</c:v>
                </c:pt>
                <c:pt idx="2838" formatCode="m/d/yyyy">
                  <c:v>40460</c:v>
                </c:pt>
                <c:pt idx="2839" formatCode="m/d/yyyy">
                  <c:v>40461</c:v>
                </c:pt>
                <c:pt idx="2840" formatCode="m/d/yyyy">
                  <c:v>40462</c:v>
                </c:pt>
                <c:pt idx="2841" formatCode="m/d/yyyy">
                  <c:v>40463</c:v>
                </c:pt>
                <c:pt idx="2842" formatCode="m/d/yyyy">
                  <c:v>40464</c:v>
                </c:pt>
                <c:pt idx="2843" formatCode="m/d/yyyy">
                  <c:v>40465</c:v>
                </c:pt>
                <c:pt idx="2844" formatCode="m/d/yyyy">
                  <c:v>40466</c:v>
                </c:pt>
                <c:pt idx="2845" formatCode="m/d/yyyy">
                  <c:v>40467</c:v>
                </c:pt>
                <c:pt idx="2846" formatCode="m/d/yyyy">
                  <c:v>40468</c:v>
                </c:pt>
                <c:pt idx="2847" formatCode="m/d/yyyy">
                  <c:v>40469</c:v>
                </c:pt>
                <c:pt idx="2848" formatCode="m/d/yyyy">
                  <c:v>40470</c:v>
                </c:pt>
                <c:pt idx="2849" formatCode="m/d/yyyy">
                  <c:v>40471</c:v>
                </c:pt>
                <c:pt idx="2850" formatCode="m/d/yyyy">
                  <c:v>40472</c:v>
                </c:pt>
                <c:pt idx="2851" formatCode="m/d/yyyy">
                  <c:v>40473</c:v>
                </c:pt>
                <c:pt idx="2852" formatCode="m/d/yyyy">
                  <c:v>40474</c:v>
                </c:pt>
                <c:pt idx="2853" formatCode="m/d/yyyy">
                  <c:v>40475</c:v>
                </c:pt>
                <c:pt idx="2854" formatCode="m/d/yyyy">
                  <c:v>40476</c:v>
                </c:pt>
                <c:pt idx="2855" formatCode="m/d/yyyy">
                  <c:v>40477</c:v>
                </c:pt>
                <c:pt idx="2856" formatCode="m/d/yyyy">
                  <c:v>40478</c:v>
                </c:pt>
                <c:pt idx="2857" formatCode="m/d/yyyy">
                  <c:v>40479</c:v>
                </c:pt>
                <c:pt idx="2858" formatCode="m/d/yyyy">
                  <c:v>40480</c:v>
                </c:pt>
                <c:pt idx="2859" formatCode="m/d/yyyy">
                  <c:v>40481</c:v>
                </c:pt>
                <c:pt idx="2860" formatCode="m/d/yyyy">
                  <c:v>40482</c:v>
                </c:pt>
                <c:pt idx="2861" formatCode="m/d/yyyy">
                  <c:v>40483</c:v>
                </c:pt>
                <c:pt idx="2862" formatCode="m/d/yyyy">
                  <c:v>40484</c:v>
                </c:pt>
                <c:pt idx="2863" formatCode="m/d/yyyy">
                  <c:v>40485</c:v>
                </c:pt>
                <c:pt idx="2864" formatCode="m/d/yyyy">
                  <c:v>40486</c:v>
                </c:pt>
                <c:pt idx="2865" formatCode="m/d/yyyy">
                  <c:v>40487</c:v>
                </c:pt>
                <c:pt idx="2866" formatCode="m/d/yyyy">
                  <c:v>40488</c:v>
                </c:pt>
                <c:pt idx="2867" formatCode="m/d/yyyy">
                  <c:v>40489</c:v>
                </c:pt>
                <c:pt idx="2868" formatCode="m/d/yyyy">
                  <c:v>40490</c:v>
                </c:pt>
                <c:pt idx="2869" formatCode="m/d/yyyy">
                  <c:v>40491</c:v>
                </c:pt>
                <c:pt idx="2870" formatCode="m/d/yyyy">
                  <c:v>40492</c:v>
                </c:pt>
                <c:pt idx="2871" formatCode="m/d/yyyy">
                  <c:v>40493</c:v>
                </c:pt>
                <c:pt idx="2872" formatCode="m/d/yyyy">
                  <c:v>40494</c:v>
                </c:pt>
                <c:pt idx="2873" formatCode="m/d/yyyy">
                  <c:v>40495</c:v>
                </c:pt>
                <c:pt idx="2874" formatCode="m/d/yyyy">
                  <c:v>40496</c:v>
                </c:pt>
                <c:pt idx="2875" formatCode="m/d/yyyy">
                  <c:v>40497</c:v>
                </c:pt>
                <c:pt idx="2876" formatCode="m/d/yyyy">
                  <c:v>40498</c:v>
                </c:pt>
                <c:pt idx="2877" formatCode="m/d/yyyy">
                  <c:v>40499</c:v>
                </c:pt>
                <c:pt idx="2878" formatCode="m/d/yyyy">
                  <c:v>40500</c:v>
                </c:pt>
                <c:pt idx="2879" formatCode="m/d/yyyy">
                  <c:v>40501</c:v>
                </c:pt>
                <c:pt idx="2880" formatCode="m/d/yyyy">
                  <c:v>40502</c:v>
                </c:pt>
                <c:pt idx="2881" formatCode="m/d/yyyy">
                  <c:v>40503</c:v>
                </c:pt>
                <c:pt idx="2882" formatCode="m/d/yyyy">
                  <c:v>40504</c:v>
                </c:pt>
                <c:pt idx="2883" formatCode="m/d/yyyy">
                  <c:v>40505</c:v>
                </c:pt>
                <c:pt idx="2884" formatCode="m/d/yyyy">
                  <c:v>40506</c:v>
                </c:pt>
                <c:pt idx="2885" formatCode="m/d/yyyy">
                  <c:v>40507</c:v>
                </c:pt>
                <c:pt idx="2886" formatCode="m/d/yyyy">
                  <c:v>40508</c:v>
                </c:pt>
                <c:pt idx="2887" formatCode="m/d/yyyy">
                  <c:v>40509</c:v>
                </c:pt>
                <c:pt idx="2888" formatCode="m/d/yyyy">
                  <c:v>40510</c:v>
                </c:pt>
                <c:pt idx="2889" formatCode="m/d/yyyy">
                  <c:v>40511</c:v>
                </c:pt>
                <c:pt idx="2890" formatCode="m/d/yyyy">
                  <c:v>40512</c:v>
                </c:pt>
                <c:pt idx="2891" formatCode="m/d/yyyy">
                  <c:v>40513</c:v>
                </c:pt>
                <c:pt idx="2892" formatCode="m/d/yyyy">
                  <c:v>40514</c:v>
                </c:pt>
                <c:pt idx="2893" formatCode="m/d/yyyy">
                  <c:v>40515</c:v>
                </c:pt>
                <c:pt idx="2894" formatCode="m/d/yyyy">
                  <c:v>40516</c:v>
                </c:pt>
                <c:pt idx="2895" formatCode="m/d/yyyy">
                  <c:v>40517</c:v>
                </c:pt>
                <c:pt idx="2896" formatCode="m/d/yyyy">
                  <c:v>40518</c:v>
                </c:pt>
                <c:pt idx="2897" formatCode="m/d/yyyy">
                  <c:v>40519</c:v>
                </c:pt>
                <c:pt idx="2898" formatCode="m/d/yyyy">
                  <c:v>40520</c:v>
                </c:pt>
                <c:pt idx="2899" formatCode="m/d/yyyy">
                  <c:v>40521</c:v>
                </c:pt>
                <c:pt idx="2900" formatCode="m/d/yyyy">
                  <c:v>40522</c:v>
                </c:pt>
                <c:pt idx="2901" formatCode="m/d/yyyy">
                  <c:v>40523</c:v>
                </c:pt>
                <c:pt idx="2902" formatCode="m/d/yyyy">
                  <c:v>40524</c:v>
                </c:pt>
                <c:pt idx="2903" formatCode="m/d/yyyy">
                  <c:v>40525</c:v>
                </c:pt>
                <c:pt idx="2904" formatCode="m/d/yyyy">
                  <c:v>40526</c:v>
                </c:pt>
                <c:pt idx="2905" formatCode="m/d/yyyy">
                  <c:v>40527</c:v>
                </c:pt>
                <c:pt idx="2906" formatCode="m/d/yyyy">
                  <c:v>40528</c:v>
                </c:pt>
                <c:pt idx="2907" formatCode="m/d/yyyy">
                  <c:v>40529</c:v>
                </c:pt>
                <c:pt idx="2908" formatCode="m/d/yyyy">
                  <c:v>40530</c:v>
                </c:pt>
                <c:pt idx="2909" formatCode="m/d/yyyy">
                  <c:v>40531</c:v>
                </c:pt>
                <c:pt idx="2910" formatCode="m/d/yyyy">
                  <c:v>40532</c:v>
                </c:pt>
                <c:pt idx="2911" formatCode="m/d/yyyy">
                  <c:v>40533</c:v>
                </c:pt>
                <c:pt idx="2912" formatCode="m/d/yyyy">
                  <c:v>40534</c:v>
                </c:pt>
                <c:pt idx="2913" formatCode="m/d/yyyy">
                  <c:v>40535</c:v>
                </c:pt>
                <c:pt idx="2914" formatCode="m/d/yyyy">
                  <c:v>40536</c:v>
                </c:pt>
                <c:pt idx="2915" formatCode="m/d/yyyy">
                  <c:v>40537</c:v>
                </c:pt>
                <c:pt idx="2916" formatCode="m/d/yyyy">
                  <c:v>40538</c:v>
                </c:pt>
                <c:pt idx="2917" formatCode="m/d/yyyy">
                  <c:v>40539</c:v>
                </c:pt>
                <c:pt idx="2918" formatCode="m/d/yyyy">
                  <c:v>40540</c:v>
                </c:pt>
                <c:pt idx="2919" formatCode="m/d/yyyy">
                  <c:v>40541</c:v>
                </c:pt>
                <c:pt idx="2920" formatCode="m/d/yyyy">
                  <c:v>40542</c:v>
                </c:pt>
                <c:pt idx="2921" formatCode="m/d/yyyy">
                  <c:v>40543</c:v>
                </c:pt>
                <c:pt idx="2922" formatCode="m/d/yyyy">
                  <c:v>40544</c:v>
                </c:pt>
                <c:pt idx="2923" formatCode="m/d/yyyy">
                  <c:v>40545</c:v>
                </c:pt>
                <c:pt idx="2924" formatCode="m/d/yyyy">
                  <c:v>40546</c:v>
                </c:pt>
                <c:pt idx="2925" formatCode="m/d/yyyy">
                  <c:v>40547</c:v>
                </c:pt>
                <c:pt idx="2926" formatCode="m/d/yyyy">
                  <c:v>40548</c:v>
                </c:pt>
                <c:pt idx="2927" formatCode="m/d/yyyy">
                  <c:v>40549</c:v>
                </c:pt>
                <c:pt idx="2928" formatCode="m/d/yyyy">
                  <c:v>40550</c:v>
                </c:pt>
                <c:pt idx="2929" formatCode="m/d/yyyy">
                  <c:v>40551</c:v>
                </c:pt>
                <c:pt idx="2930" formatCode="m/d/yyyy">
                  <c:v>40552</c:v>
                </c:pt>
                <c:pt idx="2931" formatCode="m/d/yyyy">
                  <c:v>40553</c:v>
                </c:pt>
                <c:pt idx="2932" formatCode="m/d/yyyy">
                  <c:v>40554</c:v>
                </c:pt>
                <c:pt idx="2933" formatCode="m/d/yyyy">
                  <c:v>40555</c:v>
                </c:pt>
                <c:pt idx="2934" formatCode="m/d/yyyy">
                  <c:v>40556</c:v>
                </c:pt>
                <c:pt idx="2935" formatCode="m/d/yyyy">
                  <c:v>40557</c:v>
                </c:pt>
                <c:pt idx="2936" formatCode="m/d/yyyy">
                  <c:v>40558</c:v>
                </c:pt>
                <c:pt idx="2937" formatCode="m/d/yyyy">
                  <c:v>40559</c:v>
                </c:pt>
                <c:pt idx="2938" formatCode="m/d/yyyy">
                  <c:v>40560</c:v>
                </c:pt>
                <c:pt idx="2939" formatCode="m/d/yyyy">
                  <c:v>40561</c:v>
                </c:pt>
                <c:pt idx="2940" formatCode="m/d/yyyy">
                  <c:v>40562</c:v>
                </c:pt>
                <c:pt idx="2941" formatCode="m/d/yyyy">
                  <c:v>40563</c:v>
                </c:pt>
                <c:pt idx="2942" formatCode="m/d/yyyy">
                  <c:v>40564</c:v>
                </c:pt>
                <c:pt idx="2943" formatCode="m/d/yyyy">
                  <c:v>40565</c:v>
                </c:pt>
                <c:pt idx="2944" formatCode="m/d/yyyy">
                  <c:v>40566</c:v>
                </c:pt>
                <c:pt idx="2945" formatCode="m/d/yyyy">
                  <c:v>40567</c:v>
                </c:pt>
                <c:pt idx="2946" formatCode="m/d/yyyy">
                  <c:v>40568</c:v>
                </c:pt>
                <c:pt idx="2947" formatCode="m/d/yyyy">
                  <c:v>40569</c:v>
                </c:pt>
                <c:pt idx="2948" formatCode="m/d/yyyy">
                  <c:v>40570</c:v>
                </c:pt>
                <c:pt idx="2949" formatCode="m/d/yyyy">
                  <c:v>40571</c:v>
                </c:pt>
                <c:pt idx="2950" formatCode="m/d/yyyy">
                  <c:v>40572</c:v>
                </c:pt>
                <c:pt idx="2951" formatCode="m/d/yyyy">
                  <c:v>40573</c:v>
                </c:pt>
                <c:pt idx="2952" formatCode="m/d/yyyy">
                  <c:v>40574</c:v>
                </c:pt>
                <c:pt idx="2953" formatCode="m/d/yyyy">
                  <c:v>40575</c:v>
                </c:pt>
                <c:pt idx="2954" formatCode="m/d/yyyy">
                  <c:v>40576</c:v>
                </c:pt>
                <c:pt idx="2955" formatCode="m/d/yyyy">
                  <c:v>40577</c:v>
                </c:pt>
                <c:pt idx="2956" formatCode="m/d/yyyy">
                  <c:v>40578</c:v>
                </c:pt>
                <c:pt idx="2957" formatCode="m/d/yyyy">
                  <c:v>40579</c:v>
                </c:pt>
                <c:pt idx="2958" formatCode="m/d/yyyy">
                  <c:v>40580</c:v>
                </c:pt>
                <c:pt idx="2959" formatCode="m/d/yyyy">
                  <c:v>40581</c:v>
                </c:pt>
                <c:pt idx="2960" formatCode="m/d/yyyy">
                  <c:v>40582</c:v>
                </c:pt>
                <c:pt idx="2961" formatCode="m/d/yyyy">
                  <c:v>40583</c:v>
                </c:pt>
                <c:pt idx="2962" formatCode="m/d/yyyy">
                  <c:v>40584</c:v>
                </c:pt>
                <c:pt idx="2963" formatCode="m/d/yyyy">
                  <c:v>40585</c:v>
                </c:pt>
                <c:pt idx="2964" formatCode="m/d/yyyy">
                  <c:v>40586</c:v>
                </c:pt>
                <c:pt idx="2965" formatCode="m/d/yyyy">
                  <c:v>40587</c:v>
                </c:pt>
                <c:pt idx="2966" formatCode="m/d/yyyy">
                  <c:v>40588</c:v>
                </c:pt>
                <c:pt idx="2967" formatCode="m/d/yyyy">
                  <c:v>40589</c:v>
                </c:pt>
                <c:pt idx="2968" formatCode="m/d/yyyy">
                  <c:v>40590</c:v>
                </c:pt>
                <c:pt idx="2969" formatCode="m/d/yyyy">
                  <c:v>40591</c:v>
                </c:pt>
                <c:pt idx="2970" formatCode="m/d/yyyy">
                  <c:v>40592</c:v>
                </c:pt>
                <c:pt idx="2971" formatCode="m/d/yyyy">
                  <c:v>40593</c:v>
                </c:pt>
                <c:pt idx="2972" formatCode="m/d/yyyy">
                  <c:v>40594</c:v>
                </c:pt>
                <c:pt idx="2973" formatCode="m/d/yyyy">
                  <c:v>40595</c:v>
                </c:pt>
                <c:pt idx="2974" formatCode="m/d/yyyy">
                  <c:v>40596</c:v>
                </c:pt>
                <c:pt idx="2975" formatCode="m/d/yyyy">
                  <c:v>40597</c:v>
                </c:pt>
                <c:pt idx="2976" formatCode="m/d/yyyy">
                  <c:v>40598</c:v>
                </c:pt>
                <c:pt idx="2977" formatCode="m/d/yyyy">
                  <c:v>40599</c:v>
                </c:pt>
                <c:pt idx="2978" formatCode="m/d/yyyy">
                  <c:v>40600</c:v>
                </c:pt>
                <c:pt idx="2979" formatCode="m/d/yyyy">
                  <c:v>40601</c:v>
                </c:pt>
                <c:pt idx="2980" formatCode="m/d/yyyy">
                  <c:v>40602</c:v>
                </c:pt>
                <c:pt idx="2981" formatCode="m/d/yyyy">
                  <c:v>40603</c:v>
                </c:pt>
                <c:pt idx="2982" formatCode="m/d/yyyy">
                  <c:v>40604</c:v>
                </c:pt>
                <c:pt idx="2983" formatCode="m/d/yyyy">
                  <c:v>40605</c:v>
                </c:pt>
                <c:pt idx="2984" formatCode="m/d/yyyy">
                  <c:v>40606</c:v>
                </c:pt>
                <c:pt idx="2985" formatCode="m/d/yyyy">
                  <c:v>40607</c:v>
                </c:pt>
                <c:pt idx="2986" formatCode="m/d/yyyy">
                  <c:v>40608</c:v>
                </c:pt>
                <c:pt idx="2987" formatCode="m/d/yyyy">
                  <c:v>40609</c:v>
                </c:pt>
                <c:pt idx="2988" formatCode="m/d/yyyy">
                  <c:v>40610</c:v>
                </c:pt>
                <c:pt idx="2989" formatCode="m/d/yyyy">
                  <c:v>40611</c:v>
                </c:pt>
                <c:pt idx="2990" formatCode="m/d/yyyy">
                  <c:v>40612</c:v>
                </c:pt>
                <c:pt idx="2991" formatCode="m/d/yyyy">
                  <c:v>40613</c:v>
                </c:pt>
                <c:pt idx="2992" formatCode="m/d/yyyy">
                  <c:v>40614</c:v>
                </c:pt>
                <c:pt idx="2993" formatCode="m/d/yyyy">
                  <c:v>40615</c:v>
                </c:pt>
                <c:pt idx="2994" formatCode="m/d/yyyy">
                  <c:v>40616</c:v>
                </c:pt>
                <c:pt idx="2995" formatCode="m/d/yyyy">
                  <c:v>40617</c:v>
                </c:pt>
                <c:pt idx="2996" formatCode="m/d/yyyy">
                  <c:v>40618</c:v>
                </c:pt>
                <c:pt idx="2997" formatCode="m/d/yyyy">
                  <c:v>40619</c:v>
                </c:pt>
                <c:pt idx="2998" formatCode="m/d/yyyy">
                  <c:v>40620</c:v>
                </c:pt>
                <c:pt idx="2999" formatCode="m/d/yyyy">
                  <c:v>40621</c:v>
                </c:pt>
                <c:pt idx="3000" formatCode="m/d/yyyy">
                  <c:v>40622</c:v>
                </c:pt>
                <c:pt idx="3001" formatCode="m/d/yyyy">
                  <c:v>40623</c:v>
                </c:pt>
                <c:pt idx="3002" formatCode="m/d/yyyy">
                  <c:v>40624</c:v>
                </c:pt>
                <c:pt idx="3003" formatCode="m/d/yyyy">
                  <c:v>40625</c:v>
                </c:pt>
                <c:pt idx="3004" formatCode="m/d/yyyy">
                  <c:v>40626</c:v>
                </c:pt>
                <c:pt idx="3005" formatCode="m/d/yyyy">
                  <c:v>40627</c:v>
                </c:pt>
                <c:pt idx="3006" formatCode="m/d/yyyy">
                  <c:v>40628</c:v>
                </c:pt>
                <c:pt idx="3007" formatCode="m/d/yyyy">
                  <c:v>40629</c:v>
                </c:pt>
                <c:pt idx="3008" formatCode="m/d/yyyy">
                  <c:v>40630</c:v>
                </c:pt>
                <c:pt idx="3009" formatCode="m/d/yyyy">
                  <c:v>40631</c:v>
                </c:pt>
                <c:pt idx="3010" formatCode="m/d/yyyy">
                  <c:v>40632</c:v>
                </c:pt>
                <c:pt idx="3011" formatCode="m/d/yyyy">
                  <c:v>40633</c:v>
                </c:pt>
                <c:pt idx="3012" formatCode="m/d/yyyy">
                  <c:v>40634</c:v>
                </c:pt>
                <c:pt idx="3013" formatCode="m/d/yyyy">
                  <c:v>40635</c:v>
                </c:pt>
                <c:pt idx="3014" formatCode="m/d/yyyy">
                  <c:v>40636</c:v>
                </c:pt>
                <c:pt idx="3015" formatCode="m/d/yyyy">
                  <c:v>40637</c:v>
                </c:pt>
                <c:pt idx="3016" formatCode="m/d/yyyy">
                  <c:v>40638</c:v>
                </c:pt>
                <c:pt idx="3017" formatCode="m/d/yyyy">
                  <c:v>40639</c:v>
                </c:pt>
                <c:pt idx="3018" formatCode="m/d/yyyy">
                  <c:v>40640</c:v>
                </c:pt>
                <c:pt idx="3019" formatCode="m/d/yyyy">
                  <c:v>40641</c:v>
                </c:pt>
                <c:pt idx="3020" formatCode="m/d/yyyy">
                  <c:v>40642</c:v>
                </c:pt>
                <c:pt idx="3021" formatCode="m/d/yyyy">
                  <c:v>40643</c:v>
                </c:pt>
                <c:pt idx="3022" formatCode="m/d/yyyy">
                  <c:v>40644</c:v>
                </c:pt>
                <c:pt idx="3023" formatCode="m/d/yyyy">
                  <c:v>40645</c:v>
                </c:pt>
                <c:pt idx="3024" formatCode="m/d/yyyy">
                  <c:v>40646</c:v>
                </c:pt>
                <c:pt idx="3025" formatCode="m/d/yyyy">
                  <c:v>40647</c:v>
                </c:pt>
                <c:pt idx="3026" formatCode="m/d/yyyy">
                  <c:v>40648</c:v>
                </c:pt>
                <c:pt idx="3027" formatCode="m/d/yyyy">
                  <c:v>40649</c:v>
                </c:pt>
                <c:pt idx="3028" formatCode="m/d/yyyy">
                  <c:v>40650</c:v>
                </c:pt>
                <c:pt idx="3029" formatCode="m/d/yyyy">
                  <c:v>40651</c:v>
                </c:pt>
                <c:pt idx="3030" formatCode="m/d/yyyy">
                  <c:v>40652</c:v>
                </c:pt>
                <c:pt idx="3031" formatCode="m/d/yyyy">
                  <c:v>40653</c:v>
                </c:pt>
                <c:pt idx="3032" formatCode="m/d/yyyy">
                  <c:v>40654</c:v>
                </c:pt>
                <c:pt idx="3033" formatCode="m/d/yyyy">
                  <c:v>40655</c:v>
                </c:pt>
                <c:pt idx="3034" formatCode="m/d/yyyy">
                  <c:v>40656</c:v>
                </c:pt>
                <c:pt idx="3035" formatCode="m/d/yyyy">
                  <c:v>40657</c:v>
                </c:pt>
                <c:pt idx="3036" formatCode="m/d/yyyy">
                  <c:v>40658</c:v>
                </c:pt>
                <c:pt idx="3037" formatCode="m/d/yyyy">
                  <c:v>40659</c:v>
                </c:pt>
                <c:pt idx="3038" formatCode="m/d/yyyy">
                  <c:v>40660</c:v>
                </c:pt>
                <c:pt idx="3039" formatCode="m/d/yyyy">
                  <c:v>40661</c:v>
                </c:pt>
                <c:pt idx="3040" formatCode="m/d/yyyy">
                  <c:v>40662</c:v>
                </c:pt>
                <c:pt idx="3041" formatCode="m/d/yyyy">
                  <c:v>40663</c:v>
                </c:pt>
                <c:pt idx="3042" formatCode="m/d/yyyy">
                  <c:v>40664</c:v>
                </c:pt>
                <c:pt idx="3043" formatCode="m/d/yyyy">
                  <c:v>40665</c:v>
                </c:pt>
                <c:pt idx="3044" formatCode="m/d/yyyy">
                  <c:v>40666</c:v>
                </c:pt>
                <c:pt idx="3045" formatCode="m/d/yyyy">
                  <c:v>40667</c:v>
                </c:pt>
                <c:pt idx="3046" formatCode="m/d/yyyy">
                  <c:v>40668</c:v>
                </c:pt>
                <c:pt idx="3047" formatCode="m/d/yyyy">
                  <c:v>40669</c:v>
                </c:pt>
                <c:pt idx="3048" formatCode="m/d/yyyy">
                  <c:v>40670</c:v>
                </c:pt>
                <c:pt idx="3049" formatCode="m/d/yyyy">
                  <c:v>40671</c:v>
                </c:pt>
                <c:pt idx="3050" formatCode="m/d/yyyy">
                  <c:v>40672</c:v>
                </c:pt>
                <c:pt idx="3051" formatCode="m/d/yyyy">
                  <c:v>40673</c:v>
                </c:pt>
                <c:pt idx="3052" formatCode="m/d/yyyy">
                  <c:v>40674</c:v>
                </c:pt>
                <c:pt idx="3053" formatCode="m/d/yyyy">
                  <c:v>40675</c:v>
                </c:pt>
                <c:pt idx="3054" formatCode="m/d/yyyy">
                  <c:v>40676</c:v>
                </c:pt>
                <c:pt idx="3055" formatCode="m/d/yyyy">
                  <c:v>40677</c:v>
                </c:pt>
                <c:pt idx="3056" formatCode="m/d/yyyy">
                  <c:v>40678</c:v>
                </c:pt>
                <c:pt idx="3057" formatCode="m/d/yyyy">
                  <c:v>40679</c:v>
                </c:pt>
                <c:pt idx="3058" formatCode="m/d/yyyy">
                  <c:v>40680</c:v>
                </c:pt>
                <c:pt idx="3059" formatCode="m/d/yyyy">
                  <c:v>40681</c:v>
                </c:pt>
                <c:pt idx="3060" formatCode="m/d/yyyy">
                  <c:v>40682</c:v>
                </c:pt>
                <c:pt idx="3061" formatCode="m/d/yyyy">
                  <c:v>40683</c:v>
                </c:pt>
                <c:pt idx="3062" formatCode="m/d/yyyy">
                  <c:v>40684</c:v>
                </c:pt>
                <c:pt idx="3063" formatCode="m/d/yyyy">
                  <c:v>40685</c:v>
                </c:pt>
                <c:pt idx="3064" formatCode="m/d/yyyy">
                  <c:v>40686</c:v>
                </c:pt>
                <c:pt idx="3065" formatCode="m/d/yyyy">
                  <c:v>40687</c:v>
                </c:pt>
                <c:pt idx="3066" formatCode="m/d/yyyy">
                  <c:v>40688</c:v>
                </c:pt>
                <c:pt idx="3067" formatCode="m/d/yyyy">
                  <c:v>40689</c:v>
                </c:pt>
                <c:pt idx="3068" formatCode="m/d/yyyy">
                  <c:v>40690</c:v>
                </c:pt>
                <c:pt idx="3069" formatCode="m/d/yyyy">
                  <c:v>40691</c:v>
                </c:pt>
                <c:pt idx="3070" formatCode="m/d/yyyy">
                  <c:v>40692</c:v>
                </c:pt>
                <c:pt idx="3071" formatCode="m/d/yyyy">
                  <c:v>40693</c:v>
                </c:pt>
                <c:pt idx="3072" formatCode="m/d/yyyy">
                  <c:v>40694</c:v>
                </c:pt>
                <c:pt idx="3073" formatCode="m/d/yyyy">
                  <c:v>40695</c:v>
                </c:pt>
                <c:pt idx="3074" formatCode="m/d/yyyy">
                  <c:v>40696</c:v>
                </c:pt>
                <c:pt idx="3075" formatCode="m/d/yyyy">
                  <c:v>40697</c:v>
                </c:pt>
                <c:pt idx="3076" formatCode="m/d/yyyy">
                  <c:v>40698</c:v>
                </c:pt>
                <c:pt idx="3077" formatCode="m/d/yyyy">
                  <c:v>40699</c:v>
                </c:pt>
                <c:pt idx="3078" formatCode="m/d/yyyy">
                  <c:v>40700</c:v>
                </c:pt>
                <c:pt idx="3079" formatCode="m/d/yyyy">
                  <c:v>40701</c:v>
                </c:pt>
                <c:pt idx="3080" formatCode="m/d/yyyy">
                  <c:v>40702</c:v>
                </c:pt>
                <c:pt idx="3081" formatCode="m/d/yyyy">
                  <c:v>40703</c:v>
                </c:pt>
                <c:pt idx="3082" formatCode="m/d/yyyy">
                  <c:v>40704</c:v>
                </c:pt>
                <c:pt idx="3083" formatCode="m/d/yyyy">
                  <c:v>40705</c:v>
                </c:pt>
                <c:pt idx="3084" formatCode="m/d/yyyy">
                  <c:v>40706</c:v>
                </c:pt>
                <c:pt idx="3085" formatCode="m/d/yyyy">
                  <c:v>40707</c:v>
                </c:pt>
                <c:pt idx="3086" formatCode="m/d/yyyy">
                  <c:v>40708</c:v>
                </c:pt>
                <c:pt idx="3087" formatCode="m/d/yyyy">
                  <c:v>40709</c:v>
                </c:pt>
                <c:pt idx="3088" formatCode="m/d/yyyy">
                  <c:v>40710</c:v>
                </c:pt>
                <c:pt idx="3089" formatCode="m/d/yyyy">
                  <c:v>40711</c:v>
                </c:pt>
                <c:pt idx="3090" formatCode="m/d/yyyy">
                  <c:v>40712</c:v>
                </c:pt>
                <c:pt idx="3091" formatCode="m/d/yyyy">
                  <c:v>40713</c:v>
                </c:pt>
                <c:pt idx="3092" formatCode="m/d/yyyy">
                  <c:v>40714</c:v>
                </c:pt>
                <c:pt idx="3093" formatCode="m/d/yyyy">
                  <c:v>40715</c:v>
                </c:pt>
                <c:pt idx="3094" formatCode="m/d/yyyy">
                  <c:v>40716</c:v>
                </c:pt>
                <c:pt idx="3095" formatCode="m/d/yyyy">
                  <c:v>40717</c:v>
                </c:pt>
                <c:pt idx="3096" formatCode="m/d/yyyy">
                  <c:v>40718</c:v>
                </c:pt>
                <c:pt idx="3097" formatCode="m/d/yyyy">
                  <c:v>40719</c:v>
                </c:pt>
                <c:pt idx="3098" formatCode="m/d/yyyy">
                  <c:v>40720</c:v>
                </c:pt>
                <c:pt idx="3099" formatCode="m/d/yyyy">
                  <c:v>40721</c:v>
                </c:pt>
                <c:pt idx="3100" formatCode="m/d/yyyy">
                  <c:v>40722</c:v>
                </c:pt>
                <c:pt idx="3101" formatCode="m/d/yyyy">
                  <c:v>40723</c:v>
                </c:pt>
                <c:pt idx="3102" formatCode="m/d/yyyy">
                  <c:v>40724</c:v>
                </c:pt>
                <c:pt idx="3103" formatCode="m/d/yyyy">
                  <c:v>40725</c:v>
                </c:pt>
                <c:pt idx="3104" formatCode="m/d/yyyy">
                  <c:v>40726</c:v>
                </c:pt>
                <c:pt idx="3105" formatCode="m/d/yyyy">
                  <c:v>40727</c:v>
                </c:pt>
                <c:pt idx="3106" formatCode="m/d/yyyy">
                  <c:v>40728</c:v>
                </c:pt>
                <c:pt idx="3107" formatCode="m/d/yyyy">
                  <c:v>40729</c:v>
                </c:pt>
                <c:pt idx="3108" formatCode="m/d/yyyy">
                  <c:v>40730</c:v>
                </c:pt>
                <c:pt idx="3109" formatCode="m/d/yyyy">
                  <c:v>40731</c:v>
                </c:pt>
                <c:pt idx="3110" formatCode="m/d/yyyy">
                  <c:v>40732</c:v>
                </c:pt>
                <c:pt idx="3111" formatCode="m/d/yyyy">
                  <c:v>40733</c:v>
                </c:pt>
                <c:pt idx="3112" formatCode="m/d/yyyy">
                  <c:v>40734</c:v>
                </c:pt>
                <c:pt idx="3113" formatCode="m/d/yyyy">
                  <c:v>40735</c:v>
                </c:pt>
                <c:pt idx="3114" formatCode="m/d/yyyy">
                  <c:v>40736</c:v>
                </c:pt>
                <c:pt idx="3115" formatCode="m/d/yyyy">
                  <c:v>40737</c:v>
                </c:pt>
                <c:pt idx="3116" formatCode="m/d/yyyy">
                  <c:v>40738</c:v>
                </c:pt>
                <c:pt idx="3117" formatCode="m/d/yyyy">
                  <c:v>40739</c:v>
                </c:pt>
                <c:pt idx="3118" formatCode="m/d/yyyy">
                  <c:v>40740</c:v>
                </c:pt>
                <c:pt idx="3119" formatCode="m/d/yyyy">
                  <c:v>40741</c:v>
                </c:pt>
                <c:pt idx="3120" formatCode="m/d/yyyy">
                  <c:v>40742</c:v>
                </c:pt>
                <c:pt idx="3121" formatCode="m/d/yyyy">
                  <c:v>40743</c:v>
                </c:pt>
                <c:pt idx="3122" formatCode="m/d/yyyy">
                  <c:v>40744</c:v>
                </c:pt>
                <c:pt idx="3123" formatCode="m/d/yyyy">
                  <c:v>40745</c:v>
                </c:pt>
                <c:pt idx="3124" formatCode="m/d/yyyy">
                  <c:v>40746</c:v>
                </c:pt>
                <c:pt idx="3125" formatCode="m/d/yyyy">
                  <c:v>40747</c:v>
                </c:pt>
                <c:pt idx="3126" formatCode="m/d/yyyy">
                  <c:v>40748</c:v>
                </c:pt>
                <c:pt idx="3127" formatCode="m/d/yyyy">
                  <c:v>40749</c:v>
                </c:pt>
                <c:pt idx="3128" formatCode="m/d/yyyy">
                  <c:v>40750</c:v>
                </c:pt>
                <c:pt idx="3129" formatCode="m/d/yyyy">
                  <c:v>40751</c:v>
                </c:pt>
                <c:pt idx="3130" formatCode="m/d/yyyy">
                  <c:v>40752</c:v>
                </c:pt>
                <c:pt idx="3131" formatCode="m/d/yyyy">
                  <c:v>40753</c:v>
                </c:pt>
                <c:pt idx="3132" formatCode="m/d/yyyy">
                  <c:v>40754</c:v>
                </c:pt>
                <c:pt idx="3133" formatCode="m/d/yyyy">
                  <c:v>40755</c:v>
                </c:pt>
                <c:pt idx="3134" formatCode="m/d/yyyy">
                  <c:v>40756</c:v>
                </c:pt>
                <c:pt idx="3135" formatCode="m/d/yyyy">
                  <c:v>40757</c:v>
                </c:pt>
                <c:pt idx="3136" formatCode="m/d/yyyy">
                  <c:v>40758</c:v>
                </c:pt>
                <c:pt idx="3137" formatCode="m/d/yyyy">
                  <c:v>40759</c:v>
                </c:pt>
                <c:pt idx="3138" formatCode="m/d/yyyy">
                  <c:v>40760</c:v>
                </c:pt>
                <c:pt idx="3139" formatCode="m/d/yyyy">
                  <c:v>40761</c:v>
                </c:pt>
                <c:pt idx="3140" formatCode="m/d/yyyy">
                  <c:v>40762</c:v>
                </c:pt>
                <c:pt idx="3141" formatCode="m/d/yyyy">
                  <c:v>40763</c:v>
                </c:pt>
                <c:pt idx="3142" formatCode="m/d/yyyy">
                  <c:v>40764</c:v>
                </c:pt>
                <c:pt idx="3143" formatCode="m/d/yyyy">
                  <c:v>40765</c:v>
                </c:pt>
                <c:pt idx="3144" formatCode="m/d/yyyy">
                  <c:v>40766</c:v>
                </c:pt>
                <c:pt idx="3145" formatCode="m/d/yyyy">
                  <c:v>40767</c:v>
                </c:pt>
                <c:pt idx="3146" formatCode="m/d/yyyy">
                  <c:v>40768</c:v>
                </c:pt>
                <c:pt idx="3147" formatCode="m/d/yyyy">
                  <c:v>40769</c:v>
                </c:pt>
                <c:pt idx="3148" formatCode="m/d/yyyy">
                  <c:v>40770</c:v>
                </c:pt>
                <c:pt idx="3149" formatCode="m/d/yyyy">
                  <c:v>40771</c:v>
                </c:pt>
                <c:pt idx="3150" formatCode="m/d/yyyy">
                  <c:v>40772</c:v>
                </c:pt>
                <c:pt idx="3151" formatCode="m/d/yyyy">
                  <c:v>40773</c:v>
                </c:pt>
                <c:pt idx="3152" formatCode="m/d/yyyy">
                  <c:v>40774</c:v>
                </c:pt>
                <c:pt idx="3153" formatCode="m/d/yyyy">
                  <c:v>40775</c:v>
                </c:pt>
                <c:pt idx="3154" formatCode="m/d/yyyy">
                  <c:v>40776</c:v>
                </c:pt>
                <c:pt idx="3155" formatCode="m/d/yyyy">
                  <c:v>40777</c:v>
                </c:pt>
                <c:pt idx="3156" formatCode="m/d/yyyy">
                  <c:v>40778</c:v>
                </c:pt>
                <c:pt idx="3157" formatCode="m/d/yyyy">
                  <c:v>40779</c:v>
                </c:pt>
                <c:pt idx="3158" formatCode="m/d/yyyy">
                  <c:v>40780</c:v>
                </c:pt>
                <c:pt idx="3159" formatCode="m/d/yyyy">
                  <c:v>40781</c:v>
                </c:pt>
                <c:pt idx="3160" formatCode="m/d/yyyy">
                  <c:v>40782</c:v>
                </c:pt>
                <c:pt idx="3161" formatCode="m/d/yyyy">
                  <c:v>40783</c:v>
                </c:pt>
                <c:pt idx="3162" formatCode="m/d/yyyy">
                  <c:v>40784</c:v>
                </c:pt>
                <c:pt idx="3163" formatCode="m/d/yyyy">
                  <c:v>40785</c:v>
                </c:pt>
                <c:pt idx="3164" formatCode="m/d/yyyy">
                  <c:v>40786</c:v>
                </c:pt>
                <c:pt idx="3165" formatCode="m/d/yyyy">
                  <c:v>40787</c:v>
                </c:pt>
                <c:pt idx="3166" formatCode="m/d/yyyy">
                  <c:v>40788</c:v>
                </c:pt>
                <c:pt idx="3167" formatCode="m/d/yyyy">
                  <c:v>40789</c:v>
                </c:pt>
                <c:pt idx="3168" formatCode="m/d/yyyy">
                  <c:v>40790</c:v>
                </c:pt>
                <c:pt idx="3169" formatCode="m/d/yyyy">
                  <c:v>40791</c:v>
                </c:pt>
                <c:pt idx="3170" formatCode="m/d/yyyy">
                  <c:v>40792</c:v>
                </c:pt>
                <c:pt idx="3171" formatCode="m/d/yyyy">
                  <c:v>40793</c:v>
                </c:pt>
                <c:pt idx="3172" formatCode="m/d/yyyy">
                  <c:v>40794</c:v>
                </c:pt>
                <c:pt idx="3173" formatCode="m/d/yyyy">
                  <c:v>40795</c:v>
                </c:pt>
                <c:pt idx="3174" formatCode="m/d/yyyy">
                  <c:v>40796</c:v>
                </c:pt>
                <c:pt idx="3175" formatCode="m/d/yyyy">
                  <c:v>40797</c:v>
                </c:pt>
                <c:pt idx="3176" formatCode="m/d/yyyy">
                  <c:v>40798</c:v>
                </c:pt>
                <c:pt idx="3177" formatCode="m/d/yyyy">
                  <c:v>40799</c:v>
                </c:pt>
                <c:pt idx="3178" formatCode="m/d/yyyy">
                  <c:v>40800</c:v>
                </c:pt>
                <c:pt idx="3179" formatCode="m/d/yyyy">
                  <c:v>40801</c:v>
                </c:pt>
                <c:pt idx="3180" formatCode="m/d/yyyy">
                  <c:v>40802</c:v>
                </c:pt>
                <c:pt idx="3181" formatCode="m/d/yyyy">
                  <c:v>40803</c:v>
                </c:pt>
                <c:pt idx="3182" formatCode="m/d/yyyy">
                  <c:v>40804</c:v>
                </c:pt>
                <c:pt idx="3183" formatCode="m/d/yyyy">
                  <c:v>40805</c:v>
                </c:pt>
                <c:pt idx="3184" formatCode="m/d/yyyy">
                  <c:v>40806</c:v>
                </c:pt>
                <c:pt idx="3185" formatCode="m/d/yyyy">
                  <c:v>40807</c:v>
                </c:pt>
                <c:pt idx="3186" formatCode="m/d/yyyy">
                  <c:v>40808</c:v>
                </c:pt>
                <c:pt idx="3187" formatCode="m/d/yyyy">
                  <c:v>40809</c:v>
                </c:pt>
                <c:pt idx="3188" formatCode="m/d/yyyy">
                  <c:v>40810</c:v>
                </c:pt>
                <c:pt idx="3189" formatCode="m/d/yyyy">
                  <c:v>40811</c:v>
                </c:pt>
                <c:pt idx="3190" formatCode="m/d/yyyy">
                  <c:v>40812</c:v>
                </c:pt>
                <c:pt idx="3191" formatCode="m/d/yyyy">
                  <c:v>40813</c:v>
                </c:pt>
                <c:pt idx="3192" formatCode="m/d/yyyy">
                  <c:v>40814</c:v>
                </c:pt>
                <c:pt idx="3193" formatCode="m/d/yyyy">
                  <c:v>40815</c:v>
                </c:pt>
                <c:pt idx="3194" formatCode="m/d/yyyy">
                  <c:v>40816</c:v>
                </c:pt>
                <c:pt idx="3195" formatCode="m/d/yyyy">
                  <c:v>40817</c:v>
                </c:pt>
                <c:pt idx="3196" formatCode="m/d/yyyy">
                  <c:v>40818</c:v>
                </c:pt>
                <c:pt idx="3197" formatCode="m/d/yyyy">
                  <c:v>40819</c:v>
                </c:pt>
                <c:pt idx="3198" formatCode="m/d/yyyy">
                  <c:v>40820</c:v>
                </c:pt>
                <c:pt idx="3199" formatCode="m/d/yyyy">
                  <c:v>40821</c:v>
                </c:pt>
                <c:pt idx="3200" formatCode="m/d/yyyy">
                  <c:v>40822</c:v>
                </c:pt>
                <c:pt idx="3201" formatCode="m/d/yyyy">
                  <c:v>40823</c:v>
                </c:pt>
                <c:pt idx="3202" formatCode="m/d/yyyy">
                  <c:v>40824</c:v>
                </c:pt>
                <c:pt idx="3203" formatCode="m/d/yyyy">
                  <c:v>40825</c:v>
                </c:pt>
                <c:pt idx="3204" formatCode="m/d/yyyy">
                  <c:v>40826</c:v>
                </c:pt>
                <c:pt idx="3205" formatCode="m/d/yyyy">
                  <c:v>40827</c:v>
                </c:pt>
                <c:pt idx="3206" formatCode="m/d/yyyy">
                  <c:v>40828</c:v>
                </c:pt>
                <c:pt idx="3207" formatCode="m/d/yyyy">
                  <c:v>40829</c:v>
                </c:pt>
                <c:pt idx="3208" formatCode="m/d/yyyy">
                  <c:v>40830</c:v>
                </c:pt>
                <c:pt idx="3209" formatCode="m/d/yyyy">
                  <c:v>40831</c:v>
                </c:pt>
                <c:pt idx="3210" formatCode="m/d/yyyy">
                  <c:v>40832</c:v>
                </c:pt>
                <c:pt idx="3211" formatCode="m/d/yyyy">
                  <c:v>40833</c:v>
                </c:pt>
                <c:pt idx="3212" formatCode="m/d/yyyy">
                  <c:v>40834</c:v>
                </c:pt>
                <c:pt idx="3213" formatCode="m/d/yyyy">
                  <c:v>40835</c:v>
                </c:pt>
                <c:pt idx="3214" formatCode="m/d/yyyy">
                  <c:v>40836</c:v>
                </c:pt>
                <c:pt idx="3215" formatCode="m/d/yyyy">
                  <c:v>40837</c:v>
                </c:pt>
                <c:pt idx="3216" formatCode="m/d/yyyy">
                  <c:v>40838</c:v>
                </c:pt>
                <c:pt idx="3217" formatCode="m/d/yyyy">
                  <c:v>40839</c:v>
                </c:pt>
                <c:pt idx="3218" formatCode="m/d/yyyy">
                  <c:v>40840</c:v>
                </c:pt>
                <c:pt idx="3219" formatCode="m/d/yyyy">
                  <c:v>40841</c:v>
                </c:pt>
                <c:pt idx="3220" formatCode="m/d/yyyy">
                  <c:v>40842</c:v>
                </c:pt>
                <c:pt idx="3221" formatCode="m/d/yyyy">
                  <c:v>40843</c:v>
                </c:pt>
                <c:pt idx="3222" formatCode="m/d/yyyy">
                  <c:v>40844</c:v>
                </c:pt>
                <c:pt idx="3223" formatCode="m/d/yyyy">
                  <c:v>40845</c:v>
                </c:pt>
                <c:pt idx="3224" formatCode="m/d/yyyy">
                  <c:v>40846</c:v>
                </c:pt>
                <c:pt idx="3225" formatCode="m/d/yyyy">
                  <c:v>40847</c:v>
                </c:pt>
                <c:pt idx="3226" formatCode="m/d/yyyy">
                  <c:v>40848</c:v>
                </c:pt>
                <c:pt idx="3227" formatCode="m/d/yyyy">
                  <c:v>40849</c:v>
                </c:pt>
                <c:pt idx="3228" formatCode="m/d/yyyy">
                  <c:v>40850</c:v>
                </c:pt>
                <c:pt idx="3229" formatCode="m/d/yyyy">
                  <c:v>40851</c:v>
                </c:pt>
                <c:pt idx="3230" formatCode="m/d/yyyy">
                  <c:v>40852</c:v>
                </c:pt>
                <c:pt idx="3231" formatCode="m/d/yyyy">
                  <c:v>40853</c:v>
                </c:pt>
                <c:pt idx="3232" formatCode="m/d/yyyy">
                  <c:v>40854</c:v>
                </c:pt>
                <c:pt idx="3233" formatCode="m/d/yyyy">
                  <c:v>40855</c:v>
                </c:pt>
                <c:pt idx="3234" formatCode="m/d/yyyy">
                  <c:v>40856</c:v>
                </c:pt>
                <c:pt idx="3235" formatCode="m/d/yyyy">
                  <c:v>40857</c:v>
                </c:pt>
                <c:pt idx="3236" formatCode="m/d/yyyy">
                  <c:v>40858</c:v>
                </c:pt>
                <c:pt idx="3237" formatCode="m/d/yyyy">
                  <c:v>40859</c:v>
                </c:pt>
                <c:pt idx="3238" formatCode="m/d/yyyy">
                  <c:v>40860</c:v>
                </c:pt>
                <c:pt idx="3239" formatCode="m/d/yyyy">
                  <c:v>40861</c:v>
                </c:pt>
                <c:pt idx="3240" formatCode="m/d/yyyy">
                  <c:v>40862</c:v>
                </c:pt>
                <c:pt idx="3241" formatCode="m/d/yyyy">
                  <c:v>40863</c:v>
                </c:pt>
                <c:pt idx="3242" formatCode="m/d/yyyy">
                  <c:v>40864</c:v>
                </c:pt>
                <c:pt idx="3243" formatCode="m/d/yyyy">
                  <c:v>40865</c:v>
                </c:pt>
                <c:pt idx="3244" formatCode="m/d/yyyy">
                  <c:v>40866</c:v>
                </c:pt>
                <c:pt idx="3245" formatCode="m/d/yyyy">
                  <c:v>40867</c:v>
                </c:pt>
                <c:pt idx="3246" formatCode="m/d/yyyy">
                  <c:v>40868</c:v>
                </c:pt>
                <c:pt idx="3247" formatCode="m/d/yyyy">
                  <c:v>40869</c:v>
                </c:pt>
                <c:pt idx="3248" formatCode="m/d/yyyy">
                  <c:v>40870</c:v>
                </c:pt>
                <c:pt idx="3249" formatCode="m/d/yyyy">
                  <c:v>40871</c:v>
                </c:pt>
                <c:pt idx="3250" formatCode="m/d/yyyy">
                  <c:v>40872</c:v>
                </c:pt>
                <c:pt idx="3251" formatCode="m/d/yyyy">
                  <c:v>40873</c:v>
                </c:pt>
                <c:pt idx="3252" formatCode="m/d/yyyy">
                  <c:v>40874</c:v>
                </c:pt>
                <c:pt idx="3253" formatCode="m/d/yyyy">
                  <c:v>40875</c:v>
                </c:pt>
                <c:pt idx="3254" formatCode="m/d/yyyy">
                  <c:v>40876</c:v>
                </c:pt>
                <c:pt idx="3255" formatCode="m/d/yyyy">
                  <c:v>40877</c:v>
                </c:pt>
                <c:pt idx="3256" formatCode="m/d/yyyy">
                  <c:v>40878</c:v>
                </c:pt>
                <c:pt idx="3257" formatCode="m/d/yyyy">
                  <c:v>40879</c:v>
                </c:pt>
                <c:pt idx="3258" formatCode="m/d/yyyy">
                  <c:v>40880</c:v>
                </c:pt>
                <c:pt idx="3259" formatCode="m/d/yyyy">
                  <c:v>40881</c:v>
                </c:pt>
                <c:pt idx="3260" formatCode="m/d/yyyy">
                  <c:v>40882</c:v>
                </c:pt>
                <c:pt idx="3261" formatCode="m/d/yyyy">
                  <c:v>40883</c:v>
                </c:pt>
                <c:pt idx="3262" formatCode="m/d/yyyy">
                  <c:v>40884</c:v>
                </c:pt>
                <c:pt idx="3263" formatCode="m/d/yyyy">
                  <c:v>40885</c:v>
                </c:pt>
                <c:pt idx="3264" formatCode="m/d/yyyy">
                  <c:v>40886</c:v>
                </c:pt>
                <c:pt idx="3265" formatCode="m/d/yyyy">
                  <c:v>40887</c:v>
                </c:pt>
                <c:pt idx="3266" formatCode="m/d/yyyy">
                  <c:v>40888</c:v>
                </c:pt>
                <c:pt idx="3267" formatCode="m/d/yyyy">
                  <c:v>40889</c:v>
                </c:pt>
                <c:pt idx="3268" formatCode="m/d/yyyy">
                  <c:v>40890</c:v>
                </c:pt>
                <c:pt idx="3269" formatCode="m/d/yyyy">
                  <c:v>40891</c:v>
                </c:pt>
                <c:pt idx="3270" formatCode="m/d/yyyy">
                  <c:v>40892</c:v>
                </c:pt>
                <c:pt idx="3271" formatCode="m/d/yyyy">
                  <c:v>40893</c:v>
                </c:pt>
                <c:pt idx="3272" formatCode="m/d/yyyy">
                  <c:v>40894</c:v>
                </c:pt>
                <c:pt idx="3273" formatCode="m/d/yyyy">
                  <c:v>40895</c:v>
                </c:pt>
                <c:pt idx="3274" formatCode="m/d/yyyy">
                  <c:v>40896</c:v>
                </c:pt>
                <c:pt idx="3275" formatCode="m/d/yyyy">
                  <c:v>40897</c:v>
                </c:pt>
                <c:pt idx="3276" formatCode="m/d/yyyy">
                  <c:v>40898</c:v>
                </c:pt>
                <c:pt idx="3277" formatCode="m/d/yyyy">
                  <c:v>40899</c:v>
                </c:pt>
                <c:pt idx="3278" formatCode="m/d/yyyy">
                  <c:v>40900</c:v>
                </c:pt>
                <c:pt idx="3279" formatCode="m/d/yyyy">
                  <c:v>40901</c:v>
                </c:pt>
                <c:pt idx="3280" formatCode="m/d/yyyy">
                  <c:v>40902</c:v>
                </c:pt>
                <c:pt idx="3281" formatCode="m/d/yyyy">
                  <c:v>40903</c:v>
                </c:pt>
                <c:pt idx="3282" formatCode="m/d/yyyy">
                  <c:v>40904</c:v>
                </c:pt>
                <c:pt idx="3283" formatCode="m/d/yyyy">
                  <c:v>40905</c:v>
                </c:pt>
                <c:pt idx="3284" formatCode="m/d/yyyy">
                  <c:v>40906</c:v>
                </c:pt>
                <c:pt idx="3285" formatCode="m/d/yyyy">
                  <c:v>40907</c:v>
                </c:pt>
                <c:pt idx="3286" formatCode="m/d/yyyy">
                  <c:v>40908</c:v>
                </c:pt>
                <c:pt idx="3287" formatCode="m/d/yyyy">
                  <c:v>40909</c:v>
                </c:pt>
                <c:pt idx="3288" formatCode="m/d/yyyy">
                  <c:v>40910</c:v>
                </c:pt>
                <c:pt idx="3289" formatCode="m/d/yyyy">
                  <c:v>40911</c:v>
                </c:pt>
                <c:pt idx="3290" formatCode="m/d/yyyy">
                  <c:v>40912</c:v>
                </c:pt>
                <c:pt idx="3291" formatCode="m/d/yyyy">
                  <c:v>40913</c:v>
                </c:pt>
                <c:pt idx="3292" formatCode="m/d/yyyy">
                  <c:v>40914</c:v>
                </c:pt>
                <c:pt idx="3293" formatCode="m/d/yyyy">
                  <c:v>40915</c:v>
                </c:pt>
                <c:pt idx="3294" formatCode="m/d/yyyy">
                  <c:v>40916</c:v>
                </c:pt>
                <c:pt idx="3295" formatCode="m/d/yyyy">
                  <c:v>40917</c:v>
                </c:pt>
                <c:pt idx="3296" formatCode="m/d/yyyy">
                  <c:v>40918</c:v>
                </c:pt>
                <c:pt idx="3297" formatCode="m/d/yyyy">
                  <c:v>40919</c:v>
                </c:pt>
                <c:pt idx="3298" formatCode="m/d/yyyy">
                  <c:v>40920</c:v>
                </c:pt>
                <c:pt idx="3299" formatCode="m/d/yyyy">
                  <c:v>40921</c:v>
                </c:pt>
                <c:pt idx="3300" formatCode="m/d/yyyy">
                  <c:v>40922</c:v>
                </c:pt>
                <c:pt idx="3301" formatCode="m/d/yyyy">
                  <c:v>40923</c:v>
                </c:pt>
                <c:pt idx="3302" formatCode="m/d/yyyy">
                  <c:v>40924</c:v>
                </c:pt>
                <c:pt idx="3303" formatCode="m/d/yyyy">
                  <c:v>40925</c:v>
                </c:pt>
                <c:pt idx="3304" formatCode="m/d/yyyy">
                  <c:v>40926</c:v>
                </c:pt>
                <c:pt idx="3305" formatCode="m/d/yyyy">
                  <c:v>40927</c:v>
                </c:pt>
                <c:pt idx="3306" formatCode="m/d/yyyy">
                  <c:v>40928</c:v>
                </c:pt>
                <c:pt idx="3307" formatCode="m/d/yyyy">
                  <c:v>40929</c:v>
                </c:pt>
                <c:pt idx="3308" formatCode="m/d/yyyy">
                  <c:v>40930</c:v>
                </c:pt>
                <c:pt idx="3309" formatCode="m/d/yyyy">
                  <c:v>40931</c:v>
                </c:pt>
                <c:pt idx="3310" formatCode="m/d/yyyy">
                  <c:v>40932</c:v>
                </c:pt>
                <c:pt idx="3311" formatCode="m/d/yyyy">
                  <c:v>40933</c:v>
                </c:pt>
                <c:pt idx="3312" formatCode="m/d/yyyy">
                  <c:v>40934</c:v>
                </c:pt>
                <c:pt idx="3313" formatCode="m/d/yyyy">
                  <c:v>40935</c:v>
                </c:pt>
                <c:pt idx="3314" formatCode="m/d/yyyy">
                  <c:v>40936</c:v>
                </c:pt>
                <c:pt idx="3315" formatCode="m/d/yyyy">
                  <c:v>40937</c:v>
                </c:pt>
                <c:pt idx="3316" formatCode="m/d/yyyy">
                  <c:v>40938</c:v>
                </c:pt>
                <c:pt idx="3317" formatCode="m/d/yyyy">
                  <c:v>40939</c:v>
                </c:pt>
                <c:pt idx="3318" formatCode="m/d/yyyy">
                  <c:v>40940</c:v>
                </c:pt>
                <c:pt idx="3319" formatCode="m/d/yyyy">
                  <c:v>40941</c:v>
                </c:pt>
                <c:pt idx="3320" formatCode="m/d/yyyy">
                  <c:v>40942</c:v>
                </c:pt>
                <c:pt idx="3321" formatCode="m/d/yyyy">
                  <c:v>40943</c:v>
                </c:pt>
                <c:pt idx="3322" formatCode="m/d/yyyy">
                  <c:v>40944</c:v>
                </c:pt>
                <c:pt idx="3323" formatCode="m/d/yyyy">
                  <c:v>40945</c:v>
                </c:pt>
                <c:pt idx="3324" formatCode="m/d/yyyy">
                  <c:v>40946</c:v>
                </c:pt>
                <c:pt idx="3325" formatCode="m/d/yyyy">
                  <c:v>40947</c:v>
                </c:pt>
                <c:pt idx="3326" formatCode="m/d/yyyy">
                  <c:v>40948</c:v>
                </c:pt>
                <c:pt idx="3327" formatCode="m/d/yyyy">
                  <c:v>40949</c:v>
                </c:pt>
                <c:pt idx="3328" formatCode="m/d/yyyy">
                  <c:v>40950</c:v>
                </c:pt>
                <c:pt idx="3329" formatCode="m/d/yyyy">
                  <c:v>40951</c:v>
                </c:pt>
                <c:pt idx="3330" formatCode="m/d/yyyy">
                  <c:v>40952</c:v>
                </c:pt>
                <c:pt idx="3331" formatCode="m/d/yyyy">
                  <c:v>40953</c:v>
                </c:pt>
                <c:pt idx="3332" formatCode="m/d/yyyy">
                  <c:v>40954</c:v>
                </c:pt>
                <c:pt idx="3333" formatCode="m/d/yyyy">
                  <c:v>40955</c:v>
                </c:pt>
                <c:pt idx="3334" formatCode="m/d/yyyy">
                  <c:v>40956</c:v>
                </c:pt>
                <c:pt idx="3335" formatCode="m/d/yyyy">
                  <c:v>40957</c:v>
                </c:pt>
                <c:pt idx="3336" formatCode="m/d/yyyy">
                  <c:v>40958</c:v>
                </c:pt>
                <c:pt idx="3337" formatCode="m/d/yyyy">
                  <c:v>40959</c:v>
                </c:pt>
                <c:pt idx="3338" formatCode="m/d/yyyy">
                  <c:v>40960</c:v>
                </c:pt>
                <c:pt idx="3339" formatCode="m/d/yyyy">
                  <c:v>40961</c:v>
                </c:pt>
                <c:pt idx="3340" formatCode="m/d/yyyy">
                  <c:v>40962</c:v>
                </c:pt>
                <c:pt idx="3341" formatCode="m/d/yyyy">
                  <c:v>40963</c:v>
                </c:pt>
                <c:pt idx="3342" formatCode="m/d/yyyy">
                  <c:v>40964</c:v>
                </c:pt>
                <c:pt idx="3343" formatCode="m/d/yyyy">
                  <c:v>40965</c:v>
                </c:pt>
                <c:pt idx="3344" formatCode="m/d/yyyy">
                  <c:v>40966</c:v>
                </c:pt>
                <c:pt idx="3345" formatCode="m/d/yyyy">
                  <c:v>40967</c:v>
                </c:pt>
                <c:pt idx="3346" formatCode="m/d/yyyy">
                  <c:v>40968</c:v>
                </c:pt>
                <c:pt idx="3347" formatCode="m/d/yyyy">
                  <c:v>40969</c:v>
                </c:pt>
                <c:pt idx="3348" formatCode="m/d/yyyy">
                  <c:v>40970</c:v>
                </c:pt>
                <c:pt idx="3349" formatCode="m/d/yyyy">
                  <c:v>40971</c:v>
                </c:pt>
                <c:pt idx="3350" formatCode="m/d/yyyy">
                  <c:v>40972</c:v>
                </c:pt>
                <c:pt idx="3351" formatCode="m/d/yyyy">
                  <c:v>40973</c:v>
                </c:pt>
                <c:pt idx="3352" formatCode="m/d/yyyy">
                  <c:v>40974</c:v>
                </c:pt>
                <c:pt idx="3353" formatCode="m/d/yyyy">
                  <c:v>40975</c:v>
                </c:pt>
                <c:pt idx="3354" formatCode="m/d/yyyy">
                  <c:v>40976</c:v>
                </c:pt>
                <c:pt idx="3355" formatCode="m/d/yyyy">
                  <c:v>40977</c:v>
                </c:pt>
                <c:pt idx="3356" formatCode="m/d/yyyy">
                  <c:v>40978</c:v>
                </c:pt>
                <c:pt idx="3357" formatCode="m/d/yyyy">
                  <c:v>40979</c:v>
                </c:pt>
                <c:pt idx="3358" formatCode="m/d/yyyy">
                  <c:v>40980</c:v>
                </c:pt>
                <c:pt idx="3359" formatCode="m/d/yyyy">
                  <c:v>40981</c:v>
                </c:pt>
                <c:pt idx="3360" formatCode="m/d/yyyy">
                  <c:v>40982</c:v>
                </c:pt>
                <c:pt idx="3361" formatCode="m/d/yyyy">
                  <c:v>40983</c:v>
                </c:pt>
                <c:pt idx="3362" formatCode="m/d/yyyy">
                  <c:v>40984</c:v>
                </c:pt>
                <c:pt idx="3363" formatCode="m/d/yyyy">
                  <c:v>40985</c:v>
                </c:pt>
                <c:pt idx="3364" formatCode="m/d/yyyy">
                  <c:v>40986</c:v>
                </c:pt>
                <c:pt idx="3365" formatCode="m/d/yyyy">
                  <c:v>40987</c:v>
                </c:pt>
                <c:pt idx="3366" formatCode="m/d/yyyy">
                  <c:v>40988</c:v>
                </c:pt>
                <c:pt idx="3367" formatCode="m/d/yyyy">
                  <c:v>40989</c:v>
                </c:pt>
                <c:pt idx="3368" formatCode="m/d/yyyy">
                  <c:v>40990</c:v>
                </c:pt>
                <c:pt idx="3369" formatCode="m/d/yyyy">
                  <c:v>40991</c:v>
                </c:pt>
                <c:pt idx="3370" formatCode="m/d/yyyy">
                  <c:v>40992</c:v>
                </c:pt>
                <c:pt idx="3371" formatCode="m/d/yyyy">
                  <c:v>40993</c:v>
                </c:pt>
                <c:pt idx="3372" formatCode="m/d/yyyy">
                  <c:v>40994</c:v>
                </c:pt>
                <c:pt idx="3373" formatCode="m/d/yyyy">
                  <c:v>40995</c:v>
                </c:pt>
                <c:pt idx="3374" formatCode="m/d/yyyy">
                  <c:v>40996</c:v>
                </c:pt>
                <c:pt idx="3375" formatCode="m/d/yyyy">
                  <c:v>40997</c:v>
                </c:pt>
                <c:pt idx="3376" formatCode="m/d/yyyy">
                  <c:v>40998</c:v>
                </c:pt>
                <c:pt idx="3377" formatCode="m/d/yyyy">
                  <c:v>40999</c:v>
                </c:pt>
                <c:pt idx="3378" formatCode="m/d/yyyy">
                  <c:v>41000</c:v>
                </c:pt>
                <c:pt idx="3379" formatCode="m/d/yyyy">
                  <c:v>41001</c:v>
                </c:pt>
                <c:pt idx="3380" formatCode="m/d/yyyy">
                  <c:v>41002</c:v>
                </c:pt>
                <c:pt idx="3381" formatCode="m/d/yyyy">
                  <c:v>41003</c:v>
                </c:pt>
                <c:pt idx="3382" formatCode="m/d/yyyy">
                  <c:v>41004</c:v>
                </c:pt>
                <c:pt idx="3383" formatCode="m/d/yyyy">
                  <c:v>41005</c:v>
                </c:pt>
                <c:pt idx="3384" formatCode="m/d/yyyy">
                  <c:v>41006</c:v>
                </c:pt>
                <c:pt idx="3385" formatCode="m/d/yyyy">
                  <c:v>41007</c:v>
                </c:pt>
                <c:pt idx="3386" formatCode="m/d/yyyy">
                  <c:v>41008</c:v>
                </c:pt>
                <c:pt idx="3387" formatCode="m/d/yyyy">
                  <c:v>41009</c:v>
                </c:pt>
                <c:pt idx="3388" formatCode="m/d/yyyy">
                  <c:v>41010</c:v>
                </c:pt>
                <c:pt idx="3389" formatCode="m/d/yyyy">
                  <c:v>41011</c:v>
                </c:pt>
                <c:pt idx="3390" formatCode="m/d/yyyy">
                  <c:v>41012</c:v>
                </c:pt>
                <c:pt idx="3391" formatCode="m/d/yyyy">
                  <c:v>41013</c:v>
                </c:pt>
                <c:pt idx="3392" formatCode="m/d/yyyy">
                  <c:v>41014</c:v>
                </c:pt>
                <c:pt idx="3393" formatCode="m/d/yyyy">
                  <c:v>41015</c:v>
                </c:pt>
                <c:pt idx="3394" formatCode="m/d/yyyy">
                  <c:v>41016</c:v>
                </c:pt>
                <c:pt idx="3395" formatCode="m/d/yyyy">
                  <c:v>41017</c:v>
                </c:pt>
                <c:pt idx="3396" formatCode="m/d/yyyy">
                  <c:v>41018</c:v>
                </c:pt>
                <c:pt idx="3397" formatCode="m/d/yyyy">
                  <c:v>41019</c:v>
                </c:pt>
                <c:pt idx="3398" formatCode="m/d/yyyy">
                  <c:v>41020</c:v>
                </c:pt>
                <c:pt idx="3399" formatCode="m/d/yyyy">
                  <c:v>41021</c:v>
                </c:pt>
                <c:pt idx="3400" formatCode="m/d/yyyy">
                  <c:v>41022</c:v>
                </c:pt>
                <c:pt idx="3401" formatCode="m/d/yyyy">
                  <c:v>41023</c:v>
                </c:pt>
                <c:pt idx="3402" formatCode="m/d/yyyy">
                  <c:v>41024</c:v>
                </c:pt>
                <c:pt idx="3403" formatCode="m/d/yyyy">
                  <c:v>41025</c:v>
                </c:pt>
                <c:pt idx="3404" formatCode="m/d/yyyy">
                  <c:v>41026</c:v>
                </c:pt>
                <c:pt idx="3405" formatCode="m/d/yyyy">
                  <c:v>41027</c:v>
                </c:pt>
                <c:pt idx="3406" formatCode="m/d/yyyy">
                  <c:v>41028</c:v>
                </c:pt>
                <c:pt idx="3407" formatCode="m/d/yyyy">
                  <c:v>41029</c:v>
                </c:pt>
                <c:pt idx="3408" formatCode="m/d/yyyy">
                  <c:v>41030</c:v>
                </c:pt>
                <c:pt idx="3409" formatCode="m/d/yyyy">
                  <c:v>41031</c:v>
                </c:pt>
                <c:pt idx="3410" formatCode="m/d/yyyy">
                  <c:v>41032</c:v>
                </c:pt>
                <c:pt idx="3411" formatCode="m/d/yyyy">
                  <c:v>41033</c:v>
                </c:pt>
                <c:pt idx="3412" formatCode="m/d/yyyy">
                  <c:v>41034</c:v>
                </c:pt>
                <c:pt idx="3413" formatCode="m/d/yyyy">
                  <c:v>41035</c:v>
                </c:pt>
                <c:pt idx="3414" formatCode="m/d/yyyy">
                  <c:v>41036</c:v>
                </c:pt>
                <c:pt idx="3415" formatCode="m/d/yyyy">
                  <c:v>41037</c:v>
                </c:pt>
                <c:pt idx="3416" formatCode="m/d/yyyy">
                  <c:v>41038</c:v>
                </c:pt>
                <c:pt idx="3417" formatCode="m/d/yyyy">
                  <c:v>41039</c:v>
                </c:pt>
                <c:pt idx="3418" formatCode="m/d/yyyy">
                  <c:v>41040</c:v>
                </c:pt>
                <c:pt idx="3419" formatCode="m/d/yyyy">
                  <c:v>41041</c:v>
                </c:pt>
                <c:pt idx="3420" formatCode="m/d/yyyy">
                  <c:v>41042</c:v>
                </c:pt>
                <c:pt idx="3421" formatCode="m/d/yyyy">
                  <c:v>41043</c:v>
                </c:pt>
                <c:pt idx="3422" formatCode="m/d/yyyy">
                  <c:v>41044</c:v>
                </c:pt>
                <c:pt idx="3423" formatCode="m/d/yyyy">
                  <c:v>41045</c:v>
                </c:pt>
                <c:pt idx="3424" formatCode="m/d/yyyy">
                  <c:v>41046</c:v>
                </c:pt>
                <c:pt idx="3425" formatCode="m/d/yyyy">
                  <c:v>41047</c:v>
                </c:pt>
                <c:pt idx="3426" formatCode="m/d/yyyy">
                  <c:v>41048</c:v>
                </c:pt>
                <c:pt idx="3427" formatCode="m/d/yyyy">
                  <c:v>41049</c:v>
                </c:pt>
                <c:pt idx="3428" formatCode="m/d/yyyy">
                  <c:v>41050</c:v>
                </c:pt>
                <c:pt idx="3429" formatCode="m/d/yyyy">
                  <c:v>41051</c:v>
                </c:pt>
                <c:pt idx="3430" formatCode="m/d/yyyy">
                  <c:v>41052</c:v>
                </c:pt>
                <c:pt idx="3431" formatCode="m/d/yyyy">
                  <c:v>41053</c:v>
                </c:pt>
                <c:pt idx="3432" formatCode="m/d/yyyy">
                  <c:v>41054</c:v>
                </c:pt>
                <c:pt idx="3433" formatCode="m/d/yyyy">
                  <c:v>41055</c:v>
                </c:pt>
                <c:pt idx="3434" formatCode="m/d/yyyy">
                  <c:v>41056</c:v>
                </c:pt>
                <c:pt idx="3435" formatCode="m/d/yyyy">
                  <c:v>41057</c:v>
                </c:pt>
                <c:pt idx="3436" formatCode="m/d/yyyy">
                  <c:v>41058</c:v>
                </c:pt>
                <c:pt idx="3437" formatCode="m/d/yyyy">
                  <c:v>41059</c:v>
                </c:pt>
                <c:pt idx="3438" formatCode="m/d/yyyy">
                  <c:v>41060</c:v>
                </c:pt>
                <c:pt idx="3439" formatCode="m/d/yyyy">
                  <c:v>41061</c:v>
                </c:pt>
                <c:pt idx="3440" formatCode="m/d/yyyy">
                  <c:v>41062</c:v>
                </c:pt>
                <c:pt idx="3441" formatCode="m/d/yyyy">
                  <c:v>41063</c:v>
                </c:pt>
                <c:pt idx="3442" formatCode="m/d/yyyy">
                  <c:v>41064</c:v>
                </c:pt>
                <c:pt idx="3443" formatCode="m/d/yyyy">
                  <c:v>41065</c:v>
                </c:pt>
                <c:pt idx="3444" formatCode="m/d/yyyy">
                  <c:v>41066</c:v>
                </c:pt>
                <c:pt idx="3445" formatCode="m/d/yyyy">
                  <c:v>41067</c:v>
                </c:pt>
                <c:pt idx="3446" formatCode="m/d/yyyy">
                  <c:v>41068</c:v>
                </c:pt>
                <c:pt idx="3447" formatCode="m/d/yyyy">
                  <c:v>41069</c:v>
                </c:pt>
                <c:pt idx="3448" formatCode="m/d/yyyy">
                  <c:v>41070</c:v>
                </c:pt>
                <c:pt idx="3449" formatCode="m/d/yyyy">
                  <c:v>41071</c:v>
                </c:pt>
                <c:pt idx="3450" formatCode="m/d/yyyy">
                  <c:v>41072</c:v>
                </c:pt>
                <c:pt idx="3451" formatCode="m/d/yyyy">
                  <c:v>41073</c:v>
                </c:pt>
                <c:pt idx="3452" formatCode="m/d/yyyy">
                  <c:v>41074</c:v>
                </c:pt>
                <c:pt idx="3453" formatCode="m/d/yyyy">
                  <c:v>41075</c:v>
                </c:pt>
                <c:pt idx="3454" formatCode="m/d/yyyy">
                  <c:v>41076</c:v>
                </c:pt>
                <c:pt idx="3455" formatCode="m/d/yyyy">
                  <c:v>41077</c:v>
                </c:pt>
                <c:pt idx="3456" formatCode="m/d/yyyy">
                  <c:v>41078</c:v>
                </c:pt>
                <c:pt idx="3457" formatCode="m/d/yyyy">
                  <c:v>41079</c:v>
                </c:pt>
                <c:pt idx="3458" formatCode="m/d/yyyy">
                  <c:v>41080</c:v>
                </c:pt>
                <c:pt idx="3459" formatCode="m/d/yyyy">
                  <c:v>41081</c:v>
                </c:pt>
                <c:pt idx="3460" formatCode="m/d/yyyy">
                  <c:v>41082</c:v>
                </c:pt>
                <c:pt idx="3461" formatCode="m/d/yyyy">
                  <c:v>41083</c:v>
                </c:pt>
                <c:pt idx="3462" formatCode="m/d/yyyy">
                  <c:v>41084</c:v>
                </c:pt>
                <c:pt idx="3463" formatCode="m/d/yyyy">
                  <c:v>41085</c:v>
                </c:pt>
                <c:pt idx="3464" formatCode="m/d/yyyy">
                  <c:v>41086</c:v>
                </c:pt>
                <c:pt idx="3465" formatCode="m/d/yyyy">
                  <c:v>41087</c:v>
                </c:pt>
                <c:pt idx="3466" formatCode="m/d/yyyy">
                  <c:v>41088</c:v>
                </c:pt>
                <c:pt idx="3467" formatCode="m/d/yyyy">
                  <c:v>41089</c:v>
                </c:pt>
                <c:pt idx="3468" formatCode="m/d/yyyy">
                  <c:v>41090</c:v>
                </c:pt>
                <c:pt idx="3469" formatCode="m/d/yyyy">
                  <c:v>41091</c:v>
                </c:pt>
                <c:pt idx="3470" formatCode="m/d/yyyy">
                  <c:v>41092</c:v>
                </c:pt>
                <c:pt idx="3471" formatCode="m/d/yyyy">
                  <c:v>41093</c:v>
                </c:pt>
                <c:pt idx="3472" formatCode="m/d/yyyy">
                  <c:v>41094</c:v>
                </c:pt>
                <c:pt idx="3473" formatCode="m/d/yyyy">
                  <c:v>41095</c:v>
                </c:pt>
                <c:pt idx="3474" formatCode="m/d/yyyy">
                  <c:v>41096</c:v>
                </c:pt>
                <c:pt idx="3475" formatCode="m/d/yyyy">
                  <c:v>41097</c:v>
                </c:pt>
                <c:pt idx="3476" formatCode="m/d/yyyy">
                  <c:v>41098</c:v>
                </c:pt>
                <c:pt idx="3477" formatCode="m/d/yyyy">
                  <c:v>41099</c:v>
                </c:pt>
                <c:pt idx="3478" formatCode="m/d/yyyy">
                  <c:v>41100</c:v>
                </c:pt>
                <c:pt idx="3479" formatCode="m/d/yyyy">
                  <c:v>41101</c:v>
                </c:pt>
                <c:pt idx="3480" formatCode="m/d/yyyy">
                  <c:v>41102</c:v>
                </c:pt>
                <c:pt idx="3481" formatCode="m/d/yyyy">
                  <c:v>41103</c:v>
                </c:pt>
                <c:pt idx="3482" formatCode="m/d/yyyy">
                  <c:v>41104</c:v>
                </c:pt>
                <c:pt idx="3483" formatCode="m/d/yyyy">
                  <c:v>41105</c:v>
                </c:pt>
                <c:pt idx="3484" formatCode="m/d/yyyy">
                  <c:v>41106</c:v>
                </c:pt>
                <c:pt idx="3485" formatCode="m/d/yyyy">
                  <c:v>41107</c:v>
                </c:pt>
                <c:pt idx="3486" formatCode="m/d/yyyy">
                  <c:v>41108</c:v>
                </c:pt>
                <c:pt idx="3487" formatCode="m/d/yyyy">
                  <c:v>41109</c:v>
                </c:pt>
                <c:pt idx="3488" formatCode="m/d/yyyy">
                  <c:v>41110</c:v>
                </c:pt>
                <c:pt idx="3489" formatCode="m/d/yyyy">
                  <c:v>41111</c:v>
                </c:pt>
                <c:pt idx="3490" formatCode="m/d/yyyy">
                  <c:v>41112</c:v>
                </c:pt>
                <c:pt idx="3491" formatCode="m/d/yyyy">
                  <c:v>41113</c:v>
                </c:pt>
                <c:pt idx="3492" formatCode="m/d/yyyy">
                  <c:v>41114</c:v>
                </c:pt>
                <c:pt idx="3493" formatCode="m/d/yyyy">
                  <c:v>41115</c:v>
                </c:pt>
                <c:pt idx="3494" formatCode="m/d/yyyy">
                  <c:v>41116</c:v>
                </c:pt>
                <c:pt idx="3495" formatCode="m/d/yyyy">
                  <c:v>41117</c:v>
                </c:pt>
                <c:pt idx="3496" formatCode="m/d/yyyy">
                  <c:v>41118</c:v>
                </c:pt>
                <c:pt idx="3497" formatCode="m/d/yyyy">
                  <c:v>41119</c:v>
                </c:pt>
                <c:pt idx="3498" formatCode="m/d/yyyy">
                  <c:v>41120</c:v>
                </c:pt>
                <c:pt idx="3499" formatCode="m/d/yyyy">
                  <c:v>41121</c:v>
                </c:pt>
                <c:pt idx="3500" formatCode="m/d/yyyy">
                  <c:v>41122</c:v>
                </c:pt>
                <c:pt idx="3501" formatCode="m/d/yyyy">
                  <c:v>41123</c:v>
                </c:pt>
                <c:pt idx="3502" formatCode="m/d/yyyy">
                  <c:v>41124</c:v>
                </c:pt>
                <c:pt idx="3503" formatCode="m/d/yyyy">
                  <c:v>41125</c:v>
                </c:pt>
                <c:pt idx="3504" formatCode="m/d/yyyy">
                  <c:v>41126</c:v>
                </c:pt>
                <c:pt idx="3505" formatCode="m/d/yyyy">
                  <c:v>41127</c:v>
                </c:pt>
                <c:pt idx="3506" formatCode="m/d/yyyy">
                  <c:v>41128</c:v>
                </c:pt>
                <c:pt idx="3507" formatCode="m/d/yyyy">
                  <c:v>41129</c:v>
                </c:pt>
                <c:pt idx="3508" formatCode="m/d/yyyy">
                  <c:v>41130</c:v>
                </c:pt>
                <c:pt idx="3509" formatCode="m/d/yyyy">
                  <c:v>41131</c:v>
                </c:pt>
                <c:pt idx="3510" formatCode="m/d/yyyy">
                  <c:v>41132</c:v>
                </c:pt>
                <c:pt idx="3511" formatCode="m/d/yyyy">
                  <c:v>41133</c:v>
                </c:pt>
                <c:pt idx="3512" formatCode="m/d/yyyy">
                  <c:v>41134</c:v>
                </c:pt>
                <c:pt idx="3513" formatCode="m/d/yyyy">
                  <c:v>41135</c:v>
                </c:pt>
                <c:pt idx="3514" formatCode="m/d/yyyy">
                  <c:v>41136</c:v>
                </c:pt>
                <c:pt idx="3515" formatCode="m/d/yyyy">
                  <c:v>41137</c:v>
                </c:pt>
                <c:pt idx="3516" formatCode="m/d/yyyy">
                  <c:v>41138</c:v>
                </c:pt>
                <c:pt idx="3517" formatCode="m/d/yyyy">
                  <c:v>41139</c:v>
                </c:pt>
                <c:pt idx="3518" formatCode="m/d/yyyy">
                  <c:v>41140</c:v>
                </c:pt>
                <c:pt idx="3519" formatCode="m/d/yyyy">
                  <c:v>41141</c:v>
                </c:pt>
                <c:pt idx="3520" formatCode="m/d/yyyy">
                  <c:v>41142</c:v>
                </c:pt>
                <c:pt idx="3521" formatCode="m/d/yyyy">
                  <c:v>41143</c:v>
                </c:pt>
                <c:pt idx="3522" formatCode="m/d/yyyy">
                  <c:v>41144</c:v>
                </c:pt>
                <c:pt idx="3523" formatCode="m/d/yyyy">
                  <c:v>41145</c:v>
                </c:pt>
                <c:pt idx="3524" formatCode="m/d/yyyy">
                  <c:v>41146</c:v>
                </c:pt>
                <c:pt idx="3525" formatCode="m/d/yyyy">
                  <c:v>41147</c:v>
                </c:pt>
                <c:pt idx="3526" formatCode="m/d/yyyy">
                  <c:v>41148</c:v>
                </c:pt>
                <c:pt idx="3527" formatCode="m/d/yyyy">
                  <c:v>41149</c:v>
                </c:pt>
                <c:pt idx="3528" formatCode="m/d/yyyy">
                  <c:v>41150</c:v>
                </c:pt>
                <c:pt idx="3529" formatCode="m/d/yyyy">
                  <c:v>41151</c:v>
                </c:pt>
                <c:pt idx="3530" formatCode="m/d/yyyy">
                  <c:v>41152</c:v>
                </c:pt>
                <c:pt idx="3531" formatCode="m/d/yyyy">
                  <c:v>41153</c:v>
                </c:pt>
                <c:pt idx="3532" formatCode="m/d/yyyy">
                  <c:v>41154</c:v>
                </c:pt>
                <c:pt idx="3533" formatCode="m/d/yyyy">
                  <c:v>41155</c:v>
                </c:pt>
                <c:pt idx="3534" formatCode="m/d/yyyy">
                  <c:v>41156</c:v>
                </c:pt>
                <c:pt idx="3535" formatCode="m/d/yyyy">
                  <c:v>41157</c:v>
                </c:pt>
                <c:pt idx="3536" formatCode="m/d/yyyy">
                  <c:v>41158</c:v>
                </c:pt>
                <c:pt idx="3537" formatCode="m/d/yyyy">
                  <c:v>41159</c:v>
                </c:pt>
                <c:pt idx="3538" formatCode="m/d/yyyy">
                  <c:v>41160</c:v>
                </c:pt>
                <c:pt idx="3539" formatCode="m/d/yyyy">
                  <c:v>41161</c:v>
                </c:pt>
                <c:pt idx="3540" formatCode="m/d/yyyy">
                  <c:v>41162</c:v>
                </c:pt>
                <c:pt idx="3541" formatCode="m/d/yyyy">
                  <c:v>41163</c:v>
                </c:pt>
                <c:pt idx="3542" formatCode="m/d/yyyy">
                  <c:v>41164</c:v>
                </c:pt>
                <c:pt idx="3543" formatCode="m/d/yyyy">
                  <c:v>41165</c:v>
                </c:pt>
                <c:pt idx="3544" formatCode="m/d/yyyy">
                  <c:v>41166</c:v>
                </c:pt>
                <c:pt idx="3545" formatCode="m/d/yyyy">
                  <c:v>41167</c:v>
                </c:pt>
                <c:pt idx="3546" formatCode="m/d/yyyy">
                  <c:v>41168</c:v>
                </c:pt>
                <c:pt idx="3547" formatCode="m/d/yyyy">
                  <c:v>41169</c:v>
                </c:pt>
                <c:pt idx="3548" formatCode="m/d/yyyy">
                  <c:v>41170</c:v>
                </c:pt>
                <c:pt idx="3549" formatCode="m/d/yyyy">
                  <c:v>41171</c:v>
                </c:pt>
                <c:pt idx="3550" formatCode="m/d/yyyy">
                  <c:v>41172</c:v>
                </c:pt>
                <c:pt idx="3551" formatCode="m/d/yyyy">
                  <c:v>41173</c:v>
                </c:pt>
                <c:pt idx="3552" formatCode="m/d/yyyy">
                  <c:v>41174</c:v>
                </c:pt>
                <c:pt idx="3553" formatCode="m/d/yyyy">
                  <c:v>41175</c:v>
                </c:pt>
                <c:pt idx="3554" formatCode="m/d/yyyy">
                  <c:v>41176</c:v>
                </c:pt>
                <c:pt idx="3555" formatCode="m/d/yyyy">
                  <c:v>41177</c:v>
                </c:pt>
                <c:pt idx="3556" formatCode="m/d/yyyy">
                  <c:v>41178</c:v>
                </c:pt>
                <c:pt idx="3557" formatCode="m/d/yyyy">
                  <c:v>41179</c:v>
                </c:pt>
                <c:pt idx="3558" formatCode="m/d/yyyy">
                  <c:v>41180</c:v>
                </c:pt>
                <c:pt idx="3559" formatCode="m/d/yyyy">
                  <c:v>41181</c:v>
                </c:pt>
                <c:pt idx="3560" formatCode="m/d/yyyy">
                  <c:v>41182</c:v>
                </c:pt>
                <c:pt idx="3561" formatCode="m/d/yyyy">
                  <c:v>41183</c:v>
                </c:pt>
                <c:pt idx="3562" formatCode="m/d/yyyy">
                  <c:v>41184</c:v>
                </c:pt>
                <c:pt idx="3563" formatCode="m/d/yyyy">
                  <c:v>41185</c:v>
                </c:pt>
                <c:pt idx="3564" formatCode="m/d/yyyy">
                  <c:v>41186</c:v>
                </c:pt>
                <c:pt idx="3565" formatCode="m/d/yyyy">
                  <c:v>41187</c:v>
                </c:pt>
                <c:pt idx="3566" formatCode="m/d/yyyy">
                  <c:v>41188</c:v>
                </c:pt>
                <c:pt idx="3567" formatCode="m/d/yyyy">
                  <c:v>41189</c:v>
                </c:pt>
                <c:pt idx="3568" formatCode="m/d/yyyy">
                  <c:v>41190</c:v>
                </c:pt>
                <c:pt idx="3569" formatCode="m/d/yyyy">
                  <c:v>41191</c:v>
                </c:pt>
                <c:pt idx="3570" formatCode="m/d/yyyy">
                  <c:v>41192</c:v>
                </c:pt>
                <c:pt idx="3571" formatCode="m/d/yyyy">
                  <c:v>41193</c:v>
                </c:pt>
                <c:pt idx="3572" formatCode="m/d/yyyy">
                  <c:v>41194</c:v>
                </c:pt>
                <c:pt idx="3573" formatCode="m/d/yyyy">
                  <c:v>41195</c:v>
                </c:pt>
                <c:pt idx="3574" formatCode="m/d/yyyy">
                  <c:v>41196</c:v>
                </c:pt>
                <c:pt idx="3575" formatCode="m/d/yyyy">
                  <c:v>41197</c:v>
                </c:pt>
                <c:pt idx="3576" formatCode="m/d/yyyy">
                  <c:v>41198</c:v>
                </c:pt>
                <c:pt idx="3577" formatCode="m/d/yyyy">
                  <c:v>41199</c:v>
                </c:pt>
                <c:pt idx="3578" formatCode="m/d/yyyy">
                  <c:v>41200</c:v>
                </c:pt>
                <c:pt idx="3579" formatCode="m/d/yyyy">
                  <c:v>41201</c:v>
                </c:pt>
                <c:pt idx="3580" formatCode="m/d/yyyy">
                  <c:v>41202</c:v>
                </c:pt>
                <c:pt idx="3581" formatCode="m/d/yyyy">
                  <c:v>41203</c:v>
                </c:pt>
                <c:pt idx="3582" formatCode="m/d/yyyy">
                  <c:v>41204</c:v>
                </c:pt>
                <c:pt idx="3583" formatCode="m/d/yyyy">
                  <c:v>41205</c:v>
                </c:pt>
                <c:pt idx="3584" formatCode="m/d/yyyy">
                  <c:v>41206</c:v>
                </c:pt>
                <c:pt idx="3585" formatCode="m/d/yyyy">
                  <c:v>41207</c:v>
                </c:pt>
                <c:pt idx="3586" formatCode="m/d/yyyy">
                  <c:v>41208</c:v>
                </c:pt>
                <c:pt idx="3587" formatCode="m/d/yyyy">
                  <c:v>41209</c:v>
                </c:pt>
                <c:pt idx="3588" formatCode="m/d/yyyy">
                  <c:v>41210</c:v>
                </c:pt>
                <c:pt idx="3589" formatCode="m/d/yyyy">
                  <c:v>41211</c:v>
                </c:pt>
                <c:pt idx="3590" formatCode="m/d/yyyy">
                  <c:v>41212</c:v>
                </c:pt>
                <c:pt idx="3591" formatCode="m/d/yyyy">
                  <c:v>41213</c:v>
                </c:pt>
                <c:pt idx="3592" formatCode="m/d/yyyy">
                  <c:v>41214</c:v>
                </c:pt>
                <c:pt idx="3593" formatCode="m/d/yyyy">
                  <c:v>41215</c:v>
                </c:pt>
                <c:pt idx="3594" formatCode="m/d/yyyy">
                  <c:v>41216</c:v>
                </c:pt>
                <c:pt idx="3595" formatCode="m/d/yyyy">
                  <c:v>41217</c:v>
                </c:pt>
                <c:pt idx="3596" formatCode="m/d/yyyy">
                  <c:v>41218</c:v>
                </c:pt>
                <c:pt idx="3597" formatCode="m/d/yyyy">
                  <c:v>41219</c:v>
                </c:pt>
                <c:pt idx="3598" formatCode="m/d/yyyy">
                  <c:v>41220</c:v>
                </c:pt>
                <c:pt idx="3599" formatCode="m/d/yyyy">
                  <c:v>41221</c:v>
                </c:pt>
                <c:pt idx="3600" formatCode="m/d/yyyy">
                  <c:v>41222</c:v>
                </c:pt>
                <c:pt idx="3601" formatCode="m/d/yyyy">
                  <c:v>41223</c:v>
                </c:pt>
                <c:pt idx="3602" formatCode="m/d/yyyy">
                  <c:v>41224</c:v>
                </c:pt>
                <c:pt idx="3603" formatCode="m/d/yyyy">
                  <c:v>41225</c:v>
                </c:pt>
                <c:pt idx="3604" formatCode="m/d/yyyy">
                  <c:v>41226</c:v>
                </c:pt>
                <c:pt idx="3605" formatCode="m/d/yyyy">
                  <c:v>41227</c:v>
                </c:pt>
                <c:pt idx="3606" formatCode="m/d/yyyy">
                  <c:v>41228</c:v>
                </c:pt>
                <c:pt idx="3607" formatCode="m/d/yyyy">
                  <c:v>41229</c:v>
                </c:pt>
                <c:pt idx="3608" formatCode="m/d/yyyy">
                  <c:v>41230</c:v>
                </c:pt>
                <c:pt idx="3609" formatCode="m/d/yyyy">
                  <c:v>41231</c:v>
                </c:pt>
                <c:pt idx="3610" formatCode="m/d/yyyy">
                  <c:v>41232</c:v>
                </c:pt>
                <c:pt idx="3611" formatCode="m/d/yyyy">
                  <c:v>41233</c:v>
                </c:pt>
                <c:pt idx="3612" formatCode="m/d/yyyy">
                  <c:v>41234</c:v>
                </c:pt>
                <c:pt idx="3613" formatCode="m/d/yyyy">
                  <c:v>41235</c:v>
                </c:pt>
                <c:pt idx="3614" formatCode="m/d/yyyy">
                  <c:v>41236</c:v>
                </c:pt>
                <c:pt idx="3615" formatCode="m/d/yyyy">
                  <c:v>41237</c:v>
                </c:pt>
                <c:pt idx="3616" formatCode="m/d/yyyy">
                  <c:v>41238</c:v>
                </c:pt>
                <c:pt idx="3617" formatCode="m/d/yyyy">
                  <c:v>41239</c:v>
                </c:pt>
                <c:pt idx="3618" formatCode="m/d/yyyy">
                  <c:v>41240</c:v>
                </c:pt>
                <c:pt idx="3619" formatCode="m/d/yyyy">
                  <c:v>41241</c:v>
                </c:pt>
                <c:pt idx="3620" formatCode="m/d/yyyy">
                  <c:v>41242</c:v>
                </c:pt>
                <c:pt idx="3621" formatCode="m/d/yyyy">
                  <c:v>41243</c:v>
                </c:pt>
                <c:pt idx="3622" formatCode="m/d/yyyy">
                  <c:v>41244</c:v>
                </c:pt>
                <c:pt idx="3623" formatCode="m/d/yyyy">
                  <c:v>41245</c:v>
                </c:pt>
                <c:pt idx="3624" formatCode="m/d/yyyy">
                  <c:v>41246</c:v>
                </c:pt>
                <c:pt idx="3625" formatCode="m/d/yyyy">
                  <c:v>41247</c:v>
                </c:pt>
                <c:pt idx="3626" formatCode="m/d/yyyy">
                  <c:v>41248</c:v>
                </c:pt>
                <c:pt idx="3627" formatCode="m/d/yyyy">
                  <c:v>41249</c:v>
                </c:pt>
                <c:pt idx="3628" formatCode="m/d/yyyy">
                  <c:v>41250</c:v>
                </c:pt>
                <c:pt idx="3629" formatCode="m/d/yyyy">
                  <c:v>41251</c:v>
                </c:pt>
                <c:pt idx="3630" formatCode="m/d/yyyy">
                  <c:v>41252</c:v>
                </c:pt>
                <c:pt idx="3631" formatCode="m/d/yyyy">
                  <c:v>41253</c:v>
                </c:pt>
                <c:pt idx="3632" formatCode="m/d/yyyy">
                  <c:v>41254</c:v>
                </c:pt>
                <c:pt idx="3633" formatCode="m/d/yyyy">
                  <c:v>41255</c:v>
                </c:pt>
                <c:pt idx="3634" formatCode="m/d/yyyy">
                  <c:v>41256</c:v>
                </c:pt>
                <c:pt idx="3635" formatCode="m/d/yyyy">
                  <c:v>41257</c:v>
                </c:pt>
                <c:pt idx="3636" formatCode="m/d/yyyy">
                  <c:v>41258</c:v>
                </c:pt>
                <c:pt idx="3637" formatCode="m/d/yyyy">
                  <c:v>41259</c:v>
                </c:pt>
                <c:pt idx="3638" formatCode="m/d/yyyy">
                  <c:v>41260</c:v>
                </c:pt>
                <c:pt idx="3639" formatCode="m/d/yyyy">
                  <c:v>41261</c:v>
                </c:pt>
                <c:pt idx="3640" formatCode="m/d/yyyy">
                  <c:v>41262</c:v>
                </c:pt>
                <c:pt idx="3641" formatCode="m/d/yyyy">
                  <c:v>41263</c:v>
                </c:pt>
                <c:pt idx="3642" formatCode="m/d/yyyy">
                  <c:v>41264</c:v>
                </c:pt>
                <c:pt idx="3643" formatCode="m/d/yyyy">
                  <c:v>41265</c:v>
                </c:pt>
                <c:pt idx="3644" formatCode="m/d/yyyy">
                  <c:v>41266</c:v>
                </c:pt>
                <c:pt idx="3645" formatCode="m/d/yyyy">
                  <c:v>41267</c:v>
                </c:pt>
                <c:pt idx="3646" formatCode="m/d/yyyy">
                  <c:v>41268</c:v>
                </c:pt>
                <c:pt idx="3647" formatCode="m/d/yyyy">
                  <c:v>41269</c:v>
                </c:pt>
                <c:pt idx="3648" formatCode="m/d/yyyy">
                  <c:v>41270</c:v>
                </c:pt>
                <c:pt idx="3649" formatCode="m/d/yyyy">
                  <c:v>41271</c:v>
                </c:pt>
                <c:pt idx="3650" formatCode="m/d/yyyy">
                  <c:v>41272</c:v>
                </c:pt>
                <c:pt idx="3651" formatCode="m/d/yyyy">
                  <c:v>41273</c:v>
                </c:pt>
                <c:pt idx="3652" formatCode="m/d/yyyy">
                  <c:v>41274</c:v>
                </c:pt>
                <c:pt idx="3653" formatCode="m/d/yyyy">
                  <c:v>41275</c:v>
                </c:pt>
                <c:pt idx="3654" formatCode="m/d/yyyy">
                  <c:v>41276</c:v>
                </c:pt>
                <c:pt idx="3655" formatCode="m/d/yyyy">
                  <c:v>41277</c:v>
                </c:pt>
                <c:pt idx="3656" formatCode="m/d/yyyy">
                  <c:v>41278</c:v>
                </c:pt>
                <c:pt idx="3657" formatCode="m/d/yyyy">
                  <c:v>41279</c:v>
                </c:pt>
                <c:pt idx="3658" formatCode="m/d/yyyy">
                  <c:v>41280</c:v>
                </c:pt>
                <c:pt idx="3659" formatCode="m/d/yyyy">
                  <c:v>41281</c:v>
                </c:pt>
                <c:pt idx="3660" formatCode="m/d/yyyy">
                  <c:v>41282</c:v>
                </c:pt>
                <c:pt idx="3661" formatCode="m/d/yyyy">
                  <c:v>41283</c:v>
                </c:pt>
                <c:pt idx="3662" formatCode="m/d/yyyy">
                  <c:v>41284</c:v>
                </c:pt>
                <c:pt idx="3663" formatCode="m/d/yyyy">
                  <c:v>41285</c:v>
                </c:pt>
                <c:pt idx="3664" formatCode="m/d/yyyy">
                  <c:v>41286</c:v>
                </c:pt>
                <c:pt idx="3665" formatCode="m/d/yyyy">
                  <c:v>41287</c:v>
                </c:pt>
                <c:pt idx="3666" formatCode="m/d/yyyy">
                  <c:v>41288</c:v>
                </c:pt>
                <c:pt idx="3667" formatCode="m/d/yyyy">
                  <c:v>41289</c:v>
                </c:pt>
                <c:pt idx="3668" formatCode="m/d/yyyy">
                  <c:v>41290</c:v>
                </c:pt>
                <c:pt idx="3669" formatCode="m/d/yyyy">
                  <c:v>41291</c:v>
                </c:pt>
                <c:pt idx="3670" formatCode="m/d/yyyy">
                  <c:v>41292</c:v>
                </c:pt>
                <c:pt idx="3671" formatCode="m/d/yyyy">
                  <c:v>41293</c:v>
                </c:pt>
                <c:pt idx="3672" formatCode="m/d/yyyy">
                  <c:v>41294</c:v>
                </c:pt>
                <c:pt idx="3673" formatCode="m/d/yyyy">
                  <c:v>41295</c:v>
                </c:pt>
                <c:pt idx="3674" formatCode="m/d/yyyy">
                  <c:v>41296</c:v>
                </c:pt>
                <c:pt idx="3675" formatCode="m/d/yyyy">
                  <c:v>41297</c:v>
                </c:pt>
                <c:pt idx="3676" formatCode="m/d/yyyy">
                  <c:v>41298</c:v>
                </c:pt>
                <c:pt idx="3677" formatCode="m/d/yyyy">
                  <c:v>41299</c:v>
                </c:pt>
                <c:pt idx="3678" formatCode="m/d/yyyy">
                  <c:v>41300</c:v>
                </c:pt>
                <c:pt idx="3679" formatCode="m/d/yyyy">
                  <c:v>41301</c:v>
                </c:pt>
                <c:pt idx="3680" formatCode="m/d/yyyy">
                  <c:v>41302</c:v>
                </c:pt>
                <c:pt idx="3681" formatCode="m/d/yyyy">
                  <c:v>41303</c:v>
                </c:pt>
                <c:pt idx="3682" formatCode="m/d/yyyy">
                  <c:v>41304</c:v>
                </c:pt>
                <c:pt idx="3683" formatCode="m/d/yyyy">
                  <c:v>41305</c:v>
                </c:pt>
                <c:pt idx="3684" formatCode="m/d/yyyy">
                  <c:v>41306</c:v>
                </c:pt>
                <c:pt idx="3685" formatCode="m/d/yyyy">
                  <c:v>41307</c:v>
                </c:pt>
                <c:pt idx="3686" formatCode="m/d/yyyy">
                  <c:v>41308</c:v>
                </c:pt>
                <c:pt idx="3687" formatCode="m/d/yyyy">
                  <c:v>41309</c:v>
                </c:pt>
                <c:pt idx="3688" formatCode="m/d/yyyy">
                  <c:v>41310</c:v>
                </c:pt>
                <c:pt idx="3689" formatCode="m/d/yyyy">
                  <c:v>41311</c:v>
                </c:pt>
                <c:pt idx="3690" formatCode="m/d/yyyy">
                  <c:v>41312</c:v>
                </c:pt>
                <c:pt idx="3691" formatCode="m/d/yyyy">
                  <c:v>41313</c:v>
                </c:pt>
                <c:pt idx="3692" formatCode="m/d/yyyy">
                  <c:v>41314</c:v>
                </c:pt>
                <c:pt idx="3693" formatCode="m/d/yyyy">
                  <c:v>41315</c:v>
                </c:pt>
                <c:pt idx="3694" formatCode="m/d/yyyy">
                  <c:v>41316</c:v>
                </c:pt>
                <c:pt idx="3695" formatCode="m/d/yyyy">
                  <c:v>41317</c:v>
                </c:pt>
                <c:pt idx="3696" formatCode="m/d/yyyy">
                  <c:v>41318</c:v>
                </c:pt>
                <c:pt idx="3697" formatCode="m/d/yyyy">
                  <c:v>41319</c:v>
                </c:pt>
                <c:pt idx="3698" formatCode="m/d/yyyy">
                  <c:v>41320</c:v>
                </c:pt>
                <c:pt idx="3699" formatCode="m/d/yyyy">
                  <c:v>41321</c:v>
                </c:pt>
                <c:pt idx="3700" formatCode="m/d/yyyy">
                  <c:v>41322</c:v>
                </c:pt>
                <c:pt idx="3701" formatCode="m/d/yyyy">
                  <c:v>41323</c:v>
                </c:pt>
                <c:pt idx="3702" formatCode="m/d/yyyy">
                  <c:v>41324</c:v>
                </c:pt>
                <c:pt idx="3703" formatCode="m/d/yyyy">
                  <c:v>41325</c:v>
                </c:pt>
                <c:pt idx="3704" formatCode="m/d/yyyy">
                  <c:v>41326</c:v>
                </c:pt>
                <c:pt idx="3705" formatCode="m/d/yyyy">
                  <c:v>41327</c:v>
                </c:pt>
                <c:pt idx="3706" formatCode="m/d/yyyy">
                  <c:v>41328</c:v>
                </c:pt>
                <c:pt idx="3707" formatCode="m/d/yyyy">
                  <c:v>41329</c:v>
                </c:pt>
                <c:pt idx="3708" formatCode="m/d/yyyy">
                  <c:v>41330</c:v>
                </c:pt>
                <c:pt idx="3709" formatCode="m/d/yyyy">
                  <c:v>41331</c:v>
                </c:pt>
                <c:pt idx="3710" formatCode="m/d/yyyy">
                  <c:v>41332</c:v>
                </c:pt>
                <c:pt idx="3711" formatCode="m/d/yyyy">
                  <c:v>41333</c:v>
                </c:pt>
                <c:pt idx="3712" formatCode="m/d/yyyy">
                  <c:v>41334</c:v>
                </c:pt>
                <c:pt idx="3713" formatCode="m/d/yyyy">
                  <c:v>41335</c:v>
                </c:pt>
                <c:pt idx="3714" formatCode="m/d/yyyy">
                  <c:v>41336</c:v>
                </c:pt>
                <c:pt idx="3715" formatCode="m/d/yyyy">
                  <c:v>41337</c:v>
                </c:pt>
                <c:pt idx="3716" formatCode="m/d/yyyy">
                  <c:v>41338</c:v>
                </c:pt>
                <c:pt idx="3717" formatCode="m/d/yyyy">
                  <c:v>41339</c:v>
                </c:pt>
                <c:pt idx="3718" formatCode="m/d/yyyy">
                  <c:v>41340</c:v>
                </c:pt>
                <c:pt idx="3719" formatCode="m/d/yyyy">
                  <c:v>41341</c:v>
                </c:pt>
                <c:pt idx="3720" formatCode="m/d/yyyy">
                  <c:v>41342</c:v>
                </c:pt>
                <c:pt idx="3721" formatCode="m/d/yyyy">
                  <c:v>41343</c:v>
                </c:pt>
                <c:pt idx="3722" formatCode="m/d/yyyy">
                  <c:v>41344</c:v>
                </c:pt>
                <c:pt idx="3723" formatCode="m/d/yyyy">
                  <c:v>41345</c:v>
                </c:pt>
                <c:pt idx="3724" formatCode="m/d/yyyy">
                  <c:v>41346</c:v>
                </c:pt>
                <c:pt idx="3725" formatCode="m/d/yyyy">
                  <c:v>41347</c:v>
                </c:pt>
                <c:pt idx="3726" formatCode="m/d/yyyy">
                  <c:v>41348</c:v>
                </c:pt>
                <c:pt idx="3727" formatCode="m/d/yyyy">
                  <c:v>41349</c:v>
                </c:pt>
                <c:pt idx="3728" formatCode="m/d/yyyy">
                  <c:v>41350</c:v>
                </c:pt>
                <c:pt idx="3729" formatCode="m/d/yyyy">
                  <c:v>41351</c:v>
                </c:pt>
                <c:pt idx="3730" formatCode="m/d/yyyy">
                  <c:v>41352</c:v>
                </c:pt>
                <c:pt idx="3731" formatCode="m/d/yyyy">
                  <c:v>41353</c:v>
                </c:pt>
                <c:pt idx="3732" formatCode="m/d/yyyy">
                  <c:v>41354</c:v>
                </c:pt>
                <c:pt idx="3733" formatCode="m/d/yyyy">
                  <c:v>41355</c:v>
                </c:pt>
                <c:pt idx="3734" formatCode="m/d/yyyy">
                  <c:v>41356</c:v>
                </c:pt>
                <c:pt idx="3735" formatCode="m/d/yyyy">
                  <c:v>41357</c:v>
                </c:pt>
                <c:pt idx="3736" formatCode="m/d/yyyy">
                  <c:v>41358</c:v>
                </c:pt>
                <c:pt idx="3737" formatCode="m/d/yyyy">
                  <c:v>41359</c:v>
                </c:pt>
                <c:pt idx="3738" formatCode="m/d/yyyy">
                  <c:v>41360</c:v>
                </c:pt>
                <c:pt idx="3739" formatCode="m/d/yyyy">
                  <c:v>41361</c:v>
                </c:pt>
                <c:pt idx="3740" formatCode="m/d/yyyy">
                  <c:v>41362</c:v>
                </c:pt>
                <c:pt idx="3741" formatCode="m/d/yyyy">
                  <c:v>41363</c:v>
                </c:pt>
                <c:pt idx="3742" formatCode="m/d/yyyy">
                  <c:v>41364</c:v>
                </c:pt>
                <c:pt idx="3743" formatCode="m/d/yyyy">
                  <c:v>41365</c:v>
                </c:pt>
                <c:pt idx="3744" formatCode="m/d/yyyy">
                  <c:v>41366</c:v>
                </c:pt>
                <c:pt idx="3745" formatCode="m/d/yyyy">
                  <c:v>41367</c:v>
                </c:pt>
                <c:pt idx="3746" formatCode="m/d/yyyy">
                  <c:v>41368</c:v>
                </c:pt>
                <c:pt idx="3747" formatCode="m/d/yyyy">
                  <c:v>41369</c:v>
                </c:pt>
                <c:pt idx="3748" formatCode="m/d/yyyy">
                  <c:v>41370</c:v>
                </c:pt>
                <c:pt idx="3749" formatCode="m/d/yyyy">
                  <c:v>41371</c:v>
                </c:pt>
                <c:pt idx="3750" formatCode="m/d/yyyy">
                  <c:v>41372</c:v>
                </c:pt>
                <c:pt idx="3751" formatCode="m/d/yyyy">
                  <c:v>41373</c:v>
                </c:pt>
                <c:pt idx="3752" formatCode="m/d/yyyy">
                  <c:v>41374</c:v>
                </c:pt>
                <c:pt idx="3753" formatCode="m/d/yyyy">
                  <c:v>41375</c:v>
                </c:pt>
                <c:pt idx="3754" formatCode="m/d/yyyy">
                  <c:v>41376</c:v>
                </c:pt>
                <c:pt idx="3755" formatCode="m/d/yyyy">
                  <c:v>41377</c:v>
                </c:pt>
                <c:pt idx="3756" formatCode="m/d/yyyy">
                  <c:v>41378</c:v>
                </c:pt>
                <c:pt idx="3757" formatCode="m/d/yyyy">
                  <c:v>41379</c:v>
                </c:pt>
                <c:pt idx="3758" formatCode="m/d/yyyy">
                  <c:v>41380</c:v>
                </c:pt>
                <c:pt idx="3759" formatCode="m/d/yyyy">
                  <c:v>41381</c:v>
                </c:pt>
                <c:pt idx="3760" formatCode="m/d/yyyy">
                  <c:v>41382</c:v>
                </c:pt>
                <c:pt idx="3761" formatCode="m/d/yyyy">
                  <c:v>41383</c:v>
                </c:pt>
                <c:pt idx="3762" formatCode="m/d/yyyy">
                  <c:v>41384</c:v>
                </c:pt>
                <c:pt idx="3763" formatCode="m/d/yyyy">
                  <c:v>41385</c:v>
                </c:pt>
                <c:pt idx="3764" formatCode="m/d/yyyy">
                  <c:v>41386</c:v>
                </c:pt>
                <c:pt idx="3765" formatCode="m/d/yyyy">
                  <c:v>41387</c:v>
                </c:pt>
                <c:pt idx="3766" formatCode="m/d/yyyy">
                  <c:v>41388</c:v>
                </c:pt>
                <c:pt idx="3767" formatCode="m/d/yyyy">
                  <c:v>41389</c:v>
                </c:pt>
                <c:pt idx="3768" formatCode="m/d/yyyy">
                  <c:v>41390</c:v>
                </c:pt>
                <c:pt idx="3769" formatCode="m/d/yyyy">
                  <c:v>41391</c:v>
                </c:pt>
                <c:pt idx="3770" formatCode="m/d/yyyy">
                  <c:v>41392</c:v>
                </c:pt>
                <c:pt idx="3771" formatCode="m/d/yyyy">
                  <c:v>41393</c:v>
                </c:pt>
                <c:pt idx="3772" formatCode="m/d/yyyy">
                  <c:v>41394</c:v>
                </c:pt>
                <c:pt idx="3773" formatCode="m/d/yyyy">
                  <c:v>41395</c:v>
                </c:pt>
                <c:pt idx="3774" formatCode="m/d/yyyy">
                  <c:v>41396</c:v>
                </c:pt>
                <c:pt idx="3775" formatCode="m/d/yyyy">
                  <c:v>41397</c:v>
                </c:pt>
                <c:pt idx="3776" formatCode="m/d/yyyy">
                  <c:v>41398</c:v>
                </c:pt>
                <c:pt idx="3777" formatCode="m/d/yyyy">
                  <c:v>41399</c:v>
                </c:pt>
                <c:pt idx="3778" formatCode="m/d/yyyy">
                  <c:v>41400</c:v>
                </c:pt>
                <c:pt idx="3779" formatCode="m/d/yyyy">
                  <c:v>41401</c:v>
                </c:pt>
                <c:pt idx="3780" formatCode="m/d/yyyy">
                  <c:v>41402</c:v>
                </c:pt>
                <c:pt idx="3781" formatCode="m/d/yyyy">
                  <c:v>41403</c:v>
                </c:pt>
                <c:pt idx="3782" formatCode="m/d/yyyy">
                  <c:v>41404</c:v>
                </c:pt>
                <c:pt idx="3783" formatCode="m/d/yyyy">
                  <c:v>41405</c:v>
                </c:pt>
                <c:pt idx="3784" formatCode="m/d/yyyy">
                  <c:v>41406</c:v>
                </c:pt>
                <c:pt idx="3785" formatCode="m/d/yyyy">
                  <c:v>41407</c:v>
                </c:pt>
                <c:pt idx="3786" formatCode="m/d/yyyy">
                  <c:v>41408</c:v>
                </c:pt>
                <c:pt idx="3787" formatCode="m/d/yyyy">
                  <c:v>41409</c:v>
                </c:pt>
                <c:pt idx="3788" formatCode="m/d/yyyy">
                  <c:v>41410</c:v>
                </c:pt>
                <c:pt idx="3789" formatCode="m/d/yyyy">
                  <c:v>41411</c:v>
                </c:pt>
                <c:pt idx="3790" formatCode="m/d/yyyy">
                  <c:v>41412</c:v>
                </c:pt>
                <c:pt idx="3791" formatCode="m/d/yyyy">
                  <c:v>41413</c:v>
                </c:pt>
                <c:pt idx="3792" formatCode="m/d/yyyy">
                  <c:v>41414</c:v>
                </c:pt>
                <c:pt idx="3793" formatCode="m/d/yyyy">
                  <c:v>41415</c:v>
                </c:pt>
                <c:pt idx="3794" formatCode="m/d/yyyy">
                  <c:v>41416</c:v>
                </c:pt>
                <c:pt idx="3795" formatCode="m/d/yyyy">
                  <c:v>41417</c:v>
                </c:pt>
                <c:pt idx="3796" formatCode="m/d/yyyy">
                  <c:v>41418</c:v>
                </c:pt>
                <c:pt idx="3797" formatCode="m/d/yyyy">
                  <c:v>41419</c:v>
                </c:pt>
                <c:pt idx="3798" formatCode="m/d/yyyy">
                  <c:v>41420</c:v>
                </c:pt>
                <c:pt idx="3799" formatCode="m/d/yyyy">
                  <c:v>41421</c:v>
                </c:pt>
                <c:pt idx="3800" formatCode="m/d/yyyy">
                  <c:v>41422</c:v>
                </c:pt>
                <c:pt idx="3801" formatCode="m/d/yyyy">
                  <c:v>41423</c:v>
                </c:pt>
                <c:pt idx="3802" formatCode="m/d/yyyy">
                  <c:v>41424</c:v>
                </c:pt>
                <c:pt idx="3803" formatCode="m/d/yyyy">
                  <c:v>41425</c:v>
                </c:pt>
                <c:pt idx="3804" formatCode="m/d/yyyy">
                  <c:v>41426</c:v>
                </c:pt>
                <c:pt idx="3805" formatCode="m/d/yyyy">
                  <c:v>41427</c:v>
                </c:pt>
                <c:pt idx="3806" formatCode="m/d/yyyy">
                  <c:v>41428</c:v>
                </c:pt>
                <c:pt idx="3807" formatCode="m/d/yyyy">
                  <c:v>41429</c:v>
                </c:pt>
                <c:pt idx="3808" formatCode="m/d/yyyy">
                  <c:v>41430</c:v>
                </c:pt>
                <c:pt idx="3809" formatCode="m/d/yyyy">
                  <c:v>41431</c:v>
                </c:pt>
                <c:pt idx="3810" formatCode="m/d/yyyy">
                  <c:v>41432</c:v>
                </c:pt>
                <c:pt idx="3811" formatCode="m/d/yyyy">
                  <c:v>41433</c:v>
                </c:pt>
                <c:pt idx="3812" formatCode="m/d/yyyy">
                  <c:v>41434</c:v>
                </c:pt>
                <c:pt idx="3813" formatCode="m/d/yyyy">
                  <c:v>41435</c:v>
                </c:pt>
                <c:pt idx="3814" formatCode="m/d/yyyy">
                  <c:v>41436</c:v>
                </c:pt>
                <c:pt idx="3815" formatCode="m/d/yyyy">
                  <c:v>41437</c:v>
                </c:pt>
                <c:pt idx="3816" formatCode="m/d/yyyy">
                  <c:v>41438</c:v>
                </c:pt>
                <c:pt idx="3817" formatCode="m/d/yyyy">
                  <c:v>41439</c:v>
                </c:pt>
                <c:pt idx="3818" formatCode="m/d/yyyy">
                  <c:v>41440</c:v>
                </c:pt>
                <c:pt idx="3819" formatCode="m/d/yyyy">
                  <c:v>41441</c:v>
                </c:pt>
                <c:pt idx="3820" formatCode="m/d/yyyy">
                  <c:v>41442</c:v>
                </c:pt>
                <c:pt idx="3821" formatCode="m/d/yyyy">
                  <c:v>41443</c:v>
                </c:pt>
                <c:pt idx="3822" formatCode="m/d/yyyy">
                  <c:v>41444</c:v>
                </c:pt>
                <c:pt idx="3823" formatCode="m/d/yyyy">
                  <c:v>41445</c:v>
                </c:pt>
                <c:pt idx="3824" formatCode="m/d/yyyy">
                  <c:v>41446</c:v>
                </c:pt>
                <c:pt idx="3825" formatCode="m/d/yyyy">
                  <c:v>41447</c:v>
                </c:pt>
                <c:pt idx="3826" formatCode="m/d/yyyy">
                  <c:v>41448</c:v>
                </c:pt>
                <c:pt idx="3827" formatCode="m/d/yyyy">
                  <c:v>41449</c:v>
                </c:pt>
                <c:pt idx="3828" formatCode="m/d/yyyy">
                  <c:v>41450</c:v>
                </c:pt>
                <c:pt idx="3829" formatCode="m/d/yyyy">
                  <c:v>41451</c:v>
                </c:pt>
                <c:pt idx="3830" formatCode="m/d/yyyy">
                  <c:v>41452</c:v>
                </c:pt>
                <c:pt idx="3831" formatCode="m/d/yyyy">
                  <c:v>41453</c:v>
                </c:pt>
                <c:pt idx="3832" formatCode="m/d/yyyy">
                  <c:v>41454</c:v>
                </c:pt>
                <c:pt idx="3833" formatCode="m/d/yyyy">
                  <c:v>41455</c:v>
                </c:pt>
                <c:pt idx="3834" formatCode="m/d/yyyy">
                  <c:v>41456</c:v>
                </c:pt>
                <c:pt idx="3835" formatCode="m/d/yyyy">
                  <c:v>41457</c:v>
                </c:pt>
                <c:pt idx="3836" formatCode="m/d/yyyy">
                  <c:v>41458</c:v>
                </c:pt>
                <c:pt idx="3837" formatCode="m/d/yyyy">
                  <c:v>41459</c:v>
                </c:pt>
                <c:pt idx="3838" formatCode="m/d/yyyy">
                  <c:v>41460</c:v>
                </c:pt>
                <c:pt idx="3839" formatCode="m/d/yyyy">
                  <c:v>41461</c:v>
                </c:pt>
                <c:pt idx="3840" formatCode="m/d/yyyy">
                  <c:v>41462</c:v>
                </c:pt>
                <c:pt idx="3841" formatCode="m/d/yyyy">
                  <c:v>41463</c:v>
                </c:pt>
                <c:pt idx="3842" formatCode="m/d/yyyy">
                  <c:v>41464</c:v>
                </c:pt>
                <c:pt idx="3843" formatCode="m/d/yyyy">
                  <c:v>41465</c:v>
                </c:pt>
                <c:pt idx="3844" formatCode="m/d/yyyy">
                  <c:v>41466</c:v>
                </c:pt>
                <c:pt idx="3845" formatCode="m/d/yyyy">
                  <c:v>41467</c:v>
                </c:pt>
                <c:pt idx="3846" formatCode="m/d/yyyy">
                  <c:v>41468</c:v>
                </c:pt>
                <c:pt idx="3847" formatCode="m/d/yyyy">
                  <c:v>41469</c:v>
                </c:pt>
                <c:pt idx="3848" formatCode="m/d/yyyy">
                  <c:v>41470</c:v>
                </c:pt>
                <c:pt idx="3849" formatCode="m/d/yyyy">
                  <c:v>41471</c:v>
                </c:pt>
                <c:pt idx="3850" formatCode="m/d/yyyy">
                  <c:v>41472</c:v>
                </c:pt>
                <c:pt idx="3851" formatCode="m/d/yyyy">
                  <c:v>41473</c:v>
                </c:pt>
                <c:pt idx="3852" formatCode="m/d/yyyy">
                  <c:v>41474</c:v>
                </c:pt>
                <c:pt idx="3853" formatCode="m/d/yyyy">
                  <c:v>41475</c:v>
                </c:pt>
                <c:pt idx="3854" formatCode="m/d/yyyy">
                  <c:v>41476</c:v>
                </c:pt>
                <c:pt idx="3855" formatCode="m/d/yyyy">
                  <c:v>41477</c:v>
                </c:pt>
                <c:pt idx="3856" formatCode="m/d/yyyy">
                  <c:v>41478</c:v>
                </c:pt>
                <c:pt idx="3857" formatCode="m/d/yyyy">
                  <c:v>41479</c:v>
                </c:pt>
                <c:pt idx="3858" formatCode="m/d/yyyy">
                  <c:v>41480</c:v>
                </c:pt>
                <c:pt idx="3859" formatCode="m/d/yyyy">
                  <c:v>41481</c:v>
                </c:pt>
                <c:pt idx="3860" formatCode="m/d/yyyy">
                  <c:v>41482</c:v>
                </c:pt>
                <c:pt idx="3861" formatCode="m/d/yyyy">
                  <c:v>41483</c:v>
                </c:pt>
                <c:pt idx="3862" formatCode="m/d/yyyy">
                  <c:v>41484</c:v>
                </c:pt>
                <c:pt idx="3863" formatCode="m/d/yyyy">
                  <c:v>41485</c:v>
                </c:pt>
                <c:pt idx="3864" formatCode="m/d/yyyy">
                  <c:v>41486</c:v>
                </c:pt>
                <c:pt idx="3865" formatCode="m/d/yyyy">
                  <c:v>41487</c:v>
                </c:pt>
                <c:pt idx="3866" formatCode="m/d/yyyy">
                  <c:v>41488</c:v>
                </c:pt>
                <c:pt idx="3867" formatCode="m/d/yyyy">
                  <c:v>41489</c:v>
                </c:pt>
                <c:pt idx="3868" formatCode="m/d/yyyy">
                  <c:v>41490</c:v>
                </c:pt>
                <c:pt idx="3869" formatCode="m/d/yyyy">
                  <c:v>41491</c:v>
                </c:pt>
                <c:pt idx="3870" formatCode="m/d/yyyy">
                  <c:v>41492</c:v>
                </c:pt>
                <c:pt idx="3871" formatCode="m/d/yyyy">
                  <c:v>41493</c:v>
                </c:pt>
                <c:pt idx="3872" formatCode="m/d/yyyy">
                  <c:v>41494</c:v>
                </c:pt>
                <c:pt idx="3873" formatCode="m/d/yyyy">
                  <c:v>41495</c:v>
                </c:pt>
                <c:pt idx="3874" formatCode="m/d/yyyy">
                  <c:v>41496</c:v>
                </c:pt>
                <c:pt idx="3875" formatCode="m/d/yyyy">
                  <c:v>41497</c:v>
                </c:pt>
                <c:pt idx="3876" formatCode="m/d/yyyy">
                  <c:v>41498</c:v>
                </c:pt>
                <c:pt idx="3877" formatCode="m/d/yyyy">
                  <c:v>41499</c:v>
                </c:pt>
                <c:pt idx="3878" formatCode="m/d/yyyy">
                  <c:v>41500</c:v>
                </c:pt>
                <c:pt idx="3879" formatCode="m/d/yyyy">
                  <c:v>41501</c:v>
                </c:pt>
                <c:pt idx="3880" formatCode="m/d/yyyy">
                  <c:v>41502</c:v>
                </c:pt>
                <c:pt idx="3881" formatCode="m/d/yyyy">
                  <c:v>41503</c:v>
                </c:pt>
                <c:pt idx="3882" formatCode="m/d/yyyy">
                  <c:v>41504</c:v>
                </c:pt>
                <c:pt idx="3883" formatCode="m/d/yyyy">
                  <c:v>41505</c:v>
                </c:pt>
                <c:pt idx="3884" formatCode="m/d/yyyy">
                  <c:v>41506</c:v>
                </c:pt>
                <c:pt idx="3885" formatCode="m/d/yyyy">
                  <c:v>41507</c:v>
                </c:pt>
                <c:pt idx="3886" formatCode="m/d/yyyy">
                  <c:v>41508</c:v>
                </c:pt>
                <c:pt idx="3887" formatCode="m/d/yyyy">
                  <c:v>41509</c:v>
                </c:pt>
                <c:pt idx="3888" formatCode="m/d/yyyy">
                  <c:v>41510</c:v>
                </c:pt>
                <c:pt idx="3889" formatCode="m/d/yyyy">
                  <c:v>41511</c:v>
                </c:pt>
                <c:pt idx="3890" formatCode="m/d/yyyy">
                  <c:v>41512</c:v>
                </c:pt>
                <c:pt idx="3891" formatCode="m/d/yyyy">
                  <c:v>41513</c:v>
                </c:pt>
                <c:pt idx="3892" formatCode="m/d/yyyy">
                  <c:v>41514</c:v>
                </c:pt>
                <c:pt idx="3893" formatCode="m/d/yyyy">
                  <c:v>41515</c:v>
                </c:pt>
                <c:pt idx="3894" formatCode="m/d/yyyy">
                  <c:v>41516</c:v>
                </c:pt>
                <c:pt idx="3895" formatCode="m/d/yyyy">
                  <c:v>41517</c:v>
                </c:pt>
                <c:pt idx="3896" formatCode="m/d/yyyy">
                  <c:v>41518</c:v>
                </c:pt>
                <c:pt idx="3897" formatCode="m/d/yyyy">
                  <c:v>41519</c:v>
                </c:pt>
                <c:pt idx="3898" formatCode="m/d/yyyy">
                  <c:v>41520</c:v>
                </c:pt>
                <c:pt idx="3899" formatCode="m/d/yyyy">
                  <c:v>41521</c:v>
                </c:pt>
                <c:pt idx="3900" formatCode="m/d/yyyy">
                  <c:v>41522</c:v>
                </c:pt>
                <c:pt idx="3901" formatCode="m/d/yyyy">
                  <c:v>41523</c:v>
                </c:pt>
                <c:pt idx="3902" formatCode="m/d/yyyy">
                  <c:v>41524</c:v>
                </c:pt>
                <c:pt idx="3903" formatCode="m/d/yyyy">
                  <c:v>41525</c:v>
                </c:pt>
                <c:pt idx="3904" formatCode="m/d/yyyy">
                  <c:v>41526</c:v>
                </c:pt>
                <c:pt idx="3905" formatCode="m/d/yyyy">
                  <c:v>41527</c:v>
                </c:pt>
                <c:pt idx="3906" formatCode="m/d/yyyy">
                  <c:v>41528</c:v>
                </c:pt>
                <c:pt idx="3907" formatCode="m/d/yyyy">
                  <c:v>41529</c:v>
                </c:pt>
                <c:pt idx="3908" formatCode="m/d/yyyy">
                  <c:v>41530</c:v>
                </c:pt>
                <c:pt idx="3909" formatCode="m/d/yyyy">
                  <c:v>41531</c:v>
                </c:pt>
                <c:pt idx="3910" formatCode="m/d/yyyy">
                  <c:v>41532</c:v>
                </c:pt>
                <c:pt idx="3911" formatCode="m/d/yyyy">
                  <c:v>41533</c:v>
                </c:pt>
                <c:pt idx="3912" formatCode="m/d/yyyy">
                  <c:v>41534</c:v>
                </c:pt>
                <c:pt idx="3913" formatCode="m/d/yyyy">
                  <c:v>41535</c:v>
                </c:pt>
                <c:pt idx="3914" formatCode="m/d/yyyy">
                  <c:v>41536</c:v>
                </c:pt>
                <c:pt idx="3915" formatCode="m/d/yyyy">
                  <c:v>41537</c:v>
                </c:pt>
                <c:pt idx="3916" formatCode="m/d/yyyy">
                  <c:v>41538</c:v>
                </c:pt>
                <c:pt idx="3917" formatCode="m/d/yyyy">
                  <c:v>41539</c:v>
                </c:pt>
                <c:pt idx="3918" formatCode="m/d/yyyy">
                  <c:v>41540</c:v>
                </c:pt>
                <c:pt idx="3919" formatCode="m/d/yyyy">
                  <c:v>41541</c:v>
                </c:pt>
                <c:pt idx="3920" formatCode="m/d/yyyy">
                  <c:v>41542</c:v>
                </c:pt>
                <c:pt idx="3921" formatCode="m/d/yyyy">
                  <c:v>41543</c:v>
                </c:pt>
                <c:pt idx="3922" formatCode="m/d/yyyy">
                  <c:v>41544</c:v>
                </c:pt>
                <c:pt idx="3923" formatCode="m/d/yyyy">
                  <c:v>41545</c:v>
                </c:pt>
                <c:pt idx="3924" formatCode="m/d/yyyy">
                  <c:v>41546</c:v>
                </c:pt>
                <c:pt idx="3925" formatCode="m/d/yyyy">
                  <c:v>41547</c:v>
                </c:pt>
                <c:pt idx="3926" formatCode="m/d/yyyy">
                  <c:v>41548</c:v>
                </c:pt>
                <c:pt idx="3927" formatCode="m/d/yyyy">
                  <c:v>41549</c:v>
                </c:pt>
                <c:pt idx="3928" formatCode="m/d/yyyy">
                  <c:v>41550</c:v>
                </c:pt>
                <c:pt idx="3929" formatCode="m/d/yyyy">
                  <c:v>41551</c:v>
                </c:pt>
                <c:pt idx="3930" formatCode="m/d/yyyy">
                  <c:v>41552</c:v>
                </c:pt>
                <c:pt idx="3931" formatCode="m/d/yyyy">
                  <c:v>41553</c:v>
                </c:pt>
                <c:pt idx="3932" formatCode="m/d/yyyy">
                  <c:v>41554</c:v>
                </c:pt>
                <c:pt idx="3933" formatCode="m/d/yyyy">
                  <c:v>41555</c:v>
                </c:pt>
                <c:pt idx="3934" formatCode="m/d/yyyy">
                  <c:v>41556</c:v>
                </c:pt>
                <c:pt idx="3935" formatCode="m/d/yyyy">
                  <c:v>41557</c:v>
                </c:pt>
                <c:pt idx="3936" formatCode="m/d/yyyy">
                  <c:v>41558</c:v>
                </c:pt>
                <c:pt idx="3937" formatCode="m/d/yyyy">
                  <c:v>41559</c:v>
                </c:pt>
                <c:pt idx="3938" formatCode="m/d/yyyy">
                  <c:v>41560</c:v>
                </c:pt>
                <c:pt idx="3939" formatCode="m/d/yyyy">
                  <c:v>41561</c:v>
                </c:pt>
                <c:pt idx="3940" formatCode="m/d/yyyy">
                  <c:v>41562</c:v>
                </c:pt>
                <c:pt idx="3941" formatCode="m/d/yyyy">
                  <c:v>41563</c:v>
                </c:pt>
                <c:pt idx="3942" formatCode="m/d/yyyy">
                  <c:v>41564</c:v>
                </c:pt>
                <c:pt idx="3943" formatCode="m/d/yyyy">
                  <c:v>41565</c:v>
                </c:pt>
                <c:pt idx="3944" formatCode="m/d/yyyy">
                  <c:v>41566</c:v>
                </c:pt>
                <c:pt idx="3945" formatCode="m/d/yyyy">
                  <c:v>41567</c:v>
                </c:pt>
                <c:pt idx="3946" formatCode="m/d/yyyy">
                  <c:v>41568</c:v>
                </c:pt>
                <c:pt idx="3947" formatCode="m/d/yyyy">
                  <c:v>41569</c:v>
                </c:pt>
                <c:pt idx="3948" formatCode="m/d/yyyy">
                  <c:v>41570</c:v>
                </c:pt>
                <c:pt idx="3949" formatCode="m/d/yyyy">
                  <c:v>41571</c:v>
                </c:pt>
                <c:pt idx="3950" formatCode="m/d/yyyy">
                  <c:v>41572</c:v>
                </c:pt>
                <c:pt idx="3951" formatCode="m/d/yyyy">
                  <c:v>41573</c:v>
                </c:pt>
                <c:pt idx="3952" formatCode="m/d/yyyy">
                  <c:v>41574</c:v>
                </c:pt>
                <c:pt idx="3953" formatCode="m/d/yyyy">
                  <c:v>41575</c:v>
                </c:pt>
                <c:pt idx="3954" formatCode="m/d/yyyy">
                  <c:v>41576</c:v>
                </c:pt>
                <c:pt idx="3955" formatCode="m/d/yyyy">
                  <c:v>41577</c:v>
                </c:pt>
                <c:pt idx="3956" formatCode="m/d/yyyy">
                  <c:v>41578</c:v>
                </c:pt>
                <c:pt idx="3957" formatCode="m/d/yyyy">
                  <c:v>41579</c:v>
                </c:pt>
                <c:pt idx="3958" formatCode="m/d/yyyy">
                  <c:v>41580</c:v>
                </c:pt>
                <c:pt idx="3959" formatCode="m/d/yyyy">
                  <c:v>41581</c:v>
                </c:pt>
                <c:pt idx="3960" formatCode="m/d/yyyy">
                  <c:v>41582</c:v>
                </c:pt>
                <c:pt idx="3961" formatCode="m/d/yyyy">
                  <c:v>41583</c:v>
                </c:pt>
                <c:pt idx="3962" formatCode="m/d/yyyy">
                  <c:v>41584</c:v>
                </c:pt>
                <c:pt idx="3963" formatCode="m/d/yyyy">
                  <c:v>41585</c:v>
                </c:pt>
                <c:pt idx="3964" formatCode="m/d/yyyy">
                  <c:v>41586</c:v>
                </c:pt>
                <c:pt idx="3965" formatCode="m/d/yyyy">
                  <c:v>41587</c:v>
                </c:pt>
                <c:pt idx="3966" formatCode="m/d/yyyy">
                  <c:v>41588</c:v>
                </c:pt>
                <c:pt idx="3967" formatCode="m/d/yyyy">
                  <c:v>41589</c:v>
                </c:pt>
                <c:pt idx="3968" formatCode="m/d/yyyy">
                  <c:v>41590</c:v>
                </c:pt>
                <c:pt idx="3969" formatCode="m/d/yyyy">
                  <c:v>41591</c:v>
                </c:pt>
                <c:pt idx="3970" formatCode="m/d/yyyy">
                  <c:v>41592</c:v>
                </c:pt>
                <c:pt idx="3971" formatCode="m/d/yyyy">
                  <c:v>41593</c:v>
                </c:pt>
                <c:pt idx="3972" formatCode="m/d/yyyy">
                  <c:v>41594</c:v>
                </c:pt>
                <c:pt idx="3973" formatCode="m/d/yyyy">
                  <c:v>41595</c:v>
                </c:pt>
                <c:pt idx="3974" formatCode="m/d/yyyy">
                  <c:v>41596</c:v>
                </c:pt>
                <c:pt idx="3975" formatCode="m/d/yyyy">
                  <c:v>41597</c:v>
                </c:pt>
                <c:pt idx="3976" formatCode="m/d/yyyy">
                  <c:v>41598</c:v>
                </c:pt>
                <c:pt idx="3977" formatCode="m/d/yyyy">
                  <c:v>41599</c:v>
                </c:pt>
                <c:pt idx="3978" formatCode="m/d/yyyy">
                  <c:v>41600</c:v>
                </c:pt>
                <c:pt idx="3979" formatCode="m/d/yyyy">
                  <c:v>41601</c:v>
                </c:pt>
                <c:pt idx="3980" formatCode="m/d/yyyy">
                  <c:v>41602</c:v>
                </c:pt>
                <c:pt idx="3981" formatCode="m/d/yyyy">
                  <c:v>41603</c:v>
                </c:pt>
                <c:pt idx="3982" formatCode="m/d/yyyy">
                  <c:v>41604</c:v>
                </c:pt>
                <c:pt idx="3983" formatCode="m/d/yyyy">
                  <c:v>41605</c:v>
                </c:pt>
                <c:pt idx="3984" formatCode="m/d/yyyy">
                  <c:v>41606</c:v>
                </c:pt>
                <c:pt idx="3985" formatCode="m/d/yyyy">
                  <c:v>41607</c:v>
                </c:pt>
                <c:pt idx="3986" formatCode="m/d/yyyy">
                  <c:v>41608</c:v>
                </c:pt>
                <c:pt idx="3987" formatCode="m/d/yyyy">
                  <c:v>41609</c:v>
                </c:pt>
                <c:pt idx="3988" formatCode="m/d/yyyy">
                  <c:v>41610</c:v>
                </c:pt>
                <c:pt idx="3989" formatCode="m/d/yyyy">
                  <c:v>41611</c:v>
                </c:pt>
                <c:pt idx="3990" formatCode="m/d/yyyy">
                  <c:v>41612</c:v>
                </c:pt>
                <c:pt idx="3991" formatCode="m/d/yyyy">
                  <c:v>41613</c:v>
                </c:pt>
                <c:pt idx="3992" formatCode="m/d/yyyy">
                  <c:v>41614</c:v>
                </c:pt>
                <c:pt idx="3993" formatCode="m/d/yyyy">
                  <c:v>41615</c:v>
                </c:pt>
                <c:pt idx="3994" formatCode="m/d/yyyy">
                  <c:v>41616</c:v>
                </c:pt>
                <c:pt idx="3995" formatCode="m/d/yyyy">
                  <c:v>41617</c:v>
                </c:pt>
                <c:pt idx="3996" formatCode="m/d/yyyy">
                  <c:v>41618</c:v>
                </c:pt>
                <c:pt idx="3997" formatCode="m/d/yyyy">
                  <c:v>41619</c:v>
                </c:pt>
                <c:pt idx="3998" formatCode="m/d/yyyy">
                  <c:v>41620</c:v>
                </c:pt>
                <c:pt idx="3999" formatCode="m/d/yyyy">
                  <c:v>41621</c:v>
                </c:pt>
                <c:pt idx="4000" formatCode="m/d/yyyy">
                  <c:v>41622</c:v>
                </c:pt>
                <c:pt idx="4001" formatCode="m/d/yyyy">
                  <c:v>41623</c:v>
                </c:pt>
                <c:pt idx="4002" formatCode="m/d/yyyy">
                  <c:v>41624</c:v>
                </c:pt>
                <c:pt idx="4003" formatCode="m/d/yyyy">
                  <c:v>41625</c:v>
                </c:pt>
                <c:pt idx="4004" formatCode="m/d/yyyy">
                  <c:v>41626</c:v>
                </c:pt>
                <c:pt idx="4005" formatCode="m/d/yyyy">
                  <c:v>41627</c:v>
                </c:pt>
                <c:pt idx="4006" formatCode="m/d/yyyy">
                  <c:v>41628</c:v>
                </c:pt>
                <c:pt idx="4007" formatCode="m/d/yyyy">
                  <c:v>41629</c:v>
                </c:pt>
                <c:pt idx="4008" formatCode="m/d/yyyy">
                  <c:v>41630</c:v>
                </c:pt>
                <c:pt idx="4009" formatCode="m/d/yyyy">
                  <c:v>41631</c:v>
                </c:pt>
                <c:pt idx="4010" formatCode="m/d/yyyy">
                  <c:v>41632</c:v>
                </c:pt>
                <c:pt idx="4011" formatCode="m/d/yyyy">
                  <c:v>41633</c:v>
                </c:pt>
                <c:pt idx="4012" formatCode="m/d/yyyy">
                  <c:v>41634</c:v>
                </c:pt>
                <c:pt idx="4013" formatCode="m/d/yyyy">
                  <c:v>41635</c:v>
                </c:pt>
                <c:pt idx="4014" formatCode="m/d/yyyy">
                  <c:v>41636</c:v>
                </c:pt>
                <c:pt idx="4015" formatCode="m/d/yyyy">
                  <c:v>41637</c:v>
                </c:pt>
                <c:pt idx="4016" formatCode="m/d/yyyy">
                  <c:v>41638</c:v>
                </c:pt>
                <c:pt idx="4017" formatCode="m/d/yyyy">
                  <c:v>41639</c:v>
                </c:pt>
                <c:pt idx="4018" formatCode="m/d/yyyy">
                  <c:v>41640</c:v>
                </c:pt>
                <c:pt idx="4019" formatCode="m/d/yyyy">
                  <c:v>41641</c:v>
                </c:pt>
                <c:pt idx="4020" formatCode="m/d/yyyy">
                  <c:v>41642</c:v>
                </c:pt>
                <c:pt idx="4021" formatCode="m/d/yyyy">
                  <c:v>41643</c:v>
                </c:pt>
                <c:pt idx="4022" formatCode="m/d/yyyy">
                  <c:v>41644</c:v>
                </c:pt>
                <c:pt idx="4023" formatCode="m/d/yyyy">
                  <c:v>41645</c:v>
                </c:pt>
                <c:pt idx="4024" formatCode="m/d/yyyy">
                  <c:v>41646</c:v>
                </c:pt>
                <c:pt idx="4025" formatCode="m/d/yyyy">
                  <c:v>41647</c:v>
                </c:pt>
                <c:pt idx="4026" formatCode="m/d/yyyy">
                  <c:v>41648</c:v>
                </c:pt>
                <c:pt idx="4027" formatCode="m/d/yyyy">
                  <c:v>41649</c:v>
                </c:pt>
                <c:pt idx="4028" formatCode="m/d/yyyy">
                  <c:v>41650</c:v>
                </c:pt>
                <c:pt idx="4029" formatCode="m/d/yyyy">
                  <c:v>41651</c:v>
                </c:pt>
                <c:pt idx="4030" formatCode="m/d/yyyy">
                  <c:v>41652</c:v>
                </c:pt>
                <c:pt idx="4031" formatCode="m/d/yyyy">
                  <c:v>41653</c:v>
                </c:pt>
                <c:pt idx="4032" formatCode="m/d/yyyy">
                  <c:v>41654</c:v>
                </c:pt>
                <c:pt idx="4033" formatCode="m/d/yyyy">
                  <c:v>41655</c:v>
                </c:pt>
                <c:pt idx="4034" formatCode="m/d/yyyy">
                  <c:v>41656</c:v>
                </c:pt>
                <c:pt idx="4035" formatCode="m/d/yyyy">
                  <c:v>41657</c:v>
                </c:pt>
                <c:pt idx="4036" formatCode="m/d/yyyy">
                  <c:v>41658</c:v>
                </c:pt>
                <c:pt idx="4037" formatCode="m/d/yyyy">
                  <c:v>41659</c:v>
                </c:pt>
                <c:pt idx="4038" formatCode="m/d/yyyy">
                  <c:v>41660</c:v>
                </c:pt>
                <c:pt idx="4039" formatCode="m/d/yyyy">
                  <c:v>41661</c:v>
                </c:pt>
                <c:pt idx="4040" formatCode="m/d/yyyy">
                  <c:v>41662</c:v>
                </c:pt>
                <c:pt idx="4041" formatCode="m/d/yyyy">
                  <c:v>41663</c:v>
                </c:pt>
                <c:pt idx="4042" formatCode="m/d/yyyy">
                  <c:v>41664</c:v>
                </c:pt>
                <c:pt idx="4043" formatCode="m/d/yyyy">
                  <c:v>41665</c:v>
                </c:pt>
                <c:pt idx="4044" formatCode="m/d/yyyy">
                  <c:v>41666</c:v>
                </c:pt>
                <c:pt idx="4045" formatCode="m/d/yyyy">
                  <c:v>41667</c:v>
                </c:pt>
                <c:pt idx="4046" formatCode="m/d/yyyy">
                  <c:v>41668</c:v>
                </c:pt>
                <c:pt idx="4047" formatCode="m/d/yyyy">
                  <c:v>41669</c:v>
                </c:pt>
                <c:pt idx="4048" formatCode="m/d/yyyy">
                  <c:v>41670</c:v>
                </c:pt>
                <c:pt idx="4049" formatCode="m/d/yyyy">
                  <c:v>41671</c:v>
                </c:pt>
                <c:pt idx="4050" formatCode="m/d/yyyy">
                  <c:v>41672</c:v>
                </c:pt>
                <c:pt idx="4051" formatCode="m/d/yyyy">
                  <c:v>41673</c:v>
                </c:pt>
                <c:pt idx="4052" formatCode="m/d/yyyy">
                  <c:v>41674</c:v>
                </c:pt>
                <c:pt idx="4053" formatCode="m/d/yyyy">
                  <c:v>41675</c:v>
                </c:pt>
                <c:pt idx="4054" formatCode="m/d/yyyy">
                  <c:v>41676</c:v>
                </c:pt>
                <c:pt idx="4055" formatCode="m/d/yyyy">
                  <c:v>41677</c:v>
                </c:pt>
                <c:pt idx="4056" formatCode="m/d/yyyy">
                  <c:v>41678</c:v>
                </c:pt>
                <c:pt idx="4057" formatCode="m/d/yyyy">
                  <c:v>41679</c:v>
                </c:pt>
                <c:pt idx="4058" formatCode="m/d/yyyy">
                  <c:v>41680</c:v>
                </c:pt>
                <c:pt idx="4059" formatCode="m/d/yyyy">
                  <c:v>41681</c:v>
                </c:pt>
                <c:pt idx="4060" formatCode="m/d/yyyy">
                  <c:v>41682</c:v>
                </c:pt>
                <c:pt idx="4061" formatCode="m/d/yyyy">
                  <c:v>41683</c:v>
                </c:pt>
                <c:pt idx="4062" formatCode="m/d/yyyy">
                  <c:v>41684</c:v>
                </c:pt>
                <c:pt idx="4063" formatCode="m/d/yyyy">
                  <c:v>41685</c:v>
                </c:pt>
                <c:pt idx="4064" formatCode="m/d/yyyy">
                  <c:v>41686</c:v>
                </c:pt>
                <c:pt idx="4065" formatCode="m/d/yyyy">
                  <c:v>41687</c:v>
                </c:pt>
                <c:pt idx="4066" formatCode="m/d/yyyy">
                  <c:v>41688</c:v>
                </c:pt>
                <c:pt idx="4067" formatCode="m/d/yyyy">
                  <c:v>41689</c:v>
                </c:pt>
                <c:pt idx="4068" formatCode="m/d/yyyy">
                  <c:v>41690</c:v>
                </c:pt>
                <c:pt idx="4069" formatCode="m/d/yyyy">
                  <c:v>41691</c:v>
                </c:pt>
                <c:pt idx="4070" formatCode="m/d/yyyy">
                  <c:v>41692</c:v>
                </c:pt>
                <c:pt idx="4071" formatCode="m/d/yyyy">
                  <c:v>41693</c:v>
                </c:pt>
                <c:pt idx="4072" formatCode="m/d/yyyy">
                  <c:v>41694</c:v>
                </c:pt>
                <c:pt idx="4073" formatCode="m/d/yyyy">
                  <c:v>41695</c:v>
                </c:pt>
                <c:pt idx="4074" formatCode="m/d/yyyy">
                  <c:v>41696</c:v>
                </c:pt>
                <c:pt idx="4075" formatCode="m/d/yyyy">
                  <c:v>41697</c:v>
                </c:pt>
                <c:pt idx="4076" formatCode="m/d/yyyy">
                  <c:v>41698</c:v>
                </c:pt>
                <c:pt idx="4077" formatCode="m/d/yyyy">
                  <c:v>41699</c:v>
                </c:pt>
                <c:pt idx="4078" formatCode="m/d/yyyy">
                  <c:v>41700</c:v>
                </c:pt>
                <c:pt idx="4079" formatCode="m/d/yyyy">
                  <c:v>41701</c:v>
                </c:pt>
                <c:pt idx="4080" formatCode="m/d/yyyy">
                  <c:v>41702</c:v>
                </c:pt>
                <c:pt idx="4081" formatCode="m/d/yyyy">
                  <c:v>41703</c:v>
                </c:pt>
                <c:pt idx="4082" formatCode="m/d/yyyy">
                  <c:v>41704</c:v>
                </c:pt>
                <c:pt idx="4083" formatCode="m/d/yyyy">
                  <c:v>41705</c:v>
                </c:pt>
                <c:pt idx="4084" formatCode="m/d/yyyy">
                  <c:v>41706</c:v>
                </c:pt>
                <c:pt idx="4085" formatCode="m/d/yyyy">
                  <c:v>41707</c:v>
                </c:pt>
                <c:pt idx="4086" formatCode="m/d/yyyy">
                  <c:v>41708</c:v>
                </c:pt>
                <c:pt idx="4087" formatCode="m/d/yyyy">
                  <c:v>41709</c:v>
                </c:pt>
                <c:pt idx="4088" formatCode="m/d/yyyy">
                  <c:v>41710</c:v>
                </c:pt>
                <c:pt idx="4089" formatCode="m/d/yyyy">
                  <c:v>41711</c:v>
                </c:pt>
                <c:pt idx="4090" formatCode="m/d/yyyy">
                  <c:v>41712</c:v>
                </c:pt>
                <c:pt idx="4091" formatCode="m/d/yyyy">
                  <c:v>41713</c:v>
                </c:pt>
                <c:pt idx="4092" formatCode="m/d/yyyy">
                  <c:v>41714</c:v>
                </c:pt>
                <c:pt idx="4093" formatCode="m/d/yyyy">
                  <c:v>41715</c:v>
                </c:pt>
                <c:pt idx="4094" formatCode="m/d/yyyy">
                  <c:v>41716</c:v>
                </c:pt>
                <c:pt idx="4095" formatCode="m/d/yyyy">
                  <c:v>41717</c:v>
                </c:pt>
                <c:pt idx="4096" formatCode="m/d/yyyy">
                  <c:v>41718</c:v>
                </c:pt>
                <c:pt idx="4097" formatCode="m/d/yyyy">
                  <c:v>41719</c:v>
                </c:pt>
                <c:pt idx="4098" formatCode="m/d/yyyy">
                  <c:v>41720</c:v>
                </c:pt>
                <c:pt idx="4099" formatCode="m/d/yyyy">
                  <c:v>41721</c:v>
                </c:pt>
                <c:pt idx="4100" formatCode="m/d/yyyy">
                  <c:v>41722</c:v>
                </c:pt>
                <c:pt idx="4101" formatCode="m/d/yyyy">
                  <c:v>41723</c:v>
                </c:pt>
                <c:pt idx="4102" formatCode="m/d/yyyy">
                  <c:v>41724</c:v>
                </c:pt>
                <c:pt idx="4103" formatCode="m/d/yyyy">
                  <c:v>41725</c:v>
                </c:pt>
                <c:pt idx="4104" formatCode="m/d/yyyy">
                  <c:v>41726</c:v>
                </c:pt>
                <c:pt idx="4105" formatCode="m/d/yyyy">
                  <c:v>41727</c:v>
                </c:pt>
                <c:pt idx="4106" formatCode="m/d/yyyy">
                  <c:v>41728</c:v>
                </c:pt>
                <c:pt idx="4107" formatCode="m/d/yyyy">
                  <c:v>41729</c:v>
                </c:pt>
                <c:pt idx="4108" formatCode="m/d/yyyy">
                  <c:v>41730</c:v>
                </c:pt>
                <c:pt idx="4109" formatCode="m/d/yyyy">
                  <c:v>41731</c:v>
                </c:pt>
                <c:pt idx="4110" formatCode="m/d/yyyy">
                  <c:v>41732</c:v>
                </c:pt>
                <c:pt idx="4111" formatCode="m/d/yyyy">
                  <c:v>41733</c:v>
                </c:pt>
                <c:pt idx="4112" formatCode="m/d/yyyy">
                  <c:v>41734</c:v>
                </c:pt>
                <c:pt idx="4113" formatCode="m/d/yyyy">
                  <c:v>41735</c:v>
                </c:pt>
                <c:pt idx="4114" formatCode="m/d/yyyy">
                  <c:v>41736</c:v>
                </c:pt>
                <c:pt idx="4115" formatCode="m/d/yyyy">
                  <c:v>41737</c:v>
                </c:pt>
                <c:pt idx="4116" formatCode="m/d/yyyy">
                  <c:v>41738</c:v>
                </c:pt>
                <c:pt idx="4117" formatCode="m/d/yyyy">
                  <c:v>41739</c:v>
                </c:pt>
                <c:pt idx="4118" formatCode="m/d/yyyy">
                  <c:v>41740</c:v>
                </c:pt>
                <c:pt idx="4119" formatCode="m/d/yyyy">
                  <c:v>41741</c:v>
                </c:pt>
                <c:pt idx="4120" formatCode="m/d/yyyy">
                  <c:v>41742</c:v>
                </c:pt>
                <c:pt idx="4121" formatCode="m/d/yyyy">
                  <c:v>41743</c:v>
                </c:pt>
                <c:pt idx="4122" formatCode="m/d/yyyy">
                  <c:v>41744</c:v>
                </c:pt>
                <c:pt idx="4123" formatCode="m/d/yyyy">
                  <c:v>41745</c:v>
                </c:pt>
                <c:pt idx="4124" formatCode="m/d/yyyy">
                  <c:v>41746</c:v>
                </c:pt>
                <c:pt idx="4125" formatCode="m/d/yyyy">
                  <c:v>41747</c:v>
                </c:pt>
                <c:pt idx="4126" formatCode="m/d/yyyy">
                  <c:v>41748</c:v>
                </c:pt>
                <c:pt idx="4127" formatCode="m/d/yyyy">
                  <c:v>41749</c:v>
                </c:pt>
                <c:pt idx="4128" formatCode="m/d/yyyy">
                  <c:v>41750</c:v>
                </c:pt>
                <c:pt idx="4129" formatCode="m/d/yyyy">
                  <c:v>41751</c:v>
                </c:pt>
                <c:pt idx="4130" formatCode="m/d/yyyy">
                  <c:v>41752</c:v>
                </c:pt>
                <c:pt idx="4131" formatCode="m/d/yyyy">
                  <c:v>41753</c:v>
                </c:pt>
                <c:pt idx="4132" formatCode="m/d/yyyy">
                  <c:v>41754</c:v>
                </c:pt>
                <c:pt idx="4133" formatCode="m/d/yyyy">
                  <c:v>41755</c:v>
                </c:pt>
                <c:pt idx="4134" formatCode="m/d/yyyy">
                  <c:v>41756</c:v>
                </c:pt>
                <c:pt idx="4135" formatCode="m/d/yyyy">
                  <c:v>41757</c:v>
                </c:pt>
                <c:pt idx="4136" formatCode="m/d/yyyy">
                  <c:v>41758</c:v>
                </c:pt>
                <c:pt idx="4137" formatCode="m/d/yyyy">
                  <c:v>41759</c:v>
                </c:pt>
                <c:pt idx="4138" formatCode="m/d/yyyy">
                  <c:v>41760</c:v>
                </c:pt>
                <c:pt idx="4139" formatCode="m/d/yyyy">
                  <c:v>41761</c:v>
                </c:pt>
                <c:pt idx="4140" formatCode="m/d/yyyy">
                  <c:v>41762</c:v>
                </c:pt>
                <c:pt idx="4141" formatCode="m/d/yyyy">
                  <c:v>41763</c:v>
                </c:pt>
                <c:pt idx="4142" formatCode="m/d/yyyy">
                  <c:v>41764</c:v>
                </c:pt>
                <c:pt idx="4143" formatCode="m/d/yyyy">
                  <c:v>41765</c:v>
                </c:pt>
                <c:pt idx="4144" formatCode="m/d/yyyy">
                  <c:v>41766</c:v>
                </c:pt>
                <c:pt idx="4145" formatCode="m/d/yyyy">
                  <c:v>41767</c:v>
                </c:pt>
                <c:pt idx="4146" formatCode="m/d/yyyy">
                  <c:v>41768</c:v>
                </c:pt>
                <c:pt idx="4147" formatCode="m/d/yyyy">
                  <c:v>41769</c:v>
                </c:pt>
                <c:pt idx="4148" formatCode="m/d/yyyy">
                  <c:v>41770</c:v>
                </c:pt>
                <c:pt idx="4149" formatCode="m/d/yyyy">
                  <c:v>41771</c:v>
                </c:pt>
                <c:pt idx="4150" formatCode="m/d/yyyy">
                  <c:v>41772</c:v>
                </c:pt>
                <c:pt idx="4151" formatCode="m/d/yyyy">
                  <c:v>41773</c:v>
                </c:pt>
                <c:pt idx="4152" formatCode="m/d/yyyy">
                  <c:v>41774</c:v>
                </c:pt>
                <c:pt idx="4153" formatCode="m/d/yyyy">
                  <c:v>41775</c:v>
                </c:pt>
                <c:pt idx="4154" formatCode="m/d/yyyy">
                  <c:v>41776</c:v>
                </c:pt>
                <c:pt idx="4155" formatCode="m/d/yyyy">
                  <c:v>41777</c:v>
                </c:pt>
                <c:pt idx="4156" formatCode="m/d/yyyy">
                  <c:v>41778</c:v>
                </c:pt>
                <c:pt idx="4157" formatCode="m/d/yyyy">
                  <c:v>41779</c:v>
                </c:pt>
                <c:pt idx="4158" formatCode="m/d/yyyy">
                  <c:v>41780</c:v>
                </c:pt>
                <c:pt idx="4159" formatCode="m/d/yyyy">
                  <c:v>41781</c:v>
                </c:pt>
                <c:pt idx="4160" formatCode="m/d/yyyy">
                  <c:v>41782</c:v>
                </c:pt>
                <c:pt idx="4161" formatCode="m/d/yyyy">
                  <c:v>41783</c:v>
                </c:pt>
                <c:pt idx="4162" formatCode="m/d/yyyy">
                  <c:v>41784</c:v>
                </c:pt>
                <c:pt idx="4163" formatCode="m/d/yyyy">
                  <c:v>41785</c:v>
                </c:pt>
                <c:pt idx="4164" formatCode="m/d/yyyy">
                  <c:v>41786</c:v>
                </c:pt>
                <c:pt idx="4165" formatCode="m/d/yyyy">
                  <c:v>41787</c:v>
                </c:pt>
                <c:pt idx="4166" formatCode="m/d/yyyy">
                  <c:v>41788</c:v>
                </c:pt>
                <c:pt idx="4167" formatCode="m/d/yyyy">
                  <c:v>41789</c:v>
                </c:pt>
                <c:pt idx="4168" formatCode="m/d/yyyy">
                  <c:v>41790</c:v>
                </c:pt>
                <c:pt idx="4169" formatCode="m/d/yyyy">
                  <c:v>41791</c:v>
                </c:pt>
                <c:pt idx="4170" formatCode="m/d/yyyy">
                  <c:v>41792</c:v>
                </c:pt>
                <c:pt idx="4171" formatCode="m/d/yyyy">
                  <c:v>41793</c:v>
                </c:pt>
                <c:pt idx="4172" formatCode="m/d/yyyy">
                  <c:v>41794</c:v>
                </c:pt>
                <c:pt idx="4173" formatCode="m/d/yyyy">
                  <c:v>41795</c:v>
                </c:pt>
                <c:pt idx="4174" formatCode="m/d/yyyy">
                  <c:v>41796</c:v>
                </c:pt>
                <c:pt idx="4175" formatCode="m/d/yyyy">
                  <c:v>41797</c:v>
                </c:pt>
                <c:pt idx="4176" formatCode="m/d/yyyy">
                  <c:v>41798</c:v>
                </c:pt>
                <c:pt idx="4177" formatCode="m/d/yyyy">
                  <c:v>41799</c:v>
                </c:pt>
                <c:pt idx="4178" formatCode="m/d/yyyy">
                  <c:v>41800</c:v>
                </c:pt>
                <c:pt idx="4179" formatCode="m/d/yyyy">
                  <c:v>41801</c:v>
                </c:pt>
                <c:pt idx="4180" formatCode="m/d/yyyy">
                  <c:v>41802</c:v>
                </c:pt>
                <c:pt idx="4181" formatCode="m/d/yyyy">
                  <c:v>41803</c:v>
                </c:pt>
                <c:pt idx="4182" formatCode="m/d/yyyy">
                  <c:v>41804</c:v>
                </c:pt>
                <c:pt idx="4183" formatCode="m/d/yyyy">
                  <c:v>41805</c:v>
                </c:pt>
                <c:pt idx="4184" formatCode="m/d/yyyy">
                  <c:v>41806</c:v>
                </c:pt>
                <c:pt idx="4185" formatCode="m/d/yyyy">
                  <c:v>41807</c:v>
                </c:pt>
                <c:pt idx="4186" formatCode="m/d/yyyy">
                  <c:v>41808</c:v>
                </c:pt>
                <c:pt idx="4187" formatCode="m/d/yyyy">
                  <c:v>41809</c:v>
                </c:pt>
                <c:pt idx="4188" formatCode="m/d/yyyy">
                  <c:v>41810</c:v>
                </c:pt>
                <c:pt idx="4189" formatCode="m/d/yyyy">
                  <c:v>41811</c:v>
                </c:pt>
                <c:pt idx="4190" formatCode="m/d/yyyy">
                  <c:v>41812</c:v>
                </c:pt>
                <c:pt idx="4191" formatCode="m/d/yyyy">
                  <c:v>41813</c:v>
                </c:pt>
                <c:pt idx="4192" formatCode="m/d/yyyy">
                  <c:v>41814</c:v>
                </c:pt>
                <c:pt idx="4193" formatCode="m/d/yyyy">
                  <c:v>41815</c:v>
                </c:pt>
                <c:pt idx="4194" formatCode="m/d/yyyy">
                  <c:v>41816</c:v>
                </c:pt>
                <c:pt idx="4195" formatCode="m/d/yyyy">
                  <c:v>41817</c:v>
                </c:pt>
                <c:pt idx="4196" formatCode="m/d/yyyy">
                  <c:v>41818</c:v>
                </c:pt>
                <c:pt idx="4197" formatCode="m/d/yyyy">
                  <c:v>41819</c:v>
                </c:pt>
                <c:pt idx="4198" formatCode="m/d/yyyy">
                  <c:v>41820</c:v>
                </c:pt>
                <c:pt idx="4199" formatCode="m/d/yyyy">
                  <c:v>41821</c:v>
                </c:pt>
                <c:pt idx="4200" formatCode="m/d/yyyy">
                  <c:v>41822</c:v>
                </c:pt>
                <c:pt idx="4201" formatCode="m/d/yyyy">
                  <c:v>41823</c:v>
                </c:pt>
                <c:pt idx="4202" formatCode="m/d/yyyy">
                  <c:v>41824</c:v>
                </c:pt>
                <c:pt idx="4203" formatCode="m/d/yyyy">
                  <c:v>41825</c:v>
                </c:pt>
                <c:pt idx="4204" formatCode="m/d/yyyy">
                  <c:v>41826</c:v>
                </c:pt>
                <c:pt idx="4205" formatCode="m/d/yyyy">
                  <c:v>41827</c:v>
                </c:pt>
                <c:pt idx="4206" formatCode="m/d/yyyy">
                  <c:v>41828</c:v>
                </c:pt>
                <c:pt idx="4207" formatCode="m/d/yyyy">
                  <c:v>41829</c:v>
                </c:pt>
                <c:pt idx="4208" formatCode="m/d/yyyy">
                  <c:v>41830</c:v>
                </c:pt>
                <c:pt idx="4209" formatCode="m/d/yyyy">
                  <c:v>41831</c:v>
                </c:pt>
                <c:pt idx="4210" formatCode="m/d/yyyy">
                  <c:v>41832</c:v>
                </c:pt>
                <c:pt idx="4211" formatCode="m/d/yyyy">
                  <c:v>41833</c:v>
                </c:pt>
                <c:pt idx="4212" formatCode="m/d/yyyy">
                  <c:v>41834</c:v>
                </c:pt>
                <c:pt idx="4213" formatCode="m/d/yyyy">
                  <c:v>41835</c:v>
                </c:pt>
                <c:pt idx="4214" formatCode="m/d/yyyy">
                  <c:v>41836</c:v>
                </c:pt>
                <c:pt idx="4215" formatCode="m/d/yyyy">
                  <c:v>41837</c:v>
                </c:pt>
                <c:pt idx="4216" formatCode="m/d/yyyy">
                  <c:v>41838</c:v>
                </c:pt>
                <c:pt idx="4217" formatCode="m/d/yyyy">
                  <c:v>41839</c:v>
                </c:pt>
                <c:pt idx="4218" formatCode="m/d/yyyy">
                  <c:v>41840</c:v>
                </c:pt>
                <c:pt idx="4219" formatCode="m/d/yyyy">
                  <c:v>41841</c:v>
                </c:pt>
                <c:pt idx="4220" formatCode="m/d/yyyy">
                  <c:v>41842</c:v>
                </c:pt>
                <c:pt idx="4221" formatCode="m/d/yyyy">
                  <c:v>41843</c:v>
                </c:pt>
                <c:pt idx="4222" formatCode="m/d/yyyy">
                  <c:v>41844</c:v>
                </c:pt>
                <c:pt idx="4223" formatCode="m/d/yyyy">
                  <c:v>41845</c:v>
                </c:pt>
                <c:pt idx="4224" formatCode="m/d/yyyy">
                  <c:v>41846</c:v>
                </c:pt>
                <c:pt idx="4225" formatCode="m/d/yyyy">
                  <c:v>41847</c:v>
                </c:pt>
                <c:pt idx="4226" formatCode="m/d/yyyy">
                  <c:v>41848</c:v>
                </c:pt>
                <c:pt idx="4227" formatCode="m/d/yyyy">
                  <c:v>41849</c:v>
                </c:pt>
                <c:pt idx="4228" formatCode="m/d/yyyy">
                  <c:v>41850</c:v>
                </c:pt>
                <c:pt idx="4229" formatCode="m/d/yyyy">
                  <c:v>41851</c:v>
                </c:pt>
                <c:pt idx="4230" formatCode="m/d/yyyy">
                  <c:v>41852</c:v>
                </c:pt>
                <c:pt idx="4231" formatCode="m/d/yyyy">
                  <c:v>41853</c:v>
                </c:pt>
                <c:pt idx="4232" formatCode="m/d/yyyy">
                  <c:v>41854</c:v>
                </c:pt>
                <c:pt idx="4233" formatCode="m/d/yyyy">
                  <c:v>41855</c:v>
                </c:pt>
                <c:pt idx="4234" formatCode="m/d/yyyy">
                  <c:v>41856</c:v>
                </c:pt>
                <c:pt idx="4235" formatCode="m/d/yyyy">
                  <c:v>41857</c:v>
                </c:pt>
                <c:pt idx="4236" formatCode="m/d/yyyy">
                  <c:v>41858</c:v>
                </c:pt>
                <c:pt idx="4237" formatCode="m/d/yyyy">
                  <c:v>41859</c:v>
                </c:pt>
                <c:pt idx="4238" formatCode="m/d/yyyy">
                  <c:v>41860</c:v>
                </c:pt>
                <c:pt idx="4239" formatCode="m/d/yyyy">
                  <c:v>41861</c:v>
                </c:pt>
                <c:pt idx="4240" formatCode="m/d/yyyy">
                  <c:v>41862</c:v>
                </c:pt>
                <c:pt idx="4241" formatCode="m/d/yyyy">
                  <c:v>41863</c:v>
                </c:pt>
                <c:pt idx="4242" formatCode="m/d/yyyy">
                  <c:v>41864</c:v>
                </c:pt>
                <c:pt idx="4243" formatCode="m/d/yyyy">
                  <c:v>41865</c:v>
                </c:pt>
                <c:pt idx="4244" formatCode="m/d/yyyy">
                  <c:v>41866</c:v>
                </c:pt>
                <c:pt idx="4245" formatCode="m/d/yyyy">
                  <c:v>41867</c:v>
                </c:pt>
                <c:pt idx="4246" formatCode="m/d/yyyy">
                  <c:v>41868</c:v>
                </c:pt>
                <c:pt idx="4247" formatCode="m/d/yyyy">
                  <c:v>41869</c:v>
                </c:pt>
                <c:pt idx="4248" formatCode="m/d/yyyy">
                  <c:v>41870</c:v>
                </c:pt>
                <c:pt idx="4249" formatCode="m/d/yyyy">
                  <c:v>41871</c:v>
                </c:pt>
                <c:pt idx="4250" formatCode="m/d/yyyy">
                  <c:v>41872</c:v>
                </c:pt>
                <c:pt idx="4251" formatCode="m/d/yyyy">
                  <c:v>41873</c:v>
                </c:pt>
                <c:pt idx="4252" formatCode="m/d/yyyy">
                  <c:v>41874</c:v>
                </c:pt>
                <c:pt idx="4253" formatCode="m/d/yyyy">
                  <c:v>41875</c:v>
                </c:pt>
                <c:pt idx="4254" formatCode="m/d/yyyy">
                  <c:v>41876</c:v>
                </c:pt>
                <c:pt idx="4255" formatCode="m/d/yyyy">
                  <c:v>41877</c:v>
                </c:pt>
                <c:pt idx="4256" formatCode="m/d/yyyy">
                  <c:v>41878</c:v>
                </c:pt>
                <c:pt idx="4257" formatCode="m/d/yyyy">
                  <c:v>41879</c:v>
                </c:pt>
                <c:pt idx="4258" formatCode="m/d/yyyy">
                  <c:v>41880</c:v>
                </c:pt>
                <c:pt idx="4259" formatCode="m/d/yyyy">
                  <c:v>41881</c:v>
                </c:pt>
                <c:pt idx="4260" formatCode="m/d/yyyy">
                  <c:v>41882</c:v>
                </c:pt>
                <c:pt idx="4261" formatCode="m/d/yyyy">
                  <c:v>41883</c:v>
                </c:pt>
                <c:pt idx="4262" formatCode="m/d/yyyy">
                  <c:v>41884</c:v>
                </c:pt>
                <c:pt idx="4263" formatCode="m/d/yyyy">
                  <c:v>41885</c:v>
                </c:pt>
                <c:pt idx="4264" formatCode="m/d/yyyy">
                  <c:v>41886</c:v>
                </c:pt>
                <c:pt idx="4265" formatCode="m/d/yyyy">
                  <c:v>41887</c:v>
                </c:pt>
                <c:pt idx="4266" formatCode="m/d/yyyy">
                  <c:v>41888</c:v>
                </c:pt>
                <c:pt idx="4267" formatCode="m/d/yyyy">
                  <c:v>41889</c:v>
                </c:pt>
                <c:pt idx="4268" formatCode="m/d/yyyy">
                  <c:v>41890</c:v>
                </c:pt>
                <c:pt idx="4269" formatCode="m/d/yyyy">
                  <c:v>41891</c:v>
                </c:pt>
                <c:pt idx="4270" formatCode="m/d/yyyy">
                  <c:v>41892</c:v>
                </c:pt>
                <c:pt idx="4271" formatCode="m/d/yyyy">
                  <c:v>41893</c:v>
                </c:pt>
                <c:pt idx="4272" formatCode="m/d/yyyy">
                  <c:v>41894</c:v>
                </c:pt>
                <c:pt idx="4273" formatCode="m/d/yyyy">
                  <c:v>41895</c:v>
                </c:pt>
                <c:pt idx="4274" formatCode="m/d/yyyy">
                  <c:v>41896</c:v>
                </c:pt>
                <c:pt idx="4275" formatCode="m/d/yyyy">
                  <c:v>41897</c:v>
                </c:pt>
                <c:pt idx="4276" formatCode="m/d/yyyy">
                  <c:v>41898</c:v>
                </c:pt>
                <c:pt idx="4277" formatCode="m/d/yyyy">
                  <c:v>41899</c:v>
                </c:pt>
                <c:pt idx="4278" formatCode="m/d/yyyy">
                  <c:v>41900</c:v>
                </c:pt>
                <c:pt idx="4279" formatCode="m/d/yyyy">
                  <c:v>41901</c:v>
                </c:pt>
                <c:pt idx="4280" formatCode="m/d/yyyy">
                  <c:v>41902</c:v>
                </c:pt>
                <c:pt idx="4281" formatCode="m/d/yyyy">
                  <c:v>41903</c:v>
                </c:pt>
                <c:pt idx="4282" formatCode="m/d/yyyy">
                  <c:v>41904</c:v>
                </c:pt>
                <c:pt idx="4283" formatCode="m/d/yyyy">
                  <c:v>41905</c:v>
                </c:pt>
                <c:pt idx="4284" formatCode="m/d/yyyy">
                  <c:v>41906</c:v>
                </c:pt>
                <c:pt idx="4285" formatCode="m/d/yyyy">
                  <c:v>41907</c:v>
                </c:pt>
                <c:pt idx="4286" formatCode="m/d/yyyy">
                  <c:v>41908</c:v>
                </c:pt>
                <c:pt idx="4287" formatCode="m/d/yyyy">
                  <c:v>41909</c:v>
                </c:pt>
                <c:pt idx="4288" formatCode="m/d/yyyy">
                  <c:v>41910</c:v>
                </c:pt>
                <c:pt idx="4289" formatCode="m/d/yyyy">
                  <c:v>41911</c:v>
                </c:pt>
                <c:pt idx="4290" formatCode="m/d/yyyy">
                  <c:v>41912</c:v>
                </c:pt>
                <c:pt idx="4291" formatCode="m/d/yyyy">
                  <c:v>41913</c:v>
                </c:pt>
                <c:pt idx="4292" formatCode="m/d/yyyy">
                  <c:v>41914</c:v>
                </c:pt>
                <c:pt idx="4293" formatCode="m/d/yyyy">
                  <c:v>41915</c:v>
                </c:pt>
                <c:pt idx="4294" formatCode="m/d/yyyy">
                  <c:v>41916</c:v>
                </c:pt>
                <c:pt idx="4295" formatCode="m/d/yyyy">
                  <c:v>41917</c:v>
                </c:pt>
                <c:pt idx="4296" formatCode="m/d/yyyy">
                  <c:v>41918</c:v>
                </c:pt>
                <c:pt idx="4297" formatCode="m/d/yyyy">
                  <c:v>41919</c:v>
                </c:pt>
                <c:pt idx="4298" formatCode="m/d/yyyy">
                  <c:v>41920</c:v>
                </c:pt>
                <c:pt idx="4299" formatCode="m/d/yyyy">
                  <c:v>41921</c:v>
                </c:pt>
                <c:pt idx="4300" formatCode="m/d/yyyy">
                  <c:v>41922</c:v>
                </c:pt>
                <c:pt idx="4301" formatCode="m/d/yyyy">
                  <c:v>41923</c:v>
                </c:pt>
                <c:pt idx="4302" formatCode="m/d/yyyy">
                  <c:v>41924</c:v>
                </c:pt>
                <c:pt idx="4303" formatCode="m/d/yyyy">
                  <c:v>41925</c:v>
                </c:pt>
                <c:pt idx="4304" formatCode="m/d/yyyy">
                  <c:v>41926</c:v>
                </c:pt>
                <c:pt idx="4305" formatCode="m/d/yyyy">
                  <c:v>41927</c:v>
                </c:pt>
                <c:pt idx="4306" formatCode="m/d/yyyy">
                  <c:v>41928</c:v>
                </c:pt>
                <c:pt idx="4307" formatCode="m/d/yyyy">
                  <c:v>41929</c:v>
                </c:pt>
                <c:pt idx="4308" formatCode="m/d/yyyy">
                  <c:v>41930</c:v>
                </c:pt>
                <c:pt idx="4309" formatCode="m/d/yyyy">
                  <c:v>41931</c:v>
                </c:pt>
                <c:pt idx="4310" formatCode="m/d/yyyy">
                  <c:v>41932</c:v>
                </c:pt>
                <c:pt idx="4311" formatCode="m/d/yyyy">
                  <c:v>41933</c:v>
                </c:pt>
                <c:pt idx="4312" formatCode="m/d/yyyy">
                  <c:v>41934</c:v>
                </c:pt>
                <c:pt idx="4313" formatCode="m/d/yyyy">
                  <c:v>41935</c:v>
                </c:pt>
                <c:pt idx="4314" formatCode="m/d/yyyy">
                  <c:v>41936</c:v>
                </c:pt>
                <c:pt idx="4315" formatCode="m/d/yyyy">
                  <c:v>41937</c:v>
                </c:pt>
                <c:pt idx="4316" formatCode="m/d/yyyy">
                  <c:v>41938</c:v>
                </c:pt>
                <c:pt idx="4317" formatCode="m/d/yyyy">
                  <c:v>41939</c:v>
                </c:pt>
                <c:pt idx="4318" formatCode="m/d/yyyy">
                  <c:v>41940</c:v>
                </c:pt>
                <c:pt idx="4319" formatCode="m/d/yyyy">
                  <c:v>41941</c:v>
                </c:pt>
                <c:pt idx="4320" formatCode="m/d/yyyy">
                  <c:v>41942</c:v>
                </c:pt>
                <c:pt idx="4321" formatCode="m/d/yyyy">
                  <c:v>41943</c:v>
                </c:pt>
                <c:pt idx="4322" formatCode="m/d/yyyy">
                  <c:v>41944</c:v>
                </c:pt>
                <c:pt idx="4323" formatCode="m/d/yyyy">
                  <c:v>41945</c:v>
                </c:pt>
                <c:pt idx="4324" formatCode="m/d/yyyy">
                  <c:v>41946</c:v>
                </c:pt>
                <c:pt idx="4325" formatCode="m/d/yyyy">
                  <c:v>41947</c:v>
                </c:pt>
                <c:pt idx="4326" formatCode="m/d/yyyy">
                  <c:v>41948</c:v>
                </c:pt>
                <c:pt idx="4327" formatCode="m/d/yyyy">
                  <c:v>41949</c:v>
                </c:pt>
                <c:pt idx="4328" formatCode="m/d/yyyy">
                  <c:v>41950</c:v>
                </c:pt>
                <c:pt idx="4329" formatCode="m/d/yyyy">
                  <c:v>41951</c:v>
                </c:pt>
                <c:pt idx="4330" formatCode="m/d/yyyy">
                  <c:v>41952</c:v>
                </c:pt>
                <c:pt idx="4331" formatCode="m/d/yyyy">
                  <c:v>41953</c:v>
                </c:pt>
                <c:pt idx="4332" formatCode="m/d/yyyy">
                  <c:v>41954</c:v>
                </c:pt>
                <c:pt idx="4333" formatCode="m/d/yyyy">
                  <c:v>41955</c:v>
                </c:pt>
                <c:pt idx="4334" formatCode="m/d/yyyy">
                  <c:v>41956</c:v>
                </c:pt>
                <c:pt idx="4335" formatCode="m/d/yyyy">
                  <c:v>41957</c:v>
                </c:pt>
                <c:pt idx="4336" formatCode="m/d/yyyy">
                  <c:v>41958</c:v>
                </c:pt>
                <c:pt idx="4337" formatCode="m/d/yyyy">
                  <c:v>41959</c:v>
                </c:pt>
                <c:pt idx="4338" formatCode="m/d/yyyy">
                  <c:v>41960</c:v>
                </c:pt>
                <c:pt idx="4339" formatCode="m/d/yyyy">
                  <c:v>41961</c:v>
                </c:pt>
                <c:pt idx="4340" formatCode="m/d/yyyy">
                  <c:v>41962</c:v>
                </c:pt>
                <c:pt idx="4341" formatCode="m/d/yyyy">
                  <c:v>41963</c:v>
                </c:pt>
                <c:pt idx="4342" formatCode="m/d/yyyy">
                  <c:v>41964</c:v>
                </c:pt>
                <c:pt idx="4343" formatCode="m/d/yyyy">
                  <c:v>41965</c:v>
                </c:pt>
                <c:pt idx="4344" formatCode="m/d/yyyy">
                  <c:v>41966</c:v>
                </c:pt>
                <c:pt idx="4345" formatCode="m/d/yyyy">
                  <c:v>41967</c:v>
                </c:pt>
                <c:pt idx="4346" formatCode="m/d/yyyy">
                  <c:v>41968</c:v>
                </c:pt>
                <c:pt idx="4347" formatCode="m/d/yyyy">
                  <c:v>41969</c:v>
                </c:pt>
                <c:pt idx="4348" formatCode="m/d/yyyy">
                  <c:v>41970</c:v>
                </c:pt>
                <c:pt idx="4349" formatCode="m/d/yyyy">
                  <c:v>41971</c:v>
                </c:pt>
                <c:pt idx="4350" formatCode="m/d/yyyy">
                  <c:v>41972</c:v>
                </c:pt>
                <c:pt idx="4351" formatCode="m/d/yyyy">
                  <c:v>41973</c:v>
                </c:pt>
                <c:pt idx="4352" formatCode="m/d/yyyy">
                  <c:v>41974</c:v>
                </c:pt>
                <c:pt idx="4353" formatCode="m/d/yyyy">
                  <c:v>41975</c:v>
                </c:pt>
                <c:pt idx="4354" formatCode="m/d/yyyy">
                  <c:v>41976</c:v>
                </c:pt>
                <c:pt idx="4355" formatCode="m/d/yyyy">
                  <c:v>41977</c:v>
                </c:pt>
                <c:pt idx="4356" formatCode="m/d/yyyy">
                  <c:v>41978</c:v>
                </c:pt>
                <c:pt idx="4357" formatCode="m/d/yyyy">
                  <c:v>41979</c:v>
                </c:pt>
                <c:pt idx="4358" formatCode="m/d/yyyy">
                  <c:v>41980</c:v>
                </c:pt>
                <c:pt idx="4359" formatCode="m/d/yyyy">
                  <c:v>41981</c:v>
                </c:pt>
                <c:pt idx="4360" formatCode="m/d/yyyy">
                  <c:v>41982</c:v>
                </c:pt>
                <c:pt idx="4361" formatCode="m/d/yyyy">
                  <c:v>41983</c:v>
                </c:pt>
                <c:pt idx="4362" formatCode="m/d/yyyy">
                  <c:v>41984</c:v>
                </c:pt>
                <c:pt idx="4363" formatCode="m/d/yyyy">
                  <c:v>41985</c:v>
                </c:pt>
                <c:pt idx="4364" formatCode="m/d/yyyy">
                  <c:v>41986</c:v>
                </c:pt>
                <c:pt idx="4365" formatCode="m/d/yyyy">
                  <c:v>41987</c:v>
                </c:pt>
                <c:pt idx="4366" formatCode="m/d/yyyy">
                  <c:v>41988</c:v>
                </c:pt>
                <c:pt idx="4367" formatCode="m/d/yyyy">
                  <c:v>41989</c:v>
                </c:pt>
                <c:pt idx="4368" formatCode="m/d/yyyy">
                  <c:v>41990</c:v>
                </c:pt>
                <c:pt idx="4369" formatCode="m/d/yyyy">
                  <c:v>41991</c:v>
                </c:pt>
                <c:pt idx="4370" formatCode="m/d/yyyy">
                  <c:v>41992</c:v>
                </c:pt>
                <c:pt idx="4371" formatCode="m/d/yyyy">
                  <c:v>41993</c:v>
                </c:pt>
                <c:pt idx="4372" formatCode="m/d/yyyy">
                  <c:v>41994</c:v>
                </c:pt>
                <c:pt idx="4373" formatCode="m/d/yyyy">
                  <c:v>41995</c:v>
                </c:pt>
                <c:pt idx="4374" formatCode="m/d/yyyy">
                  <c:v>41996</c:v>
                </c:pt>
                <c:pt idx="4375" formatCode="m/d/yyyy">
                  <c:v>41997</c:v>
                </c:pt>
                <c:pt idx="4376" formatCode="m/d/yyyy">
                  <c:v>41998</c:v>
                </c:pt>
                <c:pt idx="4377" formatCode="m/d/yyyy">
                  <c:v>41999</c:v>
                </c:pt>
                <c:pt idx="4378" formatCode="m/d/yyyy">
                  <c:v>42000</c:v>
                </c:pt>
                <c:pt idx="4379" formatCode="m/d/yyyy">
                  <c:v>42001</c:v>
                </c:pt>
                <c:pt idx="4380" formatCode="m/d/yyyy">
                  <c:v>42002</c:v>
                </c:pt>
                <c:pt idx="4381" formatCode="m/d/yyyy">
                  <c:v>42003</c:v>
                </c:pt>
                <c:pt idx="4382" formatCode="m/d/yyyy">
                  <c:v>42004</c:v>
                </c:pt>
                <c:pt idx="4383" formatCode="m/d/yyyy">
                  <c:v>42005</c:v>
                </c:pt>
                <c:pt idx="4384" formatCode="m/d/yyyy">
                  <c:v>42006</c:v>
                </c:pt>
                <c:pt idx="4385" formatCode="m/d/yyyy">
                  <c:v>42007</c:v>
                </c:pt>
                <c:pt idx="4386" formatCode="m/d/yyyy">
                  <c:v>42008</c:v>
                </c:pt>
                <c:pt idx="4387" formatCode="m/d/yyyy">
                  <c:v>42009</c:v>
                </c:pt>
                <c:pt idx="4388" formatCode="m/d/yyyy">
                  <c:v>42010</c:v>
                </c:pt>
                <c:pt idx="4389" formatCode="m/d/yyyy">
                  <c:v>42011</c:v>
                </c:pt>
                <c:pt idx="4390" formatCode="m/d/yyyy">
                  <c:v>42012</c:v>
                </c:pt>
                <c:pt idx="4391" formatCode="m/d/yyyy">
                  <c:v>42013</c:v>
                </c:pt>
                <c:pt idx="4392" formatCode="m/d/yyyy">
                  <c:v>42014</c:v>
                </c:pt>
                <c:pt idx="4393" formatCode="m/d/yyyy">
                  <c:v>42015</c:v>
                </c:pt>
                <c:pt idx="4394" formatCode="m/d/yyyy">
                  <c:v>42016</c:v>
                </c:pt>
                <c:pt idx="4395" formatCode="m/d/yyyy">
                  <c:v>42017</c:v>
                </c:pt>
                <c:pt idx="4396" formatCode="m/d/yyyy">
                  <c:v>42018</c:v>
                </c:pt>
                <c:pt idx="4397" formatCode="m/d/yyyy">
                  <c:v>42019</c:v>
                </c:pt>
                <c:pt idx="4398" formatCode="m/d/yyyy">
                  <c:v>42020</c:v>
                </c:pt>
                <c:pt idx="4399" formatCode="m/d/yyyy">
                  <c:v>42021</c:v>
                </c:pt>
                <c:pt idx="4400" formatCode="m/d/yyyy">
                  <c:v>42022</c:v>
                </c:pt>
                <c:pt idx="4401" formatCode="m/d/yyyy">
                  <c:v>42023</c:v>
                </c:pt>
                <c:pt idx="4402" formatCode="m/d/yyyy">
                  <c:v>42024</c:v>
                </c:pt>
                <c:pt idx="4403" formatCode="m/d/yyyy">
                  <c:v>42025</c:v>
                </c:pt>
                <c:pt idx="4404" formatCode="m/d/yyyy">
                  <c:v>42026</c:v>
                </c:pt>
                <c:pt idx="4405" formatCode="m/d/yyyy">
                  <c:v>42027</c:v>
                </c:pt>
                <c:pt idx="4406" formatCode="m/d/yyyy">
                  <c:v>42028</c:v>
                </c:pt>
                <c:pt idx="4407" formatCode="m/d/yyyy">
                  <c:v>42029</c:v>
                </c:pt>
                <c:pt idx="4408" formatCode="m/d/yyyy">
                  <c:v>42030</c:v>
                </c:pt>
                <c:pt idx="4409" formatCode="m/d/yyyy">
                  <c:v>42031</c:v>
                </c:pt>
                <c:pt idx="4410" formatCode="m/d/yyyy">
                  <c:v>42032</c:v>
                </c:pt>
                <c:pt idx="4411" formatCode="m/d/yyyy">
                  <c:v>42033</c:v>
                </c:pt>
                <c:pt idx="4412" formatCode="m/d/yyyy">
                  <c:v>42034</c:v>
                </c:pt>
                <c:pt idx="4413" formatCode="m/d/yyyy">
                  <c:v>42035</c:v>
                </c:pt>
                <c:pt idx="4414" formatCode="m/d/yyyy">
                  <c:v>42036</c:v>
                </c:pt>
                <c:pt idx="4415" formatCode="m/d/yyyy">
                  <c:v>42037</c:v>
                </c:pt>
                <c:pt idx="4416" formatCode="m/d/yyyy">
                  <c:v>42038</c:v>
                </c:pt>
                <c:pt idx="4417" formatCode="m/d/yyyy">
                  <c:v>42039</c:v>
                </c:pt>
                <c:pt idx="4418" formatCode="m/d/yyyy">
                  <c:v>42040</c:v>
                </c:pt>
                <c:pt idx="4419" formatCode="m/d/yyyy">
                  <c:v>42041</c:v>
                </c:pt>
                <c:pt idx="4420" formatCode="m/d/yyyy">
                  <c:v>42042</c:v>
                </c:pt>
                <c:pt idx="4421" formatCode="m/d/yyyy">
                  <c:v>42043</c:v>
                </c:pt>
                <c:pt idx="4422" formatCode="m/d/yyyy">
                  <c:v>42044</c:v>
                </c:pt>
                <c:pt idx="4423" formatCode="m/d/yyyy">
                  <c:v>42045</c:v>
                </c:pt>
                <c:pt idx="4424" formatCode="m/d/yyyy">
                  <c:v>42046</c:v>
                </c:pt>
                <c:pt idx="4425" formatCode="m/d/yyyy">
                  <c:v>42047</c:v>
                </c:pt>
                <c:pt idx="4426" formatCode="m/d/yyyy">
                  <c:v>42048</c:v>
                </c:pt>
                <c:pt idx="4427" formatCode="m/d/yyyy">
                  <c:v>42049</c:v>
                </c:pt>
                <c:pt idx="4428" formatCode="m/d/yyyy">
                  <c:v>42050</c:v>
                </c:pt>
                <c:pt idx="4429" formatCode="m/d/yyyy">
                  <c:v>42051</c:v>
                </c:pt>
                <c:pt idx="4430" formatCode="m/d/yyyy">
                  <c:v>42052</c:v>
                </c:pt>
                <c:pt idx="4431" formatCode="m/d/yyyy">
                  <c:v>42053</c:v>
                </c:pt>
                <c:pt idx="4432" formatCode="m/d/yyyy">
                  <c:v>42054</c:v>
                </c:pt>
                <c:pt idx="4433" formatCode="m/d/yyyy">
                  <c:v>42055</c:v>
                </c:pt>
                <c:pt idx="4434" formatCode="m/d/yyyy">
                  <c:v>42056</c:v>
                </c:pt>
                <c:pt idx="4435" formatCode="m/d/yyyy">
                  <c:v>42057</c:v>
                </c:pt>
                <c:pt idx="4436" formatCode="m/d/yyyy">
                  <c:v>42058</c:v>
                </c:pt>
                <c:pt idx="4437" formatCode="m/d/yyyy">
                  <c:v>42059</c:v>
                </c:pt>
                <c:pt idx="4438" formatCode="m/d/yyyy">
                  <c:v>42060</c:v>
                </c:pt>
                <c:pt idx="4439" formatCode="m/d/yyyy">
                  <c:v>42061</c:v>
                </c:pt>
                <c:pt idx="4440" formatCode="m/d/yyyy">
                  <c:v>42062</c:v>
                </c:pt>
                <c:pt idx="4441" formatCode="m/d/yyyy">
                  <c:v>42063</c:v>
                </c:pt>
                <c:pt idx="4442" formatCode="m/d/yyyy">
                  <c:v>42064</c:v>
                </c:pt>
                <c:pt idx="4443" formatCode="m/d/yyyy">
                  <c:v>42065</c:v>
                </c:pt>
                <c:pt idx="4444" formatCode="m/d/yyyy">
                  <c:v>42066</c:v>
                </c:pt>
                <c:pt idx="4445" formatCode="m/d/yyyy">
                  <c:v>42067</c:v>
                </c:pt>
                <c:pt idx="4446" formatCode="m/d/yyyy">
                  <c:v>42068</c:v>
                </c:pt>
                <c:pt idx="4447" formatCode="m/d/yyyy">
                  <c:v>42069</c:v>
                </c:pt>
                <c:pt idx="4448" formatCode="m/d/yyyy">
                  <c:v>42070</c:v>
                </c:pt>
                <c:pt idx="4449" formatCode="m/d/yyyy">
                  <c:v>42071</c:v>
                </c:pt>
                <c:pt idx="4450" formatCode="m/d/yyyy">
                  <c:v>42072</c:v>
                </c:pt>
                <c:pt idx="4451" formatCode="m/d/yyyy">
                  <c:v>42073</c:v>
                </c:pt>
                <c:pt idx="4452" formatCode="m/d/yyyy">
                  <c:v>42074</c:v>
                </c:pt>
                <c:pt idx="4453" formatCode="m/d/yyyy">
                  <c:v>42075</c:v>
                </c:pt>
                <c:pt idx="4454" formatCode="m/d/yyyy">
                  <c:v>42076</c:v>
                </c:pt>
                <c:pt idx="4455" formatCode="m/d/yyyy">
                  <c:v>42077</c:v>
                </c:pt>
                <c:pt idx="4456" formatCode="m/d/yyyy">
                  <c:v>42078</c:v>
                </c:pt>
                <c:pt idx="4457" formatCode="m/d/yyyy">
                  <c:v>42079</c:v>
                </c:pt>
                <c:pt idx="4458" formatCode="m/d/yyyy">
                  <c:v>42080</c:v>
                </c:pt>
                <c:pt idx="4459" formatCode="m/d/yyyy">
                  <c:v>42081</c:v>
                </c:pt>
                <c:pt idx="4460" formatCode="m/d/yyyy">
                  <c:v>42082</c:v>
                </c:pt>
                <c:pt idx="4461" formatCode="m/d/yyyy">
                  <c:v>42083</c:v>
                </c:pt>
                <c:pt idx="4462" formatCode="m/d/yyyy">
                  <c:v>42084</c:v>
                </c:pt>
                <c:pt idx="4463" formatCode="m/d/yyyy">
                  <c:v>42085</c:v>
                </c:pt>
                <c:pt idx="4464" formatCode="m/d/yyyy">
                  <c:v>42086</c:v>
                </c:pt>
                <c:pt idx="4465" formatCode="m/d/yyyy">
                  <c:v>42087</c:v>
                </c:pt>
                <c:pt idx="4466" formatCode="m/d/yyyy">
                  <c:v>42088</c:v>
                </c:pt>
                <c:pt idx="4467" formatCode="m/d/yyyy">
                  <c:v>42089</c:v>
                </c:pt>
                <c:pt idx="4468" formatCode="m/d/yyyy">
                  <c:v>42090</c:v>
                </c:pt>
                <c:pt idx="4469" formatCode="m/d/yyyy">
                  <c:v>42091</c:v>
                </c:pt>
                <c:pt idx="4470" formatCode="m/d/yyyy">
                  <c:v>42092</c:v>
                </c:pt>
                <c:pt idx="4471" formatCode="m/d/yyyy">
                  <c:v>42093</c:v>
                </c:pt>
                <c:pt idx="4472" formatCode="m/d/yyyy">
                  <c:v>42094</c:v>
                </c:pt>
                <c:pt idx="4473" formatCode="m/d/yyyy">
                  <c:v>42095</c:v>
                </c:pt>
                <c:pt idx="4474" formatCode="m/d/yyyy">
                  <c:v>42096</c:v>
                </c:pt>
                <c:pt idx="4475" formatCode="m/d/yyyy">
                  <c:v>42097</c:v>
                </c:pt>
                <c:pt idx="4476" formatCode="m/d/yyyy">
                  <c:v>42098</c:v>
                </c:pt>
                <c:pt idx="4477" formatCode="m/d/yyyy">
                  <c:v>42099</c:v>
                </c:pt>
                <c:pt idx="4478" formatCode="m/d/yyyy">
                  <c:v>42100</c:v>
                </c:pt>
                <c:pt idx="4479" formatCode="m/d/yyyy">
                  <c:v>42101</c:v>
                </c:pt>
                <c:pt idx="4480" formatCode="m/d/yyyy">
                  <c:v>42102</c:v>
                </c:pt>
                <c:pt idx="4481" formatCode="m/d/yyyy">
                  <c:v>42103</c:v>
                </c:pt>
                <c:pt idx="4482" formatCode="m/d/yyyy">
                  <c:v>42104</c:v>
                </c:pt>
                <c:pt idx="4483" formatCode="m/d/yyyy">
                  <c:v>42105</c:v>
                </c:pt>
                <c:pt idx="4484" formatCode="m/d/yyyy">
                  <c:v>42106</c:v>
                </c:pt>
                <c:pt idx="4485" formatCode="m/d/yyyy">
                  <c:v>42107</c:v>
                </c:pt>
                <c:pt idx="4486" formatCode="m/d/yyyy">
                  <c:v>42108</c:v>
                </c:pt>
                <c:pt idx="4487" formatCode="m/d/yyyy">
                  <c:v>42109</c:v>
                </c:pt>
                <c:pt idx="4488" formatCode="m/d/yyyy">
                  <c:v>42110</c:v>
                </c:pt>
                <c:pt idx="4489" formatCode="m/d/yyyy">
                  <c:v>42111</c:v>
                </c:pt>
                <c:pt idx="4490" formatCode="m/d/yyyy">
                  <c:v>42112</c:v>
                </c:pt>
                <c:pt idx="4491" formatCode="m/d/yyyy">
                  <c:v>42113</c:v>
                </c:pt>
                <c:pt idx="4492" formatCode="m/d/yyyy">
                  <c:v>42114</c:v>
                </c:pt>
                <c:pt idx="4493" formatCode="m/d/yyyy">
                  <c:v>42115</c:v>
                </c:pt>
                <c:pt idx="4494" formatCode="m/d/yyyy">
                  <c:v>42116</c:v>
                </c:pt>
                <c:pt idx="4495" formatCode="m/d/yyyy">
                  <c:v>42117</c:v>
                </c:pt>
                <c:pt idx="4496" formatCode="m/d/yyyy">
                  <c:v>42118</c:v>
                </c:pt>
                <c:pt idx="4497" formatCode="m/d/yyyy">
                  <c:v>42119</c:v>
                </c:pt>
                <c:pt idx="4498" formatCode="m/d/yyyy">
                  <c:v>42120</c:v>
                </c:pt>
                <c:pt idx="4499" formatCode="m/d/yyyy">
                  <c:v>42121</c:v>
                </c:pt>
                <c:pt idx="4500" formatCode="m/d/yyyy">
                  <c:v>42122</c:v>
                </c:pt>
                <c:pt idx="4501" formatCode="m/d/yyyy">
                  <c:v>42123</c:v>
                </c:pt>
                <c:pt idx="4502" formatCode="m/d/yyyy">
                  <c:v>42124</c:v>
                </c:pt>
                <c:pt idx="4503" formatCode="m/d/yyyy">
                  <c:v>42125</c:v>
                </c:pt>
                <c:pt idx="4504" formatCode="m/d/yyyy">
                  <c:v>42126</c:v>
                </c:pt>
                <c:pt idx="4505" formatCode="m/d/yyyy">
                  <c:v>42127</c:v>
                </c:pt>
                <c:pt idx="4506" formatCode="m/d/yyyy">
                  <c:v>42128</c:v>
                </c:pt>
                <c:pt idx="4507" formatCode="m/d/yyyy">
                  <c:v>42129</c:v>
                </c:pt>
                <c:pt idx="4508" formatCode="m/d/yyyy">
                  <c:v>42130</c:v>
                </c:pt>
                <c:pt idx="4509" formatCode="m/d/yyyy">
                  <c:v>42131</c:v>
                </c:pt>
                <c:pt idx="4510" formatCode="m/d/yyyy">
                  <c:v>42132</c:v>
                </c:pt>
                <c:pt idx="4511" formatCode="m/d/yyyy">
                  <c:v>42133</c:v>
                </c:pt>
                <c:pt idx="4512" formatCode="m/d/yyyy">
                  <c:v>42134</c:v>
                </c:pt>
                <c:pt idx="4513" formatCode="m/d/yyyy">
                  <c:v>42135</c:v>
                </c:pt>
                <c:pt idx="4514" formatCode="m/d/yyyy">
                  <c:v>42136</c:v>
                </c:pt>
                <c:pt idx="4515" formatCode="m/d/yyyy">
                  <c:v>42137</c:v>
                </c:pt>
                <c:pt idx="4516" formatCode="m/d/yyyy">
                  <c:v>42138</c:v>
                </c:pt>
                <c:pt idx="4517" formatCode="m/d/yyyy">
                  <c:v>42139</c:v>
                </c:pt>
                <c:pt idx="4518" formatCode="m/d/yyyy">
                  <c:v>42140</c:v>
                </c:pt>
                <c:pt idx="4519" formatCode="m/d/yyyy">
                  <c:v>42141</c:v>
                </c:pt>
                <c:pt idx="4520" formatCode="m/d/yyyy">
                  <c:v>42142</c:v>
                </c:pt>
                <c:pt idx="4521" formatCode="m/d/yyyy">
                  <c:v>42143</c:v>
                </c:pt>
                <c:pt idx="4522" formatCode="m/d/yyyy">
                  <c:v>42144</c:v>
                </c:pt>
                <c:pt idx="4523" formatCode="m/d/yyyy">
                  <c:v>42145</c:v>
                </c:pt>
                <c:pt idx="4524" formatCode="m/d/yyyy">
                  <c:v>42146</c:v>
                </c:pt>
                <c:pt idx="4525" formatCode="m/d/yyyy">
                  <c:v>42147</c:v>
                </c:pt>
                <c:pt idx="4526" formatCode="m/d/yyyy">
                  <c:v>42148</c:v>
                </c:pt>
                <c:pt idx="4527" formatCode="m/d/yyyy">
                  <c:v>42149</c:v>
                </c:pt>
                <c:pt idx="4528" formatCode="m/d/yyyy">
                  <c:v>42150</c:v>
                </c:pt>
                <c:pt idx="4529" formatCode="m/d/yyyy">
                  <c:v>42151</c:v>
                </c:pt>
                <c:pt idx="4530" formatCode="m/d/yyyy">
                  <c:v>42152</c:v>
                </c:pt>
                <c:pt idx="4531" formatCode="m/d/yyyy">
                  <c:v>42153</c:v>
                </c:pt>
                <c:pt idx="4532" formatCode="m/d/yyyy">
                  <c:v>42154</c:v>
                </c:pt>
                <c:pt idx="4533" formatCode="m/d/yyyy">
                  <c:v>42155</c:v>
                </c:pt>
                <c:pt idx="4534" formatCode="m/d/yyyy">
                  <c:v>42156</c:v>
                </c:pt>
                <c:pt idx="4535" formatCode="m/d/yyyy">
                  <c:v>42157</c:v>
                </c:pt>
                <c:pt idx="4536" formatCode="m/d/yyyy">
                  <c:v>42158</c:v>
                </c:pt>
                <c:pt idx="4537" formatCode="m/d/yyyy">
                  <c:v>42159</c:v>
                </c:pt>
                <c:pt idx="4538" formatCode="m/d/yyyy">
                  <c:v>42160</c:v>
                </c:pt>
                <c:pt idx="4539" formatCode="m/d/yyyy">
                  <c:v>42161</c:v>
                </c:pt>
                <c:pt idx="4540" formatCode="m/d/yyyy">
                  <c:v>42162</c:v>
                </c:pt>
                <c:pt idx="4541" formatCode="m/d/yyyy">
                  <c:v>42163</c:v>
                </c:pt>
                <c:pt idx="4542" formatCode="m/d/yyyy">
                  <c:v>42164</c:v>
                </c:pt>
                <c:pt idx="4543" formatCode="m/d/yyyy">
                  <c:v>42165</c:v>
                </c:pt>
                <c:pt idx="4544" formatCode="m/d/yyyy">
                  <c:v>42166</c:v>
                </c:pt>
                <c:pt idx="4545" formatCode="m/d/yyyy">
                  <c:v>42167</c:v>
                </c:pt>
                <c:pt idx="4546" formatCode="m/d/yyyy">
                  <c:v>42168</c:v>
                </c:pt>
                <c:pt idx="4547" formatCode="m/d/yyyy">
                  <c:v>42169</c:v>
                </c:pt>
                <c:pt idx="4548" formatCode="m/d/yyyy">
                  <c:v>42170</c:v>
                </c:pt>
                <c:pt idx="4549" formatCode="m/d/yyyy">
                  <c:v>42171</c:v>
                </c:pt>
                <c:pt idx="4550" formatCode="m/d/yyyy">
                  <c:v>42172</c:v>
                </c:pt>
                <c:pt idx="4551" formatCode="m/d/yyyy">
                  <c:v>42173</c:v>
                </c:pt>
                <c:pt idx="4552" formatCode="m/d/yyyy">
                  <c:v>42174</c:v>
                </c:pt>
                <c:pt idx="4553" formatCode="m/d/yyyy">
                  <c:v>42175</c:v>
                </c:pt>
                <c:pt idx="4554" formatCode="m/d/yyyy">
                  <c:v>42176</c:v>
                </c:pt>
                <c:pt idx="4555" formatCode="m/d/yyyy">
                  <c:v>42177</c:v>
                </c:pt>
                <c:pt idx="4556" formatCode="m/d/yyyy">
                  <c:v>42178</c:v>
                </c:pt>
                <c:pt idx="4557" formatCode="m/d/yyyy">
                  <c:v>42179</c:v>
                </c:pt>
                <c:pt idx="4558" formatCode="m/d/yyyy">
                  <c:v>42180</c:v>
                </c:pt>
                <c:pt idx="4559" formatCode="m/d/yyyy">
                  <c:v>42181</c:v>
                </c:pt>
                <c:pt idx="4560" formatCode="m/d/yyyy">
                  <c:v>42182</c:v>
                </c:pt>
                <c:pt idx="4561" formatCode="m/d/yyyy">
                  <c:v>42183</c:v>
                </c:pt>
                <c:pt idx="4562" formatCode="m/d/yyyy">
                  <c:v>42184</c:v>
                </c:pt>
                <c:pt idx="4563" formatCode="m/d/yyyy">
                  <c:v>42185</c:v>
                </c:pt>
                <c:pt idx="4564" formatCode="m/d/yyyy">
                  <c:v>42186</c:v>
                </c:pt>
                <c:pt idx="4565" formatCode="m/d/yyyy">
                  <c:v>42187</c:v>
                </c:pt>
                <c:pt idx="4566" formatCode="m/d/yyyy">
                  <c:v>42188</c:v>
                </c:pt>
                <c:pt idx="4567" formatCode="m/d/yyyy">
                  <c:v>42189</c:v>
                </c:pt>
                <c:pt idx="4568" formatCode="m/d/yyyy">
                  <c:v>42190</c:v>
                </c:pt>
                <c:pt idx="4569" formatCode="m/d/yyyy">
                  <c:v>42191</c:v>
                </c:pt>
                <c:pt idx="4570" formatCode="m/d/yyyy">
                  <c:v>42192</c:v>
                </c:pt>
                <c:pt idx="4571" formatCode="m/d/yyyy">
                  <c:v>42193</c:v>
                </c:pt>
                <c:pt idx="4572" formatCode="m/d/yyyy">
                  <c:v>42194</c:v>
                </c:pt>
                <c:pt idx="4573" formatCode="m/d/yyyy">
                  <c:v>42195</c:v>
                </c:pt>
                <c:pt idx="4574" formatCode="m/d/yyyy">
                  <c:v>42196</c:v>
                </c:pt>
                <c:pt idx="4575" formatCode="m/d/yyyy">
                  <c:v>42197</c:v>
                </c:pt>
                <c:pt idx="4576" formatCode="m/d/yyyy">
                  <c:v>42198</c:v>
                </c:pt>
                <c:pt idx="4577" formatCode="m/d/yyyy">
                  <c:v>42199</c:v>
                </c:pt>
                <c:pt idx="4578" formatCode="m/d/yyyy">
                  <c:v>42200</c:v>
                </c:pt>
                <c:pt idx="4579" formatCode="m/d/yyyy">
                  <c:v>42201</c:v>
                </c:pt>
                <c:pt idx="4580" formatCode="m/d/yyyy">
                  <c:v>42202</c:v>
                </c:pt>
                <c:pt idx="4581" formatCode="m/d/yyyy">
                  <c:v>42203</c:v>
                </c:pt>
                <c:pt idx="4582" formatCode="m/d/yyyy">
                  <c:v>42204</c:v>
                </c:pt>
                <c:pt idx="4583" formatCode="m/d/yyyy">
                  <c:v>42205</c:v>
                </c:pt>
                <c:pt idx="4584" formatCode="m/d/yyyy">
                  <c:v>42206</c:v>
                </c:pt>
                <c:pt idx="4585" formatCode="m/d/yyyy">
                  <c:v>42207</c:v>
                </c:pt>
                <c:pt idx="4586" formatCode="m/d/yyyy">
                  <c:v>42208</c:v>
                </c:pt>
                <c:pt idx="4587" formatCode="m/d/yyyy">
                  <c:v>42209</c:v>
                </c:pt>
                <c:pt idx="4588" formatCode="m/d/yyyy">
                  <c:v>42210</c:v>
                </c:pt>
                <c:pt idx="4589" formatCode="m/d/yyyy">
                  <c:v>42211</c:v>
                </c:pt>
                <c:pt idx="4590" formatCode="m/d/yyyy">
                  <c:v>42212</c:v>
                </c:pt>
                <c:pt idx="4591" formatCode="m/d/yyyy">
                  <c:v>42213</c:v>
                </c:pt>
                <c:pt idx="4592" formatCode="m/d/yyyy">
                  <c:v>42214</c:v>
                </c:pt>
                <c:pt idx="4593" formatCode="m/d/yyyy">
                  <c:v>42215</c:v>
                </c:pt>
                <c:pt idx="4594" formatCode="m/d/yyyy">
                  <c:v>42216</c:v>
                </c:pt>
                <c:pt idx="4595" formatCode="m/d/yyyy">
                  <c:v>42217</c:v>
                </c:pt>
                <c:pt idx="4596" formatCode="m/d/yyyy">
                  <c:v>42218</c:v>
                </c:pt>
                <c:pt idx="4597" formatCode="m/d/yyyy">
                  <c:v>42219</c:v>
                </c:pt>
                <c:pt idx="4598" formatCode="m/d/yyyy">
                  <c:v>42220</c:v>
                </c:pt>
                <c:pt idx="4599" formatCode="m/d/yyyy">
                  <c:v>42221</c:v>
                </c:pt>
                <c:pt idx="4600" formatCode="m/d/yyyy">
                  <c:v>42222</c:v>
                </c:pt>
                <c:pt idx="4601" formatCode="m/d/yyyy">
                  <c:v>42223</c:v>
                </c:pt>
                <c:pt idx="4602" formatCode="m/d/yyyy">
                  <c:v>42224</c:v>
                </c:pt>
                <c:pt idx="4603" formatCode="m/d/yyyy">
                  <c:v>42225</c:v>
                </c:pt>
                <c:pt idx="4604" formatCode="m/d/yyyy">
                  <c:v>42226</c:v>
                </c:pt>
                <c:pt idx="4605" formatCode="m/d/yyyy">
                  <c:v>42227</c:v>
                </c:pt>
                <c:pt idx="4606" formatCode="m/d/yyyy">
                  <c:v>42228</c:v>
                </c:pt>
                <c:pt idx="4607" formatCode="m/d/yyyy">
                  <c:v>42229</c:v>
                </c:pt>
                <c:pt idx="4608" formatCode="m/d/yyyy">
                  <c:v>42230</c:v>
                </c:pt>
                <c:pt idx="4609" formatCode="m/d/yyyy">
                  <c:v>42231</c:v>
                </c:pt>
                <c:pt idx="4610" formatCode="m/d/yyyy">
                  <c:v>42232</c:v>
                </c:pt>
                <c:pt idx="4611" formatCode="m/d/yyyy">
                  <c:v>42233</c:v>
                </c:pt>
                <c:pt idx="4612" formatCode="m/d/yyyy">
                  <c:v>42234</c:v>
                </c:pt>
                <c:pt idx="4613" formatCode="m/d/yyyy">
                  <c:v>42235</c:v>
                </c:pt>
                <c:pt idx="4614" formatCode="m/d/yyyy">
                  <c:v>42236</c:v>
                </c:pt>
                <c:pt idx="4615" formatCode="m/d/yyyy">
                  <c:v>42237</c:v>
                </c:pt>
                <c:pt idx="4616" formatCode="m/d/yyyy">
                  <c:v>42238</c:v>
                </c:pt>
                <c:pt idx="4617" formatCode="m/d/yyyy">
                  <c:v>42239</c:v>
                </c:pt>
                <c:pt idx="4618" formatCode="m/d/yyyy">
                  <c:v>42240</c:v>
                </c:pt>
                <c:pt idx="4619" formatCode="m/d/yyyy">
                  <c:v>42241</c:v>
                </c:pt>
                <c:pt idx="4620" formatCode="m/d/yyyy">
                  <c:v>42242</c:v>
                </c:pt>
                <c:pt idx="4621" formatCode="m/d/yyyy">
                  <c:v>42243</c:v>
                </c:pt>
                <c:pt idx="4622" formatCode="m/d/yyyy">
                  <c:v>42244</c:v>
                </c:pt>
                <c:pt idx="4623" formatCode="m/d/yyyy">
                  <c:v>42245</c:v>
                </c:pt>
                <c:pt idx="4624" formatCode="m/d/yyyy">
                  <c:v>42246</c:v>
                </c:pt>
                <c:pt idx="4625" formatCode="m/d/yyyy">
                  <c:v>42247</c:v>
                </c:pt>
                <c:pt idx="4626" formatCode="m/d/yyyy">
                  <c:v>42248</c:v>
                </c:pt>
                <c:pt idx="4627" formatCode="m/d/yyyy">
                  <c:v>42249</c:v>
                </c:pt>
                <c:pt idx="4628" formatCode="m/d/yyyy">
                  <c:v>42250</c:v>
                </c:pt>
                <c:pt idx="4629" formatCode="m/d/yyyy">
                  <c:v>42251</c:v>
                </c:pt>
                <c:pt idx="4630" formatCode="m/d/yyyy">
                  <c:v>42252</c:v>
                </c:pt>
                <c:pt idx="4631" formatCode="m/d/yyyy">
                  <c:v>42253</c:v>
                </c:pt>
                <c:pt idx="4632" formatCode="m/d/yyyy">
                  <c:v>42254</c:v>
                </c:pt>
                <c:pt idx="4633" formatCode="m/d/yyyy">
                  <c:v>42255</c:v>
                </c:pt>
                <c:pt idx="4634" formatCode="m/d/yyyy">
                  <c:v>42256</c:v>
                </c:pt>
                <c:pt idx="4635" formatCode="m/d/yyyy">
                  <c:v>42257</c:v>
                </c:pt>
                <c:pt idx="4636" formatCode="m/d/yyyy">
                  <c:v>42258</c:v>
                </c:pt>
                <c:pt idx="4637" formatCode="m/d/yyyy">
                  <c:v>42259</c:v>
                </c:pt>
                <c:pt idx="4638" formatCode="m/d/yyyy">
                  <c:v>42260</c:v>
                </c:pt>
                <c:pt idx="4639" formatCode="m/d/yyyy">
                  <c:v>42261</c:v>
                </c:pt>
                <c:pt idx="4640" formatCode="m/d/yyyy">
                  <c:v>42262</c:v>
                </c:pt>
                <c:pt idx="4641" formatCode="m/d/yyyy">
                  <c:v>42263</c:v>
                </c:pt>
                <c:pt idx="4642" formatCode="m/d/yyyy">
                  <c:v>42264</c:v>
                </c:pt>
                <c:pt idx="4643" formatCode="m/d/yyyy">
                  <c:v>42265</c:v>
                </c:pt>
                <c:pt idx="4644" formatCode="m/d/yyyy">
                  <c:v>42266</c:v>
                </c:pt>
                <c:pt idx="4645" formatCode="m/d/yyyy">
                  <c:v>42267</c:v>
                </c:pt>
                <c:pt idx="4646" formatCode="m/d/yyyy">
                  <c:v>42268</c:v>
                </c:pt>
                <c:pt idx="4647" formatCode="m/d/yyyy">
                  <c:v>42269</c:v>
                </c:pt>
                <c:pt idx="4648" formatCode="m/d/yyyy">
                  <c:v>42270</c:v>
                </c:pt>
                <c:pt idx="4649" formatCode="m/d/yyyy">
                  <c:v>42271</c:v>
                </c:pt>
                <c:pt idx="4650" formatCode="m/d/yyyy">
                  <c:v>42272</c:v>
                </c:pt>
                <c:pt idx="4651" formatCode="m/d/yyyy">
                  <c:v>42273</c:v>
                </c:pt>
                <c:pt idx="4652" formatCode="m/d/yyyy">
                  <c:v>42274</c:v>
                </c:pt>
                <c:pt idx="4653" formatCode="m/d/yyyy">
                  <c:v>42275</c:v>
                </c:pt>
                <c:pt idx="4654" formatCode="m/d/yyyy">
                  <c:v>42276</c:v>
                </c:pt>
                <c:pt idx="4655" formatCode="m/d/yyyy">
                  <c:v>42277</c:v>
                </c:pt>
                <c:pt idx="4656" formatCode="m/d/yyyy">
                  <c:v>42278</c:v>
                </c:pt>
                <c:pt idx="4657" formatCode="m/d/yyyy">
                  <c:v>42279</c:v>
                </c:pt>
                <c:pt idx="4658" formatCode="m/d/yyyy">
                  <c:v>42280</c:v>
                </c:pt>
                <c:pt idx="4659" formatCode="m/d/yyyy">
                  <c:v>42281</c:v>
                </c:pt>
                <c:pt idx="4660" formatCode="m/d/yyyy">
                  <c:v>42282</c:v>
                </c:pt>
                <c:pt idx="4661" formatCode="m/d/yyyy">
                  <c:v>42283</c:v>
                </c:pt>
                <c:pt idx="4662" formatCode="m/d/yyyy">
                  <c:v>42284</c:v>
                </c:pt>
                <c:pt idx="4663" formatCode="m/d/yyyy">
                  <c:v>42285</c:v>
                </c:pt>
                <c:pt idx="4664" formatCode="m/d/yyyy">
                  <c:v>42286</c:v>
                </c:pt>
                <c:pt idx="4665" formatCode="m/d/yyyy">
                  <c:v>42287</c:v>
                </c:pt>
                <c:pt idx="4666" formatCode="m/d/yyyy">
                  <c:v>42288</c:v>
                </c:pt>
                <c:pt idx="4667" formatCode="m/d/yyyy">
                  <c:v>42289</c:v>
                </c:pt>
                <c:pt idx="4668" formatCode="m/d/yyyy">
                  <c:v>42290</c:v>
                </c:pt>
                <c:pt idx="4669" formatCode="m/d/yyyy">
                  <c:v>42291</c:v>
                </c:pt>
                <c:pt idx="4670" formatCode="m/d/yyyy">
                  <c:v>42292</c:v>
                </c:pt>
                <c:pt idx="4671" formatCode="m/d/yyyy">
                  <c:v>42293</c:v>
                </c:pt>
                <c:pt idx="4672" formatCode="m/d/yyyy">
                  <c:v>42294</c:v>
                </c:pt>
                <c:pt idx="4673" formatCode="m/d/yyyy">
                  <c:v>42295</c:v>
                </c:pt>
                <c:pt idx="4674" formatCode="m/d/yyyy">
                  <c:v>42296</c:v>
                </c:pt>
                <c:pt idx="4675" formatCode="m/d/yyyy">
                  <c:v>42297</c:v>
                </c:pt>
                <c:pt idx="4676" formatCode="m/d/yyyy">
                  <c:v>42298</c:v>
                </c:pt>
                <c:pt idx="4677" formatCode="m/d/yyyy">
                  <c:v>42299</c:v>
                </c:pt>
                <c:pt idx="4678" formatCode="m/d/yyyy">
                  <c:v>42300</c:v>
                </c:pt>
                <c:pt idx="4679" formatCode="m/d/yyyy">
                  <c:v>42301</c:v>
                </c:pt>
                <c:pt idx="4680" formatCode="m/d/yyyy">
                  <c:v>42302</c:v>
                </c:pt>
                <c:pt idx="4681" formatCode="m/d/yyyy">
                  <c:v>42303</c:v>
                </c:pt>
                <c:pt idx="4682" formatCode="m/d/yyyy">
                  <c:v>42304</c:v>
                </c:pt>
                <c:pt idx="4683" formatCode="m/d/yyyy">
                  <c:v>42305</c:v>
                </c:pt>
                <c:pt idx="4684" formatCode="m/d/yyyy">
                  <c:v>42306</c:v>
                </c:pt>
                <c:pt idx="4685" formatCode="m/d/yyyy">
                  <c:v>42307</c:v>
                </c:pt>
                <c:pt idx="4686" formatCode="m/d/yyyy">
                  <c:v>42308</c:v>
                </c:pt>
                <c:pt idx="4687" formatCode="m/d/yyyy">
                  <c:v>42309</c:v>
                </c:pt>
                <c:pt idx="4688" formatCode="m/d/yyyy">
                  <c:v>42310</c:v>
                </c:pt>
                <c:pt idx="4689" formatCode="m/d/yyyy">
                  <c:v>42311</c:v>
                </c:pt>
                <c:pt idx="4690" formatCode="m/d/yyyy">
                  <c:v>42312</c:v>
                </c:pt>
                <c:pt idx="4691" formatCode="m/d/yyyy">
                  <c:v>42313</c:v>
                </c:pt>
                <c:pt idx="4692" formatCode="m/d/yyyy">
                  <c:v>42314</c:v>
                </c:pt>
                <c:pt idx="4693" formatCode="m/d/yyyy">
                  <c:v>42315</c:v>
                </c:pt>
                <c:pt idx="4694" formatCode="m/d/yyyy">
                  <c:v>42316</c:v>
                </c:pt>
                <c:pt idx="4695" formatCode="m/d/yyyy">
                  <c:v>42317</c:v>
                </c:pt>
                <c:pt idx="4696" formatCode="m/d/yyyy">
                  <c:v>42318</c:v>
                </c:pt>
                <c:pt idx="4697" formatCode="m/d/yyyy">
                  <c:v>42319</c:v>
                </c:pt>
                <c:pt idx="4698" formatCode="m/d/yyyy">
                  <c:v>42320</c:v>
                </c:pt>
                <c:pt idx="4699" formatCode="m/d/yyyy">
                  <c:v>42321</c:v>
                </c:pt>
                <c:pt idx="4700" formatCode="m/d/yyyy">
                  <c:v>42322</c:v>
                </c:pt>
                <c:pt idx="4701" formatCode="m/d/yyyy">
                  <c:v>42323</c:v>
                </c:pt>
                <c:pt idx="4702" formatCode="m/d/yyyy">
                  <c:v>42324</c:v>
                </c:pt>
                <c:pt idx="4703" formatCode="m/d/yyyy">
                  <c:v>42325</c:v>
                </c:pt>
                <c:pt idx="4704" formatCode="m/d/yyyy">
                  <c:v>42326</c:v>
                </c:pt>
                <c:pt idx="4705" formatCode="m/d/yyyy">
                  <c:v>42327</c:v>
                </c:pt>
                <c:pt idx="4706" formatCode="m/d/yyyy">
                  <c:v>42328</c:v>
                </c:pt>
                <c:pt idx="4707" formatCode="m/d/yyyy">
                  <c:v>42329</c:v>
                </c:pt>
                <c:pt idx="4708" formatCode="m/d/yyyy">
                  <c:v>42330</c:v>
                </c:pt>
                <c:pt idx="4709" formatCode="m/d/yyyy">
                  <c:v>42331</c:v>
                </c:pt>
                <c:pt idx="4710" formatCode="m/d/yyyy">
                  <c:v>42332</c:v>
                </c:pt>
                <c:pt idx="4711" formatCode="m/d/yyyy">
                  <c:v>42333</c:v>
                </c:pt>
                <c:pt idx="4712" formatCode="m/d/yyyy">
                  <c:v>42334</c:v>
                </c:pt>
                <c:pt idx="4713" formatCode="m/d/yyyy">
                  <c:v>42335</c:v>
                </c:pt>
                <c:pt idx="4714" formatCode="m/d/yyyy">
                  <c:v>42336</c:v>
                </c:pt>
                <c:pt idx="4715" formatCode="m/d/yyyy">
                  <c:v>42337</c:v>
                </c:pt>
                <c:pt idx="4716" formatCode="m/d/yyyy">
                  <c:v>42338</c:v>
                </c:pt>
                <c:pt idx="4717" formatCode="m/d/yyyy">
                  <c:v>42339</c:v>
                </c:pt>
                <c:pt idx="4718" formatCode="m/d/yyyy">
                  <c:v>42340</c:v>
                </c:pt>
                <c:pt idx="4719" formatCode="m/d/yyyy">
                  <c:v>42341</c:v>
                </c:pt>
                <c:pt idx="4720" formatCode="m/d/yyyy">
                  <c:v>42342</c:v>
                </c:pt>
                <c:pt idx="4721" formatCode="m/d/yyyy">
                  <c:v>42343</c:v>
                </c:pt>
                <c:pt idx="4722" formatCode="m/d/yyyy">
                  <c:v>42344</c:v>
                </c:pt>
                <c:pt idx="4723" formatCode="m/d/yyyy">
                  <c:v>42345</c:v>
                </c:pt>
                <c:pt idx="4724" formatCode="m/d/yyyy">
                  <c:v>42346</c:v>
                </c:pt>
                <c:pt idx="4725" formatCode="m/d/yyyy">
                  <c:v>42347</c:v>
                </c:pt>
                <c:pt idx="4726" formatCode="m/d/yyyy">
                  <c:v>42348</c:v>
                </c:pt>
                <c:pt idx="4727" formatCode="m/d/yyyy">
                  <c:v>42349</c:v>
                </c:pt>
                <c:pt idx="4728" formatCode="m/d/yyyy">
                  <c:v>42350</c:v>
                </c:pt>
                <c:pt idx="4729" formatCode="m/d/yyyy">
                  <c:v>42351</c:v>
                </c:pt>
                <c:pt idx="4730" formatCode="m/d/yyyy">
                  <c:v>42352</c:v>
                </c:pt>
                <c:pt idx="4731" formatCode="m/d/yyyy">
                  <c:v>42353</c:v>
                </c:pt>
                <c:pt idx="4732" formatCode="m/d/yyyy">
                  <c:v>42354</c:v>
                </c:pt>
                <c:pt idx="4733" formatCode="m/d/yyyy">
                  <c:v>42355</c:v>
                </c:pt>
                <c:pt idx="4734" formatCode="m/d/yyyy">
                  <c:v>42356</c:v>
                </c:pt>
                <c:pt idx="4735" formatCode="m/d/yyyy">
                  <c:v>42357</c:v>
                </c:pt>
                <c:pt idx="4736" formatCode="m/d/yyyy">
                  <c:v>42358</c:v>
                </c:pt>
                <c:pt idx="4737" formatCode="m/d/yyyy">
                  <c:v>42359</c:v>
                </c:pt>
                <c:pt idx="4738" formatCode="m/d/yyyy">
                  <c:v>42360</c:v>
                </c:pt>
                <c:pt idx="4739" formatCode="m/d/yyyy">
                  <c:v>42361</c:v>
                </c:pt>
                <c:pt idx="4740" formatCode="m/d/yyyy">
                  <c:v>42362</c:v>
                </c:pt>
                <c:pt idx="4741" formatCode="m/d/yyyy">
                  <c:v>42363</c:v>
                </c:pt>
                <c:pt idx="4742" formatCode="m/d/yyyy">
                  <c:v>42364</c:v>
                </c:pt>
                <c:pt idx="4743" formatCode="m/d/yyyy">
                  <c:v>42365</c:v>
                </c:pt>
                <c:pt idx="4744" formatCode="m/d/yyyy">
                  <c:v>42366</c:v>
                </c:pt>
                <c:pt idx="4745" formatCode="m/d/yyyy">
                  <c:v>42367</c:v>
                </c:pt>
                <c:pt idx="4746" formatCode="m/d/yyyy">
                  <c:v>42368</c:v>
                </c:pt>
                <c:pt idx="4747" formatCode="m/d/yyyy">
                  <c:v>42369</c:v>
                </c:pt>
                <c:pt idx="4748" formatCode="m/d/yyyy">
                  <c:v>42370</c:v>
                </c:pt>
                <c:pt idx="4749" formatCode="m/d/yyyy">
                  <c:v>42371</c:v>
                </c:pt>
                <c:pt idx="4750" formatCode="m/d/yyyy">
                  <c:v>42372</c:v>
                </c:pt>
                <c:pt idx="4751" formatCode="m/d/yyyy">
                  <c:v>42373</c:v>
                </c:pt>
                <c:pt idx="4752" formatCode="m/d/yyyy">
                  <c:v>42374</c:v>
                </c:pt>
                <c:pt idx="4753" formatCode="m/d/yyyy">
                  <c:v>42375</c:v>
                </c:pt>
                <c:pt idx="4754" formatCode="m/d/yyyy">
                  <c:v>42376</c:v>
                </c:pt>
                <c:pt idx="4755" formatCode="m/d/yyyy">
                  <c:v>42377</c:v>
                </c:pt>
                <c:pt idx="4756" formatCode="m/d/yyyy">
                  <c:v>42378</c:v>
                </c:pt>
                <c:pt idx="4757" formatCode="m/d/yyyy">
                  <c:v>42379</c:v>
                </c:pt>
                <c:pt idx="4758" formatCode="m/d/yyyy">
                  <c:v>42380</c:v>
                </c:pt>
                <c:pt idx="4759" formatCode="m/d/yyyy">
                  <c:v>42381</c:v>
                </c:pt>
                <c:pt idx="4760" formatCode="m/d/yyyy">
                  <c:v>42382</c:v>
                </c:pt>
                <c:pt idx="4761" formatCode="m/d/yyyy">
                  <c:v>42383</c:v>
                </c:pt>
                <c:pt idx="4762" formatCode="m/d/yyyy">
                  <c:v>42384</c:v>
                </c:pt>
                <c:pt idx="4763" formatCode="m/d/yyyy">
                  <c:v>42385</c:v>
                </c:pt>
                <c:pt idx="4764" formatCode="m/d/yyyy">
                  <c:v>42386</c:v>
                </c:pt>
                <c:pt idx="4765" formatCode="m/d/yyyy">
                  <c:v>42387</c:v>
                </c:pt>
                <c:pt idx="4766" formatCode="m/d/yyyy">
                  <c:v>42388</c:v>
                </c:pt>
                <c:pt idx="4767" formatCode="m/d/yyyy">
                  <c:v>42389</c:v>
                </c:pt>
                <c:pt idx="4768" formatCode="m/d/yyyy">
                  <c:v>42390</c:v>
                </c:pt>
                <c:pt idx="4769" formatCode="m/d/yyyy">
                  <c:v>42391</c:v>
                </c:pt>
                <c:pt idx="4770" formatCode="m/d/yyyy">
                  <c:v>42392</c:v>
                </c:pt>
                <c:pt idx="4771" formatCode="m/d/yyyy">
                  <c:v>42393</c:v>
                </c:pt>
                <c:pt idx="4772" formatCode="m/d/yyyy">
                  <c:v>42394</c:v>
                </c:pt>
                <c:pt idx="4773" formatCode="m/d/yyyy">
                  <c:v>42395</c:v>
                </c:pt>
                <c:pt idx="4774" formatCode="m/d/yyyy">
                  <c:v>42396</c:v>
                </c:pt>
                <c:pt idx="4775" formatCode="m/d/yyyy">
                  <c:v>42397</c:v>
                </c:pt>
                <c:pt idx="4776" formatCode="m/d/yyyy">
                  <c:v>42398</c:v>
                </c:pt>
                <c:pt idx="4777" formatCode="m/d/yyyy">
                  <c:v>42399</c:v>
                </c:pt>
                <c:pt idx="4778" formatCode="m/d/yyyy">
                  <c:v>42400</c:v>
                </c:pt>
                <c:pt idx="4779" formatCode="m/d/yyyy">
                  <c:v>42401</c:v>
                </c:pt>
                <c:pt idx="4780" formatCode="m/d/yyyy">
                  <c:v>42402</c:v>
                </c:pt>
                <c:pt idx="4781" formatCode="m/d/yyyy">
                  <c:v>42403</c:v>
                </c:pt>
                <c:pt idx="4782" formatCode="m/d/yyyy">
                  <c:v>42404</c:v>
                </c:pt>
                <c:pt idx="4783" formatCode="m/d/yyyy">
                  <c:v>42405</c:v>
                </c:pt>
                <c:pt idx="4784" formatCode="m/d/yyyy">
                  <c:v>42406</c:v>
                </c:pt>
                <c:pt idx="4785" formatCode="m/d/yyyy">
                  <c:v>42407</c:v>
                </c:pt>
                <c:pt idx="4786" formatCode="m/d/yyyy">
                  <c:v>42408</c:v>
                </c:pt>
                <c:pt idx="4787" formatCode="m/d/yyyy">
                  <c:v>42409</c:v>
                </c:pt>
                <c:pt idx="4788" formatCode="m/d/yyyy">
                  <c:v>42410</c:v>
                </c:pt>
                <c:pt idx="4789" formatCode="m/d/yyyy">
                  <c:v>42411</c:v>
                </c:pt>
                <c:pt idx="4790" formatCode="m/d/yyyy">
                  <c:v>42412</c:v>
                </c:pt>
                <c:pt idx="4791" formatCode="m/d/yyyy">
                  <c:v>42413</c:v>
                </c:pt>
                <c:pt idx="4792" formatCode="m/d/yyyy">
                  <c:v>42414</c:v>
                </c:pt>
                <c:pt idx="4793" formatCode="m/d/yyyy">
                  <c:v>42415</c:v>
                </c:pt>
                <c:pt idx="4794" formatCode="m/d/yyyy">
                  <c:v>42416</c:v>
                </c:pt>
                <c:pt idx="4795" formatCode="m/d/yyyy">
                  <c:v>42417</c:v>
                </c:pt>
                <c:pt idx="4796" formatCode="m/d/yyyy">
                  <c:v>42418</c:v>
                </c:pt>
                <c:pt idx="4797" formatCode="m/d/yyyy">
                  <c:v>42419</c:v>
                </c:pt>
                <c:pt idx="4798" formatCode="m/d/yyyy">
                  <c:v>42420</c:v>
                </c:pt>
                <c:pt idx="4799" formatCode="m/d/yyyy">
                  <c:v>42421</c:v>
                </c:pt>
                <c:pt idx="4800" formatCode="m/d/yyyy">
                  <c:v>42422</c:v>
                </c:pt>
                <c:pt idx="4801" formatCode="m/d/yyyy">
                  <c:v>42423</c:v>
                </c:pt>
                <c:pt idx="4802" formatCode="m/d/yyyy">
                  <c:v>42424</c:v>
                </c:pt>
                <c:pt idx="4803" formatCode="m/d/yyyy">
                  <c:v>42425</c:v>
                </c:pt>
                <c:pt idx="4804" formatCode="m/d/yyyy">
                  <c:v>42426</c:v>
                </c:pt>
                <c:pt idx="4805" formatCode="m/d/yyyy">
                  <c:v>42427</c:v>
                </c:pt>
                <c:pt idx="4806" formatCode="m/d/yyyy">
                  <c:v>42428</c:v>
                </c:pt>
                <c:pt idx="4807" formatCode="m/d/yyyy">
                  <c:v>42429</c:v>
                </c:pt>
                <c:pt idx="4808" formatCode="m/d/yyyy">
                  <c:v>42430</c:v>
                </c:pt>
                <c:pt idx="4809" formatCode="m/d/yyyy">
                  <c:v>42431</c:v>
                </c:pt>
                <c:pt idx="4810" formatCode="m/d/yyyy">
                  <c:v>42432</c:v>
                </c:pt>
                <c:pt idx="4811" formatCode="m/d/yyyy">
                  <c:v>42433</c:v>
                </c:pt>
                <c:pt idx="4812" formatCode="m/d/yyyy">
                  <c:v>42434</c:v>
                </c:pt>
                <c:pt idx="4813" formatCode="m/d/yyyy">
                  <c:v>42435</c:v>
                </c:pt>
                <c:pt idx="4814" formatCode="m/d/yyyy">
                  <c:v>42436</c:v>
                </c:pt>
                <c:pt idx="4815" formatCode="m/d/yyyy">
                  <c:v>42437</c:v>
                </c:pt>
                <c:pt idx="4816" formatCode="m/d/yyyy">
                  <c:v>42438</c:v>
                </c:pt>
                <c:pt idx="4817" formatCode="m/d/yyyy">
                  <c:v>42439</c:v>
                </c:pt>
                <c:pt idx="4818" formatCode="m/d/yyyy">
                  <c:v>42440</c:v>
                </c:pt>
                <c:pt idx="4819" formatCode="m/d/yyyy">
                  <c:v>42441</c:v>
                </c:pt>
                <c:pt idx="4820" formatCode="m/d/yyyy">
                  <c:v>42442</c:v>
                </c:pt>
                <c:pt idx="4821" formatCode="m/d/yyyy">
                  <c:v>42443</c:v>
                </c:pt>
                <c:pt idx="4822" formatCode="m/d/yyyy">
                  <c:v>42444</c:v>
                </c:pt>
                <c:pt idx="4823" formatCode="m/d/yyyy">
                  <c:v>42445</c:v>
                </c:pt>
                <c:pt idx="4824" formatCode="m/d/yyyy">
                  <c:v>42446</c:v>
                </c:pt>
                <c:pt idx="4825" formatCode="m/d/yyyy">
                  <c:v>42447</c:v>
                </c:pt>
                <c:pt idx="4826" formatCode="m/d/yyyy">
                  <c:v>42448</c:v>
                </c:pt>
                <c:pt idx="4827" formatCode="m/d/yyyy">
                  <c:v>42449</c:v>
                </c:pt>
                <c:pt idx="4828" formatCode="m/d/yyyy">
                  <c:v>42450</c:v>
                </c:pt>
                <c:pt idx="4829" formatCode="m/d/yyyy">
                  <c:v>42451</c:v>
                </c:pt>
                <c:pt idx="4830" formatCode="m/d/yyyy">
                  <c:v>42452</c:v>
                </c:pt>
                <c:pt idx="4831" formatCode="m/d/yyyy">
                  <c:v>42453</c:v>
                </c:pt>
                <c:pt idx="4832" formatCode="m/d/yyyy">
                  <c:v>42454</c:v>
                </c:pt>
                <c:pt idx="4833" formatCode="m/d/yyyy">
                  <c:v>42455</c:v>
                </c:pt>
                <c:pt idx="4834" formatCode="m/d/yyyy">
                  <c:v>42456</c:v>
                </c:pt>
                <c:pt idx="4835" formatCode="m/d/yyyy">
                  <c:v>42457</c:v>
                </c:pt>
                <c:pt idx="4836" formatCode="m/d/yyyy">
                  <c:v>42458</c:v>
                </c:pt>
                <c:pt idx="4837" formatCode="m/d/yyyy">
                  <c:v>42459</c:v>
                </c:pt>
                <c:pt idx="4838" formatCode="m/d/yyyy">
                  <c:v>42460</c:v>
                </c:pt>
                <c:pt idx="4839" formatCode="m/d/yyyy">
                  <c:v>42461</c:v>
                </c:pt>
                <c:pt idx="4840" formatCode="m/d/yyyy">
                  <c:v>42462</c:v>
                </c:pt>
                <c:pt idx="4841" formatCode="m/d/yyyy">
                  <c:v>42463</c:v>
                </c:pt>
                <c:pt idx="4842" formatCode="m/d/yyyy">
                  <c:v>42464</c:v>
                </c:pt>
                <c:pt idx="4843" formatCode="m/d/yyyy">
                  <c:v>42465</c:v>
                </c:pt>
                <c:pt idx="4844" formatCode="m/d/yyyy">
                  <c:v>42466</c:v>
                </c:pt>
                <c:pt idx="4845" formatCode="m/d/yyyy">
                  <c:v>42467</c:v>
                </c:pt>
                <c:pt idx="4846" formatCode="m/d/yyyy">
                  <c:v>42468</c:v>
                </c:pt>
                <c:pt idx="4847" formatCode="m/d/yyyy">
                  <c:v>42469</c:v>
                </c:pt>
                <c:pt idx="4848" formatCode="m/d/yyyy">
                  <c:v>42470</c:v>
                </c:pt>
                <c:pt idx="4849" formatCode="m/d/yyyy">
                  <c:v>42471</c:v>
                </c:pt>
                <c:pt idx="4850" formatCode="m/d/yyyy">
                  <c:v>42472</c:v>
                </c:pt>
                <c:pt idx="4851" formatCode="m/d/yyyy">
                  <c:v>42473</c:v>
                </c:pt>
                <c:pt idx="4852" formatCode="m/d/yyyy">
                  <c:v>42474</c:v>
                </c:pt>
                <c:pt idx="4853" formatCode="m/d/yyyy">
                  <c:v>42475</c:v>
                </c:pt>
                <c:pt idx="4854" formatCode="m/d/yyyy">
                  <c:v>42476</c:v>
                </c:pt>
                <c:pt idx="4855" formatCode="m/d/yyyy">
                  <c:v>42477</c:v>
                </c:pt>
                <c:pt idx="4856" formatCode="m/d/yyyy">
                  <c:v>42478</c:v>
                </c:pt>
                <c:pt idx="4857" formatCode="m/d/yyyy">
                  <c:v>42479</c:v>
                </c:pt>
                <c:pt idx="4858" formatCode="m/d/yyyy">
                  <c:v>42480</c:v>
                </c:pt>
                <c:pt idx="4859" formatCode="m/d/yyyy">
                  <c:v>42481</c:v>
                </c:pt>
                <c:pt idx="4860" formatCode="m/d/yyyy">
                  <c:v>42482</c:v>
                </c:pt>
                <c:pt idx="4861" formatCode="m/d/yyyy">
                  <c:v>42483</c:v>
                </c:pt>
                <c:pt idx="4862" formatCode="m/d/yyyy">
                  <c:v>42484</c:v>
                </c:pt>
                <c:pt idx="4863" formatCode="m/d/yyyy">
                  <c:v>42485</c:v>
                </c:pt>
                <c:pt idx="4864" formatCode="m/d/yyyy">
                  <c:v>42486</c:v>
                </c:pt>
                <c:pt idx="4865" formatCode="m/d/yyyy">
                  <c:v>42487</c:v>
                </c:pt>
                <c:pt idx="4866" formatCode="m/d/yyyy">
                  <c:v>42488</c:v>
                </c:pt>
                <c:pt idx="4867" formatCode="m/d/yyyy">
                  <c:v>42489</c:v>
                </c:pt>
                <c:pt idx="4868" formatCode="m/d/yyyy">
                  <c:v>42490</c:v>
                </c:pt>
                <c:pt idx="4869" formatCode="m/d/yyyy">
                  <c:v>42491</c:v>
                </c:pt>
                <c:pt idx="4870" formatCode="m/d/yyyy">
                  <c:v>42492</c:v>
                </c:pt>
                <c:pt idx="4871" formatCode="m/d/yyyy">
                  <c:v>42493</c:v>
                </c:pt>
                <c:pt idx="4872" formatCode="m/d/yyyy">
                  <c:v>42494</c:v>
                </c:pt>
                <c:pt idx="4873" formatCode="m/d/yyyy">
                  <c:v>42495</c:v>
                </c:pt>
                <c:pt idx="4874" formatCode="m/d/yyyy">
                  <c:v>42496</c:v>
                </c:pt>
                <c:pt idx="4875" formatCode="m/d/yyyy">
                  <c:v>42497</c:v>
                </c:pt>
                <c:pt idx="4876" formatCode="m/d/yyyy">
                  <c:v>42498</c:v>
                </c:pt>
                <c:pt idx="4877" formatCode="m/d/yyyy">
                  <c:v>42499</c:v>
                </c:pt>
                <c:pt idx="4878" formatCode="m/d/yyyy">
                  <c:v>42500</c:v>
                </c:pt>
                <c:pt idx="4879" formatCode="m/d/yyyy">
                  <c:v>42501</c:v>
                </c:pt>
                <c:pt idx="4880" formatCode="m/d/yyyy">
                  <c:v>42502</c:v>
                </c:pt>
                <c:pt idx="4881" formatCode="m/d/yyyy">
                  <c:v>42503</c:v>
                </c:pt>
                <c:pt idx="4882" formatCode="m/d/yyyy">
                  <c:v>42504</c:v>
                </c:pt>
                <c:pt idx="4883" formatCode="m/d/yyyy">
                  <c:v>42505</c:v>
                </c:pt>
                <c:pt idx="4884" formatCode="m/d/yyyy">
                  <c:v>42506</c:v>
                </c:pt>
                <c:pt idx="4885" formatCode="m/d/yyyy">
                  <c:v>42507</c:v>
                </c:pt>
                <c:pt idx="4886" formatCode="m/d/yyyy">
                  <c:v>42508</c:v>
                </c:pt>
                <c:pt idx="4887" formatCode="m/d/yyyy">
                  <c:v>42509</c:v>
                </c:pt>
                <c:pt idx="4888" formatCode="m/d/yyyy">
                  <c:v>42510</c:v>
                </c:pt>
                <c:pt idx="4889" formatCode="m/d/yyyy">
                  <c:v>42511</c:v>
                </c:pt>
                <c:pt idx="4890" formatCode="m/d/yyyy">
                  <c:v>42512</c:v>
                </c:pt>
                <c:pt idx="4891" formatCode="m/d/yyyy">
                  <c:v>42513</c:v>
                </c:pt>
                <c:pt idx="4892" formatCode="m/d/yyyy">
                  <c:v>42514</c:v>
                </c:pt>
                <c:pt idx="4893" formatCode="m/d/yyyy">
                  <c:v>42515</c:v>
                </c:pt>
                <c:pt idx="4894" formatCode="m/d/yyyy">
                  <c:v>42516</c:v>
                </c:pt>
                <c:pt idx="4895" formatCode="m/d/yyyy">
                  <c:v>42517</c:v>
                </c:pt>
                <c:pt idx="4896" formatCode="m/d/yyyy">
                  <c:v>42518</c:v>
                </c:pt>
                <c:pt idx="4897" formatCode="m/d/yyyy">
                  <c:v>42519</c:v>
                </c:pt>
                <c:pt idx="4898" formatCode="m/d/yyyy">
                  <c:v>42520</c:v>
                </c:pt>
                <c:pt idx="4899" formatCode="m/d/yyyy">
                  <c:v>42521</c:v>
                </c:pt>
                <c:pt idx="4900" formatCode="m/d/yyyy">
                  <c:v>42522</c:v>
                </c:pt>
                <c:pt idx="4901" formatCode="m/d/yyyy">
                  <c:v>42523</c:v>
                </c:pt>
                <c:pt idx="4902" formatCode="m/d/yyyy">
                  <c:v>42524</c:v>
                </c:pt>
                <c:pt idx="4903" formatCode="m/d/yyyy">
                  <c:v>42525</c:v>
                </c:pt>
                <c:pt idx="4904" formatCode="m/d/yyyy">
                  <c:v>42526</c:v>
                </c:pt>
                <c:pt idx="4905" formatCode="m/d/yyyy">
                  <c:v>42527</c:v>
                </c:pt>
                <c:pt idx="4906" formatCode="m/d/yyyy">
                  <c:v>42528</c:v>
                </c:pt>
                <c:pt idx="4907" formatCode="m/d/yyyy">
                  <c:v>42529</c:v>
                </c:pt>
                <c:pt idx="4908" formatCode="m/d/yyyy">
                  <c:v>42530</c:v>
                </c:pt>
                <c:pt idx="4909" formatCode="m/d/yyyy">
                  <c:v>42531</c:v>
                </c:pt>
                <c:pt idx="4910" formatCode="m/d/yyyy">
                  <c:v>42532</c:v>
                </c:pt>
                <c:pt idx="4911" formatCode="m/d/yyyy">
                  <c:v>42533</c:v>
                </c:pt>
                <c:pt idx="4912" formatCode="m/d/yyyy">
                  <c:v>42534</c:v>
                </c:pt>
                <c:pt idx="4913" formatCode="m/d/yyyy">
                  <c:v>42535</c:v>
                </c:pt>
                <c:pt idx="4914" formatCode="m/d/yyyy">
                  <c:v>42536</c:v>
                </c:pt>
                <c:pt idx="4915" formatCode="m/d/yyyy">
                  <c:v>42537</c:v>
                </c:pt>
                <c:pt idx="4916" formatCode="m/d/yyyy">
                  <c:v>42538</c:v>
                </c:pt>
                <c:pt idx="4917" formatCode="m/d/yyyy">
                  <c:v>42539</c:v>
                </c:pt>
                <c:pt idx="4918" formatCode="m/d/yyyy">
                  <c:v>42540</c:v>
                </c:pt>
                <c:pt idx="4919" formatCode="m/d/yyyy">
                  <c:v>42541</c:v>
                </c:pt>
                <c:pt idx="4920" formatCode="m/d/yyyy">
                  <c:v>42542</c:v>
                </c:pt>
                <c:pt idx="4921" formatCode="m/d/yyyy">
                  <c:v>42543</c:v>
                </c:pt>
                <c:pt idx="4922" formatCode="m/d/yyyy">
                  <c:v>42544</c:v>
                </c:pt>
                <c:pt idx="4923" formatCode="m/d/yyyy">
                  <c:v>42545</c:v>
                </c:pt>
                <c:pt idx="4924" formatCode="m/d/yyyy">
                  <c:v>42546</c:v>
                </c:pt>
                <c:pt idx="4925" formatCode="m/d/yyyy">
                  <c:v>42547</c:v>
                </c:pt>
                <c:pt idx="4926" formatCode="m/d/yyyy">
                  <c:v>42548</c:v>
                </c:pt>
                <c:pt idx="4927" formatCode="m/d/yyyy">
                  <c:v>42549</c:v>
                </c:pt>
                <c:pt idx="4928" formatCode="m/d/yyyy">
                  <c:v>42550</c:v>
                </c:pt>
                <c:pt idx="4929" formatCode="m/d/yyyy">
                  <c:v>42551</c:v>
                </c:pt>
                <c:pt idx="4930" formatCode="m/d/yyyy">
                  <c:v>42552</c:v>
                </c:pt>
                <c:pt idx="4931" formatCode="m/d/yyyy">
                  <c:v>42553</c:v>
                </c:pt>
                <c:pt idx="4932" formatCode="m/d/yyyy">
                  <c:v>42554</c:v>
                </c:pt>
                <c:pt idx="4933" formatCode="m/d/yyyy">
                  <c:v>42555</c:v>
                </c:pt>
                <c:pt idx="4934" formatCode="m/d/yyyy">
                  <c:v>42556</c:v>
                </c:pt>
                <c:pt idx="4935" formatCode="m/d/yyyy">
                  <c:v>42557</c:v>
                </c:pt>
                <c:pt idx="4936" formatCode="m/d/yyyy">
                  <c:v>42558</c:v>
                </c:pt>
                <c:pt idx="4937" formatCode="m/d/yyyy">
                  <c:v>42559</c:v>
                </c:pt>
                <c:pt idx="4938" formatCode="m/d/yyyy">
                  <c:v>42560</c:v>
                </c:pt>
                <c:pt idx="4939" formatCode="m/d/yyyy">
                  <c:v>42561</c:v>
                </c:pt>
                <c:pt idx="4940" formatCode="m/d/yyyy">
                  <c:v>42562</c:v>
                </c:pt>
                <c:pt idx="4941" formatCode="m/d/yyyy">
                  <c:v>42563</c:v>
                </c:pt>
                <c:pt idx="4942" formatCode="m/d/yyyy">
                  <c:v>42564</c:v>
                </c:pt>
                <c:pt idx="4943" formatCode="m/d/yyyy">
                  <c:v>42565</c:v>
                </c:pt>
                <c:pt idx="4944" formatCode="m/d/yyyy">
                  <c:v>42566</c:v>
                </c:pt>
                <c:pt idx="4945" formatCode="m/d/yyyy">
                  <c:v>42567</c:v>
                </c:pt>
                <c:pt idx="4946" formatCode="m/d/yyyy">
                  <c:v>42568</c:v>
                </c:pt>
                <c:pt idx="4947" formatCode="m/d/yyyy">
                  <c:v>42569</c:v>
                </c:pt>
                <c:pt idx="4948" formatCode="m/d/yyyy">
                  <c:v>42570</c:v>
                </c:pt>
                <c:pt idx="4949" formatCode="m/d/yyyy">
                  <c:v>42571</c:v>
                </c:pt>
                <c:pt idx="4950" formatCode="m/d/yyyy">
                  <c:v>42572</c:v>
                </c:pt>
                <c:pt idx="4951" formatCode="m/d/yyyy">
                  <c:v>42573</c:v>
                </c:pt>
                <c:pt idx="4952" formatCode="m/d/yyyy">
                  <c:v>42574</c:v>
                </c:pt>
                <c:pt idx="4953" formatCode="m/d/yyyy">
                  <c:v>42575</c:v>
                </c:pt>
                <c:pt idx="4954" formatCode="m/d/yyyy">
                  <c:v>42576</c:v>
                </c:pt>
                <c:pt idx="4955" formatCode="m/d/yyyy">
                  <c:v>42577</c:v>
                </c:pt>
                <c:pt idx="4956" formatCode="m/d/yyyy">
                  <c:v>42578</c:v>
                </c:pt>
                <c:pt idx="4957" formatCode="m/d/yyyy">
                  <c:v>42579</c:v>
                </c:pt>
                <c:pt idx="4958" formatCode="m/d/yyyy">
                  <c:v>42580</c:v>
                </c:pt>
                <c:pt idx="4959" formatCode="m/d/yyyy">
                  <c:v>42581</c:v>
                </c:pt>
                <c:pt idx="4960" formatCode="m/d/yyyy">
                  <c:v>42582</c:v>
                </c:pt>
                <c:pt idx="4961" formatCode="m/d/yyyy">
                  <c:v>42583</c:v>
                </c:pt>
                <c:pt idx="4962" formatCode="m/d/yyyy">
                  <c:v>42584</c:v>
                </c:pt>
                <c:pt idx="4963" formatCode="m/d/yyyy">
                  <c:v>42585</c:v>
                </c:pt>
                <c:pt idx="4964" formatCode="m/d/yyyy">
                  <c:v>42586</c:v>
                </c:pt>
                <c:pt idx="4965" formatCode="m/d/yyyy">
                  <c:v>42587</c:v>
                </c:pt>
                <c:pt idx="4966" formatCode="m/d/yyyy">
                  <c:v>42588</c:v>
                </c:pt>
                <c:pt idx="4967" formatCode="m/d/yyyy">
                  <c:v>42589</c:v>
                </c:pt>
                <c:pt idx="4968" formatCode="m/d/yyyy">
                  <c:v>42590</c:v>
                </c:pt>
                <c:pt idx="4969" formatCode="m/d/yyyy">
                  <c:v>42591</c:v>
                </c:pt>
                <c:pt idx="4970" formatCode="m/d/yyyy">
                  <c:v>42592</c:v>
                </c:pt>
                <c:pt idx="4971" formatCode="m/d/yyyy">
                  <c:v>42593</c:v>
                </c:pt>
                <c:pt idx="4972" formatCode="m/d/yyyy">
                  <c:v>42594</c:v>
                </c:pt>
                <c:pt idx="4973" formatCode="m/d/yyyy">
                  <c:v>42595</c:v>
                </c:pt>
                <c:pt idx="4974" formatCode="m/d/yyyy">
                  <c:v>42596</c:v>
                </c:pt>
                <c:pt idx="4975" formatCode="m/d/yyyy">
                  <c:v>42597</c:v>
                </c:pt>
                <c:pt idx="4976" formatCode="m/d/yyyy">
                  <c:v>42598</c:v>
                </c:pt>
                <c:pt idx="4977" formatCode="m/d/yyyy">
                  <c:v>42599</c:v>
                </c:pt>
                <c:pt idx="4978" formatCode="m/d/yyyy">
                  <c:v>42600</c:v>
                </c:pt>
                <c:pt idx="4979" formatCode="m/d/yyyy">
                  <c:v>42601</c:v>
                </c:pt>
                <c:pt idx="4980" formatCode="m/d/yyyy">
                  <c:v>42602</c:v>
                </c:pt>
                <c:pt idx="4981" formatCode="m/d/yyyy">
                  <c:v>42603</c:v>
                </c:pt>
                <c:pt idx="4982" formatCode="m/d/yyyy">
                  <c:v>42604</c:v>
                </c:pt>
                <c:pt idx="4983" formatCode="m/d/yyyy">
                  <c:v>42605</c:v>
                </c:pt>
                <c:pt idx="4984" formatCode="m/d/yyyy">
                  <c:v>42606</c:v>
                </c:pt>
                <c:pt idx="4985" formatCode="m/d/yyyy">
                  <c:v>42607</c:v>
                </c:pt>
                <c:pt idx="4986" formatCode="m/d/yyyy">
                  <c:v>42608</c:v>
                </c:pt>
                <c:pt idx="4987" formatCode="m/d/yyyy">
                  <c:v>42609</c:v>
                </c:pt>
                <c:pt idx="4988" formatCode="m/d/yyyy">
                  <c:v>42610</c:v>
                </c:pt>
                <c:pt idx="4989" formatCode="m/d/yyyy">
                  <c:v>42611</c:v>
                </c:pt>
                <c:pt idx="4990" formatCode="m/d/yyyy">
                  <c:v>42612</c:v>
                </c:pt>
                <c:pt idx="4991" formatCode="m/d/yyyy">
                  <c:v>42613</c:v>
                </c:pt>
                <c:pt idx="4992" formatCode="m/d/yyyy">
                  <c:v>42614</c:v>
                </c:pt>
                <c:pt idx="4993" formatCode="m/d/yyyy">
                  <c:v>42615</c:v>
                </c:pt>
                <c:pt idx="4994" formatCode="m/d/yyyy">
                  <c:v>42616</c:v>
                </c:pt>
                <c:pt idx="4995" formatCode="m/d/yyyy">
                  <c:v>42617</c:v>
                </c:pt>
                <c:pt idx="4996" formatCode="m/d/yyyy">
                  <c:v>42618</c:v>
                </c:pt>
                <c:pt idx="4997" formatCode="m/d/yyyy">
                  <c:v>42619</c:v>
                </c:pt>
                <c:pt idx="4998" formatCode="m/d/yyyy">
                  <c:v>42620</c:v>
                </c:pt>
                <c:pt idx="4999" formatCode="m/d/yyyy">
                  <c:v>42621</c:v>
                </c:pt>
                <c:pt idx="5000" formatCode="m/d/yyyy">
                  <c:v>42622</c:v>
                </c:pt>
                <c:pt idx="5001" formatCode="m/d/yyyy">
                  <c:v>42623</c:v>
                </c:pt>
                <c:pt idx="5002" formatCode="m/d/yyyy">
                  <c:v>42624</c:v>
                </c:pt>
                <c:pt idx="5003" formatCode="m/d/yyyy">
                  <c:v>42625</c:v>
                </c:pt>
                <c:pt idx="5004" formatCode="m/d/yyyy">
                  <c:v>42626</c:v>
                </c:pt>
                <c:pt idx="5005" formatCode="m/d/yyyy">
                  <c:v>42627</c:v>
                </c:pt>
                <c:pt idx="5006" formatCode="m/d/yyyy">
                  <c:v>42628</c:v>
                </c:pt>
                <c:pt idx="5007" formatCode="m/d/yyyy">
                  <c:v>42629</c:v>
                </c:pt>
                <c:pt idx="5008" formatCode="m/d/yyyy">
                  <c:v>42630</c:v>
                </c:pt>
                <c:pt idx="5009" formatCode="m/d/yyyy">
                  <c:v>42631</c:v>
                </c:pt>
                <c:pt idx="5010" formatCode="m/d/yyyy">
                  <c:v>42632</c:v>
                </c:pt>
                <c:pt idx="5011" formatCode="m/d/yyyy">
                  <c:v>42633</c:v>
                </c:pt>
                <c:pt idx="5012" formatCode="m/d/yyyy">
                  <c:v>42634</c:v>
                </c:pt>
                <c:pt idx="5013" formatCode="m/d/yyyy">
                  <c:v>42635</c:v>
                </c:pt>
                <c:pt idx="5014" formatCode="m/d/yyyy">
                  <c:v>42636</c:v>
                </c:pt>
                <c:pt idx="5015" formatCode="m/d/yyyy">
                  <c:v>42637</c:v>
                </c:pt>
                <c:pt idx="5016" formatCode="m/d/yyyy">
                  <c:v>42638</c:v>
                </c:pt>
                <c:pt idx="5017" formatCode="m/d/yyyy">
                  <c:v>42639</c:v>
                </c:pt>
                <c:pt idx="5018" formatCode="m/d/yyyy">
                  <c:v>42640</c:v>
                </c:pt>
                <c:pt idx="5019" formatCode="m/d/yyyy">
                  <c:v>42641</c:v>
                </c:pt>
                <c:pt idx="5020" formatCode="m/d/yyyy">
                  <c:v>42642</c:v>
                </c:pt>
                <c:pt idx="5021" formatCode="m/d/yyyy">
                  <c:v>42643</c:v>
                </c:pt>
                <c:pt idx="5022" formatCode="m/d/yyyy">
                  <c:v>42644</c:v>
                </c:pt>
                <c:pt idx="5023" formatCode="m/d/yyyy">
                  <c:v>42645</c:v>
                </c:pt>
                <c:pt idx="5024" formatCode="m/d/yyyy">
                  <c:v>42646</c:v>
                </c:pt>
                <c:pt idx="5025" formatCode="m/d/yyyy">
                  <c:v>42647</c:v>
                </c:pt>
                <c:pt idx="5026" formatCode="m/d/yyyy">
                  <c:v>42648</c:v>
                </c:pt>
                <c:pt idx="5027" formatCode="m/d/yyyy">
                  <c:v>42649</c:v>
                </c:pt>
                <c:pt idx="5028" formatCode="m/d/yyyy">
                  <c:v>42650</c:v>
                </c:pt>
                <c:pt idx="5029" formatCode="m/d/yyyy">
                  <c:v>42651</c:v>
                </c:pt>
                <c:pt idx="5030" formatCode="m/d/yyyy">
                  <c:v>42652</c:v>
                </c:pt>
                <c:pt idx="5031" formatCode="m/d/yyyy">
                  <c:v>42653</c:v>
                </c:pt>
                <c:pt idx="5032" formatCode="m/d/yyyy">
                  <c:v>42654</c:v>
                </c:pt>
                <c:pt idx="5033" formatCode="m/d/yyyy">
                  <c:v>42655</c:v>
                </c:pt>
                <c:pt idx="5034" formatCode="m/d/yyyy">
                  <c:v>42656</c:v>
                </c:pt>
                <c:pt idx="5035" formatCode="m/d/yyyy">
                  <c:v>42657</c:v>
                </c:pt>
                <c:pt idx="5036" formatCode="m/d/yyyy">
                  <c:v>42658</c:v>
                </c:pt>
                <c:pt idx="5037" formatCode="m/d/yyyy">
                  <c:v>42659</c:v>
                </c:pt>
                <c:pt idx="5038" formatCode="m/d/yyyy">
                  <c:v>42660</c:v>
                </c:pt>
                <c:pt idx="5039" formatCode="m/d/yyyy">
                  <c:v>42661</c:v>
                </c:pt>
                <c:pt idx="5040" formatCode="m/d/yyyy">
                  <c:v>42662</c:v>
                </c:pt>
                <c:pt idx="5041" formatCode="m/d/yyyy">
                  <c:v>42663</c:v>
                </c:pt>
                <c:pt idx="5042" formatCode="m/d/yyyy">
                  <c:v>42664</c:v>
                </c:pt>
                <c:pt idx="5043" formatCode="m/d/yyyy">
                  <c:v>42665</c:v>
                </c:pt>
                <c:pt idx="5044" formatCode="m/d/yyyy">
                  <c:v>42666</c:v>
                </c:pt>
                <c:pt idx="5045" formatCode="m/d/yyyy">
                  <c:v>42667</c:v>
                </c:pt>
                <c:pt idx="5046" formatCode="m/d/yyyy">
                  <c:v>42668</c:v>
                </c:pt>
                <c:pt idx="5047" formatCode="m/d/yyyy">
                  <c:v>42669</c:v>
                </c:pt>
                <c:pt idx="5048" formatCode="m/d/yyyy">
                  <c:v>42670</c:v>
                </c:pt>
                <c:pt idx="5049" formatCode="m/d/yyyy">
                  <c:v>42671</c:v>
                </c:pt>
                <c:pt idx="5050" formatCode="m/d/yyyy">
                  <c:v>42672</c:v>
                </c:pt>
                <c:pt idx="5051" formatCode="m/d/yyyy">
                  <c:v>42673</c:v>
                </c:pt>
                <c:pt idx="5052" formatCode="m/d/yyyy">
                  <c:v>42674</c:v>
                </c:pt>
                <c:pt idx="5053" formatCode="m/d/yyyy">
                  <c:v>42675</c:v>
                </c:pt>
                <c:pt idx="5054" formatCode="m/d/yyyy">
                  <c:v>42676</c:v>
                </c:pt>
                <c:pt idx="5055" formatCode="m/d/yyyy">
                  <c:v>42677</c:v>
                </c:pt>
                <c:pt idx="5056" formatCode="m/d/yyyy">
                  <c:v>42678</c:v>
                </c:pt>
                <c:pt idx="5057" formatCode="m/d/yyyy">
                  <c:v>42679</c:v>
                </c:pt>
                <c:pt idx="5058" formatCode="m/d/yyyy">
                  <c:v>42680</c:v>
                </c:pt>
                <c:pt idx="5059" formatCode="m/d/yyyy">
                  <c:v>42681</c:v>
                </c:pt>
                <c:pt idx="5060" formatCode="m/d/yyyy">
                  <c:v>42682</c:v>
                </c:pt>
                <c:pt idx="5061" formatCode="m/d/yyyy">
                  <c:v>42683</c:v>
                </c:pt>
                <c:pt idx="5062" formatCode="m/d/yyyy">
                  <c:v>42684</c:v>
                </c:pt>
                <c:pt idx="5063" formatCode="m/d/yyyy">
                  <c:v>42685</c:v>
                </c:pt>
                <c:pt idx="5064" formatCode="m/d/yyyy">
                  <c:v>42686</c:v>
                </c:pt>
                <c:pt idx="5065" formatCode="m/d/yyyy">
                  <c:v>42687</c:v>
                </c:pt>
                <c:pt idx="5066" formatCode="m/d/yyyy">
                  <c:v>42688</c:v>
                </c:pt>
                <c:pt idx="5067" formatCode="m/d/yyyy">
                  <c:v>42689</c:v>
                </c:pt>
                <c:pt idx="5068" formatCode="m/d/yyyy">
                  <c:v>42690</c:v>
                </c:pt>
                <c:pt idx="5069" formatCode="m/d/yyyy">
                  <c:v>42691</c:v>
                </c:pt>
                <c:pt idx="5070" formatCode="m/d/yyyy">
                  <c:v>42692</c:v>
                </c:pt>
                <c:pt idx="5071" formatCode="m/d/yyyy">
                  <c:v>42693</c:v>
                </c:pt>
                <c:pt idx="5072" formatCode="m/d/yyyy">
                  <c:v>42694</c:v>
                </c:pt>
                <c:pt idx="5073" formatCode="m/d/yyyy">
                  <c:v>42695</c:v>
                </c:pt>
                <c:pt idx="5074" formatCode="m/d/yyyy">
                  <c:v>42696</c:v>
                </c:pt>
                <c:pt idx="5075" formatCode="m/d/yyyy">
                  <c:v>42697</c:v>
                </c:pt>
                <c:pt idx="5076" formatCode="m/d/yyyy">
                  <c:v>42698</c:v>
                </c:pt>
                <c:pt idx="5077" formatCode="m/d/yyyy">
                  <c:v>42699</c:v>
                </c:pt>
                <c:pt idx="5078" formatCode="m/d/yyyy">
                  <c:v>42700</c:v>
                </c:pt>
                <c:pt idx="5079" formatCode="m/d/yyyy">
                  <c:v>42701</c:v>
                </c:pt>
                <c:pt idx="5080" formatCode="m/d/yyyy">
                  <c:v>42702</c:v>
                </c:pt>
                <c:pt idx="5081" formatCode="m/d/yyyy">
                  <c:v>42703</c:v>
                </c:pt>
                <c:pt idx="5082" formatCode="m/d/yyyy">
                  <c:v>42704</c:v>
                </c:pt>
                <c:pt idx="5083" formatCode="m/d/yyyy">
                  <c:v>42705</c:v>
                </c:pt>
                <c:pt idx="5084" formatCode="m/d/yyyy">
                  <c:v>42706</c:v>
                </c:pt>
                <c:pt idx="5085" formatCode="m/d/yyyy">
                  <c:v>42707</c:v>
                </c:pt>
                <c:pt idx="5086" formatCode="m/d/yyyy">
                  <c:v>42708</c:v>
                </c:pt>
                <c:pt idx="5087" formatCode="m/d/yyyy">
                  <c:v>42709</c:v>
                </c:pt>
                <c:pt idx="5088" formatCode="m/d/yyyy">
                  <c:v>42710</c:v>
                </c:pt>
                <c:pt idx="5089" formatCode="m/d/yyyy">
                  <c:v>42711</c:v>
                </c:pt>
                <c:pt idx="5090" formatCode="m/d/yyyy">
                  <c:v>42712</c:v>
                </c:pt>
                <c:pt idx="5091" formatCode="m/d/yyyy">
                  <c:v>42713</c:v>
                </c:pt>
                <c:pt idx="5092" formatCode="m/d/yyyy">
                  <c:v>42714</c:v>
                </c:pt>
                <c:pt idx="5093" formatCode="m/d/yyyy">
                  <c:v>42715</c:v>
                </c:pt>
                <c:pt idx="5094" formatCode="m/d/yyyy">
                  <c:v>42716</c:v>
                </c:pt>
                <c:pt idx="5095" formatCode="m/d/yyyy">
                  <c:v>42717</c:v>
                </c:pt>
                <c:pt idx="5096" formatCode="m/d/yyyy">
                  <c:v>42718</c:v>
                </c:pt>
                <c:pt idx="5097" formatCode="m/d/yyyy">
                  <c:v>42719</c:v>
                </c:pt>
                <c:pt idx="5098" formatCode="m/d/yyyy">
                  <c:v>42720</c:v>
                </c:pt>
                <c:pt idx="5099" formatCode="m/d/yyyy">
                  <c:v>42721</c:v>
                </c:pt>
                <c:pt idx="5100" formatCode="m/d/yyyy">
                  <c:v>42722</c:v>
                </c:pt>
                <c:pt idx="5101" formatCode="m/d/yyyy">
                  <c:v>42723</c:v>
                </c:pt>
                <c:pt idx="5102" formatCode="m/d/yyyy">
                  <c:v>42724</c:v>
                </c:pt>
                <c:pt idx="5103" formatCode="m/d/yyyy">
                  <c:v>42725</c:v>
                </c:pt>
                <c:pt idx="5104" formatCode="m/d/yyyy">
                  <c:v>42726</c:v>
                </c:pt>
                <c:pt idx="5105" formatCode="m/d/yyyy">
                  <c:v>42727</c:v>
                </c:pt>
                <c:pt idx="5106" formatCode="m/d/yyyy">
                  <c:v>42728</c:v>
                </c:pt>
                <c:pt idx="5107" formatCode="m/d/yyyy">
                  <c:v>42729</c:v>
                </c:pt>
                <c:pt idx="5108" formatCode="m/d/yyyy">
                  <c:v>42730</c:v>
                </c:pt>
                <c:pt idx="5109" formatCode="m/d/yyyy">
                  <c:v>42731</c:v>
                </c:pt>
                <c:pt idx="5110" formatCode="m/d/yyyy">
                  <c:v>42732</c:v>
                </c:pt>
                <c:pt idx="5111" formatCode="m/d/yyyy">
                  <c:v>42733</c:v>
                </c:pt>
                <c:pt idx="5112" formatCode="m/d/yyyy">
                  <c:v>42734</c:v>
                </c:pt>
                <c:pt idx="5113" formatCode="m/d/yyyy">
                  <c:v>42735</c:v>
                </c:pt>
                <c:pt idx="5114" formatCode="m/d/yyyy">
                  <c:v>42736</c:v>
                </c:pt>
                <c:pt idx="5115" formatCode="m/d/yyyy">
                  <c:v>42737</c:v>
                </c:pt>
                <c:pt idx="5116" formatCode="m/d/yyyy">
                  <c:v>42738</c:v>
                </c:pt>
                <c:pt idx="5117" formatCode="m/d/yyyy">
                  <c:v>42739</c:v>
                </c:pt>
                <c:pt idx="5118" formatCode="m/d/yyyy">
                  <c:v>42740</c:v>
                </c:pt>
                <c:pt idx="5119" formatCode="m/d/yyyy">
                  <c:v>42741</c:v>
                </c:pt>
                <c:pt idx="5120" formatCode="m/d/yyyy">
                  <c:v>42742</c:v>
                </c:pt>
                <c:pt idx="5121" formatCode="m/d/yyyy">
                  <c:v>42743</c:v>
                </c:pt>
                <c:pt idx="5122" formatCode="m/d/yyyy">
                  <c:v>42744</c:v>
                </c:pt>
                <c:pt idx="5123" formatCode="m/d/yyyy">
                  <c:v>42745</c:v>
                </c:pt>
                <c:pt idx="5124" formatCode="m/d/yyyy">
                  <c:v>42746</c:v>
                </c:pt>
                <c:pt idx="5125" formatCode="m/d/yyyy">
                  <c:v>42747</c:v>
                </c:pt>
                <c:pt idx="5126" formatCode="m/d/yyyy">
                  <c:v>42748</c:v>
                </c:pt>
                <c:pt idx="5127" formatCode="m/d/yyyy">
                  <c:v>42749</c:v>
                </c:pt>
                <c:pt idx="5128" formatCode="m/d/yyyy">
                  <c:v>42750</c:v>
                </c:pt>
                <c:pt idx="5129" formatCode="m/d/yyyy">
                  <c:v>42751</c:v>
                </c:pt>
                <c:pt idx="5130" formatCode="m/d/yyyy">
                  <c:v>42752</c:v>
                </c:pt>
                <c:pt idx="5131" formatCode="m/d/yyyy">
                  <c:v>42753</c:v>
                </c:pt>
                <c:pt idx="5132" formatCode="m/d/yyyy">
                  <c:v>42754</c:v>
                </c:pt>
                <c:pt idx="5133" formatCode="m/d/yyyy">
                  <c:v>42755</c:v>
                </c:pt>
                <c:pt idx="5134" formatCode="m/d/yyyy">
                  <c:v>42756</c:v>
                </c:pt>
                <c:pt idx="5135" formatCode="m/d/yyyy">
                  <c:v>42757</c:v>
                </c:pt>
                <c:pt idx="5136" formatCode="m/d/yyyy">
                  <c:v>42758</c:v>
                </c:pt>
                <c:pt idx="5137" formatCode="m/d/yyyy">
                  <c:v>42759</c:v>
                </c:pt>
                <c:pt idx="5138" formatCode="m/d/yyyy">
                  <c:v>42760</c:v>
                </c:pt>
                <c:pt idx="5139" formatCode="m/d/yyyy">
                  <c:v>42761</c:v>
                </c:pt>
                <c:pt idx="5140" formatCode="m/d/yyyy">
                  <c:v>42762</c:v>
                </c:pt>
                <c:pt idx="5141" formatCode="m/d/yyyy">
                  <c:v>42763</c:v>
                </c:pt>
                <c:pt idx="5142" formatCode="m/d/yyyy">
                  <c:v>42764</c:v>
                </c:pt>
                <c:pt idx="5143" formatCode="m/d/yyyy">
                  <c:v>42765</c:v>
                </c:pt>
                <c:pt idx="5144" formatCode="m/d/yyyy">
                  <c:v>42766</c:v>
                </c:pt>
                <c:pt idx="5145" formatCode="m/d/yyyy">
                  <c:v>42767</c:v>
                </c:pt>
                <c:pt idx="5146" formatCode="m/d/yyyy">
                  <c:v>42768</c:v>
                </c:pt>
                <c:pt idx="5147" formatCode="m/d/yyyy">
                  <c:v>42769</c:v>
                </c:pt>
                <c:pt idx="5148" formatCode="m/d/yyyy">
                  <c:v>42770</c:v>
                </c:pt>
                <c:pt idx="5149" formatCode="m/d/yyyy">
                  <c:v>42771</c:v>
                </c:pt>
                <c:pt idx="5150" formatCode="m/d/yyyy">
                  <c:v>42772</c:v>
                </c:pt>
                <c:pt idx="5151" formatCode="m/d/yyyy">
                  <c:v>42773</c:v>
                </c:pt>
                <c:pt idx="5152" formatCode="m/d/yyyy">
                  <c:v>42774</c:v>
                </c:pt>
                <c:pt idx="5153" formatCode="m/d/yyyy">
                  <c:v>42775</c:v>
                </c:pt>
                <c:pt idx="5154" formatCode="m/d/yyyy">
                  <c:v>42776</c:v>
                </c:pt>
                <c:pt idx="5155" formatCode="m/d/yyyy">
                  <c:v>42777</c:v>
                </c:pt>
                <c:pt idx="5156" formatCode="m/d/yyyy">
                  <c:v>42778</c:v>
                </c:pt>
                <c:pt idx="5157" formatCode="m/d/yyyy">
                  <c:v>42779</c:v>
                </c:pt>
                <c:pt idx="5158" formatCode="m/d/yyyy">
                  <c:v>42780</c:v>
                </c:pt>
                <c:pt idx="5159" formatCode="m/d/yyyy">
                  <c:v>42781</c:v>
                </c:pt>
                <c:pt idx="5160" formatCode="m/d/yyyy">
                  <c:v>42782</c:v>
                </c:pt>
                <c:pt idx="5161" formatCode="m/d/yyyy">
                  <c:v>42783</c:v>
                </c:pt>
                <c:pt idx="5162" formatCode="m/d/yyyy">
                  <c:v>42784</c:v>
                </c:pt>
                <c:pt idx="5163" formatCode="m/d/yyyy">
                  <c:v>42785</c:v>
                </c:pt>
                <c:pt idx="5164" formatCode="m/d/yyyy">
                  <c:v>42786</c:v>
                </c:pt>
                <c:pt idx="5165" formatCode="m/d/yyyy">
                  <c:v>42787</c:v>
                </c:pt>
                <c:pt idx="5166" formatCode="m/d/yyyy">
                  <c:v>42788</c:v>
                </c:pt>
                <c:pt idx="5167" formatCode="m/d/yyyy">
                  <c:v>42789</c:v>
                </c:pt>
                <c:pt idx="5168" formatCode="m/d/yyyy">
                  <c:v>42790</c:v>
                </c:pt>
                <c:pt idx="5169" formatCode="m/d/yyyy">
                  <c:v>42791</c:v>
                </c:pt>
                <c:pt idx="5170" formatCode="m/d/yyyy">
                  <c:v>42792</c:v>
                </c:pt>
                <c:pt idx="5171" formatCode="m/d/yyyy">
                  <c:v>42793</c:v>
                </c:pt>
                <c:pt idx="5172" formatCode="m/d/yyyy">
                  <c:v>42794</c:v>
                </c:pt>
                <c:pt idx="5173" formatCode="m/d/yyyy">
                  <c:v>42795</c:v>
                </c:pt>
                <c:pt idx="5174" formatCode="m/d/yyyy">
                  <c:v>42796</c:v>
                </c:pt>
                <c:pt idx="5175" formatCode="m/d/yyyy">
                  <c:v>42797</c:v>
                </c:pt>
                <c:pt idx="5176" formatCode="m/d/yyyy">
                  <c:v>42798</c:v>
                </c:pt>
                <c:pt idx="5177" formatCode="m/d/yyyy">
                  <c:v>42799</c:v>
                </c:pt>
                <c:pt idx="5178" formatCode="m/d/yyyy">
                  <c:v>42800</c:v>
                </c:pt>
                <c:pt idx="5179" formatCode="m/d/yyyy">
                  <c:v>42801</c:v>
                </c:pt>
                <c:pt idx="5180" formatCode="m/d/yyyy">
                  <c:v>42802</c:v>
                </c:pt>
                <c:pt idx="5181" formatCode="m/d/yyyy">
                  <c:v>42803</c:v>
                </c:pt>
                <c:pt idx="5182" formatCode="m/d/yyyy">
                  <c:v>42804</c:v>
                </c:pt>
                <c:pt idx="5183" formatCode="m/d/yyyy">
                  <c:v>42805</c:v>
                </c:pt>
                <c:pt idx="5184" formatCode="m/d/yyyy">
                  <c:v>42806</c:v>
                </c:pt>
                <c:pt idx="5185" formatCode="m/d/yyyy">
                  <c:v>42807</c:v>
                </c:pt>
                <c:pt idx="5186" formatCode="m/d/yyyy">
                  <c:v>42808</c:v>
                </c:pt>
                <c:pt idx="5187" formatCode="m/d/yyyy">
                  <c:v>42809</c:v>
                </c:pt>
                <c:pt idx="5188" formatCode="m/d/yyyy">
                  <c:v>42810</c:v>
                </c:pt>
                <c:pt idx="5189" formatCode="m/d/yyyy">
                  <c:v>42811</c:v>
                </c:pt>
                <c:pt idx="5190" formatCode="m/d/yyyy">
                  <c:v>42812</c:v>
                </c:pt>
                <c:pt idx="5191" formatCode="m/d/yyyy">
                  <c:v>42813</c:v>
                </c:pt>
                <c:pt idx="5192" formatCode="m/d/yyyy">
                  <c:v>42814</c:v>
                </c:pt>
                <c:pt idx="5193" formatCode="m/d/yyyy">
                  <c:v>42815</c:v>
                </c:pt>
                <c:pt idx="5194" formatCode="m/d/yyyy">
                  <c:v>42816</c:v>
                </c:pt>
                <c:pt idx="5195" formatCode="m/d/yyyy">
                  <c:v>42817</c:v>
                </c:pt>
                <c:pt idx="5196" formatCode="m/d/yyyy">
                  <c:v>42818</c:v>
                </c:pt>
                <c:pt idx="5197" formatCode="m/d/yyyy">
                  <c:v>42819</c:v>
                </c:pt>
                <c:pt idx="5198" formatCode="m/d/yyyy">
                  <c:v>42820</c:v>
                </c:pt>
                <c:pt idx="5199" formatCode="m/d/yyyy">
                  <c:v>42821</c:v>
                </c:pt>
                <c:pt idx="5200" formatCode="m/d/yyyy">
                  <c:v>42822</c:v>
                </c:pt>
                <c:pt idx="5201" formatCode="m/d/yyyy">
                  <c:v>42823</c:v>
                </c:pt>
                <c:pt idx="5202" formatCode="m/d/yyyy">
                  <c:v>42824</c:v>
                </c:pt>
                <c:pt idx="5203" formatCode="m/d/yyyy">
                  <c:v>42825</c:v>
                </c:pt>
                <c:pt idx="5204" formatCode="m/d/yyyy">
                  <c:v>42826</c:v>
                </c:pt>
                <c:pt idx="5205" formatCode="m/d/yyyy">
                  <c:v>42827</c:v>
                </c:pt>
                <c:pt idx="5206" formatCode="m/d/yyyy">
                  <c:v>42828</c:v>
                </c:pt>
                <c:pt idx="5207" formatCode="m/d/yyyy">
                  <c:v>42829</c:v>
                </c:pt>
                <c:pt idx="5208" formatCode="m/d/yyyy">
                  <c:v>42830</c:v>
                </c:pt>
                <c:pt idx="5209" formatCode="m/d/yyyy">
                  <c:v>42831</c:v>
                </c:pt>
                <c:pt idx="5210" formatCode="m/d/yyyy">
                  <c:v>42832</c:v>
                </c:pt>
                <c:pt idx="5211" formatCode="m/d/yyyy">
                  <c:v>42833</c:v>
                </c:pt>
                <c:pt idx="5212" formatCode="m/d/yyyy">
                  <c:v>42834</c:v>
                </c:pt>
                <c:pt idx="5213" formatCode="m/d/yyyy">
                  <c:v>42835</c:v>
                </c:pt>
                <c:pt idx="5214" formatCode="m/d/yyyy">
                  <c:v>42836</c:v>
                </c:pt>
                <c:pt idx="5215" formatCode="m/d/yyyy">
                  <c:v>42837</c:v>
                </c:pt>
                <c:pt idx="5216" formatCode="m/d/yyyy">
                  <c:v>42838</c:v>
                </c:pt>
                <c:pt idx="5217" formatCode="m/d/yyyy">
                  <c:v>42839</c:v>
                </c:pt>
                <c:pt idx="5218" formatCode="m/d/yyyy">
                  <c:v>42840</c:v>
                </c:pt>
                <c:pt idx="5219" formatCode="m/d/yyyy">
                  <c:v>42841</c:v>
                </c:pt>
                <c:pt idx="5220" formatCode="m/d/yyyy">
                  <c:v>42842</c:v>
                </c:pt>
                <c:pt idx="5221" formatCode="m/d/yyyy">
                  <c:v>42843</c:v>
                </c:pt>
                <c:pt idx="5222" formatCode="m/d/yyyy">
                  <c:v>42844</c:v>
                </c:pt>
                <c:pt idx="5223" formatCode="m/d/yyyy">
                  <c:v>42845</c:v>
                </c:pt>
                <c:pt idx="5224" formatCode="m/d/yyyy">
                  <c:v>42846</c:v>
                </c:pt>
                <c:pt idx="5225" formatCode="m/d/yyyy">
                  <c:v>42847</c:v>
                </c:pt>
                <c:pt idx="5226" formatCode="m/d/yyyy">
                  <c:v>42848</c:v>
                </c:pt>
                <c:pt idx="5227" formatCode="m/d/yyyy">
                  <c:v>42849</c:v>
                </c:pt>
                <c:pt idx="5228" formatCode="m/d/yyyy">
                  <c:v>42850</c:v>
                </c:pt>
                <c:pt idx="5229" formatCode="m/d/yyyy">
                  <c:v>42851</c:v>
                </c:pt>
                <c:pt idx="5230" formatCode="m/d/yyyy">
                  <c:v>42852</c:v>
                </c:pt>
                <c:pt idx="5231" formatCode="m/d/yyyy">
                  <c:v>42853</c:v>
                </c:pt>
                <c:pt idx="5232" formatCode="m/d/yyyy">
                  <c:v>42854</c:v>
                </c:pt>
                <c:pt idx="5233" formatCode="m/d/yyyy">
                  <c:v>42855</c:v>
                </c:pt>
                <c:pt idx="5234" formatCode="m/d/yyyy">
                  <c:v>42856</c:v>
                </c:pt>
                <c:pt idx="5235" formatCode="m/d/yyyy">
                  <c:v>42857</c:v>
                </c:pt>
                <c:pt idx="5236" formatCode="m/d/yyyy">
                  <c:v>42858</c:v>
                </c:pt>
                <c:pt idx="5237" formatCode="m/d/yyyy">
                  <c:v>42859</c:v>
                </c:pt>
                <c:pt idx="5238" formatCode="m/d/yyyy">
                  <c:v>42860</c:v>
                </c:pt>
                <c:pt idx="5239" formatCode="m/d/yyyy">
                  <c:v>42861</c:v>
                </c:pt>
                <c:pt idx="5240" formatCode="m/d/yyyy">
                  <c:v>42862</c:v>
                </c:pt>
                <c:pt idx="5241" formatCode="m/d/yyyy">
                  <c:v>42863</c:v>
                </c:pt>
                <c:pt idx="5242" formatCode="m/d/yyyy">
                  <c:v>42864</c:v>
                </c:pt>
                <c:pt idx="5243" formatCode="m/d/yyyy">
                  <c:v>42865</c:v>
                </c:pt>
                <c:pt idx="5244" formatCode="m/d/yyyy">
                  <c:v>42866</c:v>
                </c:pt>
                <c:pt idx="5245" formatCode="m/d/yyyy">
                  <c:v>42867</c:v>
                </c:pt>
                <c:pt idx="5246" formatCode="m/d/yyyy">
                  <c:v>42868</c:v>
                </c:pt>
                <c:pt idx="5247" formatCode="m/d/yyyy">
                  <c:v>42869</c:v>
                </c:pt>
                <c:pt idx="5248" formatCode="m/d/yyyy">
                  <c:v>42870</c:v>
                </c:pt>
                <c:pt idx="5249" formatCode="m/d/yyyy">
                  <c:v>42871</c:v>
                </c:pt>
                <c:pt idx="5250" formatCode="m/d/yyyy">
                  <c:v>42872</c:v>
                </c:pt>
                <c:pt idx="5251" formatCode="m/d/yyyy">
                  <c:v>42873</c:v>
                </c:pt>
                <c:pt idx="5252" formatCode="m/d/yyyy">
                  <c:v>42874</c:v>
                </c:pt>
                <c:pt idx="5253" formatCode="m/d/yyyy">
                  <c:v>42875</c:v>
                </c:pt>
                <c:pt idx="5254" formatCode="m/d/yyyy">
                  <c:v>42876</c:v>
                </c:pt>
                <c:pt idx="5255" formatCode="m/d/yyyy">
                  <c:v>42877</c:v>
                </c:pt>
                <c:pt idx="5256" formatCode="m/d/yyyy">
                  <c:v>42878</c:v>
                </c:pt>
                <c:pt idx="5257" formatCode="m/d/yyyy">
                  <c:v>42879</c:v>
                </c:pt>
                <c:pt idx="5258" formatCode="m/d/yyyy">
                  <c:v>42880</c:v>
                </c:pt>
                <c:pt idx="5259" formatCode="m/d/yyyy">
                  <c:v>42881</c:v>
                </c:pt>
                <c:pt idx="5260" formatCode="m/d/yyyy">
                  <c:v>42882</c:v>
                </c:pt>
                <c:pt idx="5261" formatCode="m/d/yyyy">
                  <c:v>42883</c:v>
                </c:pt>
                <c:pt idx="5262" formatCode="m/d/yyyy">
                  <c:v>42884</c:v>
                </c:pt>
                <c:pt idx="5263" formatCode="m/d/yyyy">
                  <c:v>42885</c:v>
                </c:pt>
                <c:pt idx="5264" formatCode="m/d/yyyy">
                  <c:v>42886</c:v>
                </c:pt>
                <c:pt idx="5265" formatCode="m/d/yyyy">
                  <c:v>42887</c:v>
                </c:pt>
                <c:pt idx="5266" formatCode="m/d/yyyy">
                  <c:v>42888</c:v>
                </c:pt>
                <c:pt idx="5267" formatCode="m/d/yyyy">
                  <c:v>42889</c:v>
                </c:pt>
                <c:pt idx="5268" formatCode="m/d/yyyy">
                  <c:v>42890</c:v>
                </c:pt>
                <c:pt idx="5269" formatCode="m/d/yyyy">
                  <c:v>42891</c:v>
                </c:pt>
                <c:pt idx="5270" formatCode="m/d/yyyy">
                  <c:v>42892</c:v>
                </c:pt>
                <c:pt idx="5271" formatCode="m/d/yyyy">
                  <c:v>42893</c:v>
                </c:pt>
                <c:pt idx="5272" formatCode="m/d/yyyy">
                  <c:v>42894</c:v>
                </c:pt>
                <c:pt idx="5273" formatCode="m/d/yyyy">
                  <c:v>42895</c:v>
                </c:pt>
                <c:pt idx="5274" formatCode="m/d/yyyy">
                  <c:v>42896</c:v>
                </c:pt>
                <c:pt idx="5275" formatCode="m/d/yyyy">
                  <c:v>42897</c:v>
                </c:pt>
                <c:pt idx="5276" formatCode="m/d/yyyy">
                  <c:v>42898</c:v>
                </c:pt>
                <c:pt idx="5277" formatCode="m/d/yyyy">
                  <c:v>42899</c:v>
                </c:pt>
                <c:pt idx="5278" formatCode="m/d/yyyy">
                  <c:v>42900</c:v>
                </c:pt>
                <c:pt idx="5279" formatCode="m/d/yyyy">
                  <c:v>42901</c:v>
                </c:pt>
                <c:pt idx="5280" formatCode="m/d/yyyy">
                  <c:v>42902</c:v>
                </c:pt>
                <c:pt idx="5281" formatCode="m/d/yyyy">
                  <c:v>42903</c:v>
                </c:pt>
                <c:pt idx="5282" formatCode="m/d/yyyy">
                  <c:v>42904</c:v>
                </c:pt>
                <c:pt idx="5283" formatCode="m/d/yyyy">
                  <c:v>42905</c:v>
                </c:pt>
                <c:pt idx="5284" formatCode="m/d/yyyy">
                  <c:v>42906</c:v>
                </c:pt>
                <c:pt idx="5285" formatCode="m/d/yyyy">
                  <c:v>42907</c:v>
                </c:pt>
                <c:pt idx="5286" formatCode="m/d/yyyy">
                  <c:v>42908</c:v>
                </c:pt>
                <c:pt idx="5287" formatCode="m/d/yyyy">
                  <c:v>42909</c:v>
                </c:pt>
                <c:pt idx="5288" formatCode="m/d/yyyy">
                  <c:v>42910</c:v>
                </c:pt>
                <c:pt idx="5289" formatCode="m/d/yyyy">
                  <c:v>42911</c:v>
                </c:pt>
                <c:pt idx="5290" formatCode="m/d/yyyy">
                  <c:v>42912</c:v>
                </c:pt>
                <c:pt idx="5291" formatCode="m/d/yyyy">
                  <c:v>42913</c:v>
                </c:pt>
                <c:pt idx="5292" formatCode="m/d/yyyy">
                  <c:v>42914</c:v>
                </c:pt>
                <c:pt idx="5293" formatCode="m/d/yyyy">
                  <c:v>42915</c:v>
                </c:pt>
                <c:pt idx="5294" formatCode="m/d/yyyy">
                  <c:v>42916</c:v>
                </c:pt>
                <c:pt idx="5295" formatCode="m/d/yyyy">
                  <c:v>42917</c:v>
                </c:pt>
                <c:pt idx="5296" formatCode="m/d/yyyy">
                  <c:v>42918</c:v>
                </c:pt>
                <c:pt idx="5297" formatCode="m/d/yyyy">
                  <c:v>42919</c:v>
                </c:pt>
                <c:pt idx="5298" formatCode="m/d/yyyy">
                  <c:v>42920</c:v>
                </c:pt>
                <c:pt idx="5299" formatCode="m/d/yyyy">
                  <c:v>42921</c:v>
                </c:pt>
                <c:pt idx="5300" formatCode="m/d/yyyy">
                  <c:v>42922</c:v>
                </c:pt>
                <c:pt idx="5301" formatCode="m/d/yyyy">
                  <c:v>42923</c:v>
                </c:pt>
                <c:pt idx="5302" formatCode="m/d/yyyy">
                  <c:v>42924</c:v>
                </c:pt>
                <c:pt idx="5303" formatCode="m/d/yyyy">
                  <c:v>42925</c:v>
                </c:pt>
                <c:pt idx="5304" formatCode="m/d/yyyy">
                  <c:v>42926</c:v>
                </c:pt>
                <c:pt idx="5305" formatCode="m/d/yyyy">
                  <c:v>42927</c:v>
                </c:pt>
                <c:pt idx="5306" formatCode="m/d/yyyy">
                  <c:v>42928</c:v>
                </c:pt>
                <c:pt idx="5307" formatCode="m/d/yyyy">
                  <c:v>42929</c:v>
                </c:pt>
                <c:pt idx="5308" formatCode="m/d/yyyy">
                  <c:v>42930</c:v>
                </c:pt>
                <c:pt idx="5309" formatCode="m/d/yyyy">
                  <c:v>42931</c:v>
                </c:pt>
                <c:pt idx="5310" formatCode="m/d/yyyy">
                  <c:v>42932</c:v>
                </c:pt>
                <c:pt idx="5311" formatCode="m/d/yyyy">
                  <c:v>42933</c:v>
                </c:pt>
                <c:pt idx="5312" formatCode="m/d/yyyy">
                  <c:v>42934</c:v>
                </c:pt>
                <c:pt idx="5313" formatCode="m/d/yyyy">
                  <c:v>42935</c:v>
                </c:pt>
                <c:pt idx="5314" formatCode="m/d/yyyy">
                  <c:v>42936</c:v>
                </c:pt>
                <c:pt idx="5315" formatCode="m/d/yyyy">
                  <c:v>42937</c:v>
                </c:pt>
                <c:pt idx="5316" formatCode="m/d/yyyy">
                  <c:v>42938</c:v>
                </c:pt>
                <c:pt idx="5317" formatCode="m/d/yyyy">
                  <c:v>42939</c:v>
                </c:pt>
                <c:pt idx="5318" formatCode="m/d/yyyy">
                  <c:v>42940</c:v>
                </c:pt>
                <c:pt idx="5319" formatCode="m/d/yyyy">
                  <c:v>42941</c:v>
                </c:pt>
                <c:pt idx="5320" formatCode="m/d/yyyy">
                  <c:v>42942</c:v>
                </c:pt>
                <c:pt idx="5321" formatCode="m/d/yyyy">
                  <c:v>42943</c:v>
                </c:pt>
                <c:pt idx="5322" formatCode="m/d/yyyy">
                  <c:v>42944</c:v>
                </c:pt>
                <c:pt idx="5323" formatCode="m/d/yyyy">
                  <c:v>42945</c:v>
                </c:pt>
                <c:pt idx="5324" formatCode="m/d/yyyy">
                  <c:v>42946</c:v>
                </c:pt>
                <c:pt idx="5325" formatCode="m/d/yyyy">
                  <c:v>42947</c:v>
                </c:pt>
                <c:pt idx="5326" formatCode="m/d/yyyy">
                  <c:v>42948</c:v>
                </c:pt>
                <c:pt idx="5327" formatCode="m/d/yyyy">
                  <c:v>42949</c:v>
                </c:pt>
                <c:pt idx="5328" formatCode="m/d/yyyy">
                  <c:v>42950</c:v>
                </c:pt>
                <c:pt idx="5329" formatCode="m/d/yyyy">
                  <c:v>42951</c:v>
                </c:pt>
                <c:pt idx="5330" formatCode="m/d/yyyy">
                  <c:v>42952</c:v>
                </c:pt>
                <c:pt idx="5331" formatCode="m/d/yyyy">
                  <c:v>42953</c:v>
                </c:pt>
                <c:pt idx="5332" formatCode="m/d/yyyy">
                  <c:v>42954</c:v>
                </c:pt>
                <c:pt idx="5333" formatCode="m/d/yyyy">
                  <c:v>42955</c:v>
                </c:pt>
                <c:pt idx="5334" formatCode="m/d/yyyy">
                  <c:v>42956</c:v>
                </c:pt>
                <c:pt idx="5335" formatCode="m/d/yyyy">
                  <c:v>42957</c:v>
                </c:pt>
                <c:pt idx="5336" formatCode="m/d/yyyy">
                  <c:v>42958</c:v>
                </c:pt>
                <c:pt idx="5337" formatCode="m/d/yyyy">
                  <c:v>42959</c:v>
                </c:pt>
                <c:pt idx="5338" formatCode="m/d/yyyy">
                  <c:v>42960</c:v>
                </c:pt>
                <c:pt idx="5339" formatCode="m/d/yyyy">
                  <c:v>42961</c:v>
                </c:pt>
                <c:pt idx="5340" formatCode="m/d/yyyy">
                  <c:v>42962</c:v>
                </c:pt>
                <c:pt idx="5341" formatCode="m/d/yyyy">
                  <c:v>42963</c:v>
                </c:pt>
                <c:pt idx="5342" formatCode="m/d/yyyy">
                  <c:v>42964</c:v>
                </c:pt>
                <c:pt idx="5343" formatCode="m/d/yyyy">
                  <c:v>42965</c:v>
                </c:pt>
                <c:pt idx="5344" formatCode="m/d/yyyy">
                  <c:v>42966</c:v>
                </c:pt>
                <c:pt idx="5345" formatCode="m/d/yyyy">
                  <c:v>42967</c:v>
                </c:pt>
                <c:pt idx="5346" formatCode="m/d/yyyy">
                  <c:v>42968</c:v>
                </c:pt>
                <c:pt idx="5347" formatCode="m/d/yyyy">
                  <c:v>42969</c:v>
                </c:pt>
                <c:pt idx="5348" formatCode="m/d/yyyy">
                  <c:v>42970</c:v>
                </c:pt>
                <c:pt idx="5349" formatCode="m/d/yyyy">
                  <c:v>42971</c:v>
                </c:pt>
                <c:pt idx="5350" formatCode="m/d/yyyy">
                  <c:v>42972</c:v>
                </c:pt>
                <c:pt idx="5351" formatCode="m/d/yyyy">
                  <c:v>42973</c:v>
                </c:pt>
                <c:pt idx="5352" formatCode="m/d/yyyy">
                  <c:v>42974</c:v>
                </c:pt>
                <c:pt idx="5353" formatCode="m/d/yyyy">
                  <c:v>42975</c:v>
                </c:pt>
                <c:pt idx="5354" formatCode="m/d/yyyy">
                  <c:v>42976</c:v>
                </c:pt>
                <c:pt idx="5355" formatCode="m/d/yyyy">
                  <c:v>42977</c:v>
                </c:pt>
                <c:pt idx="5356" formatCode="m/d/yyyy">
                  <c:v>42978</c:v>
                </c:pt>
                <c:pt idx="5357" formatCode="m/d/yyyy">
                  <c:v>42979</c:v>
                </c:pt>
                <c:pt idx="5358" formatCode="m/d/yyyy">
                  <c:v>42980</c:v>
                </c:pt>
                <c:pt idx="5359" formatCode="m/d/yyyy">
                  <c:v>42981</c:v>
                </c:pt>
                <c:pt idx="5360" formatCode="m/d/yyyy">
                  <c:v>42982</c:v>
                </c:pt>
                <c:pt idx="5361" formatCode="m/d/yyyy">
                  <c:v>42983</c:v>
                </c:pt>
                <c:pt idx="5362" formatCode="m/d/yyyy">
                  <c:v>42984</c:v>
                </c:pt>
                <c:pt idx="5363" formatCode="m/d/yyyy">
                  <c:v>42985</c:v>
                </c:pt>
                <c:pt idx="5364" formatCode="m/d/yyyy">
                  <c:v>42986</c:v>
                </c:pt>
                <c:pt idx="5365" formatCode="m/d/yyyy">
                  <c:v>42987</c:v>
                </c:pt>
                <c:pt idx="5366" formatCode="m/d/yyyy">
                  <c:v>42988</c:v>
                </c:pt>
                <c:pt idx="5367" formatCode="m/d/yyyy">
                  <c:v>42989</c:v>
                </c:pt>
                <c:pt idx="5368" formatCode="m/d/yyyy">
                  <c:v>42990</c:v>
                </c:pt>
                <c:pt idx="5369" formatCode="m/d/yyyy">
                  <c:v>42991</c:v>
                </c:pt>
                <c:pt idx="5370" formatCode="m/d/yyyy">
                  <c:v>42992</c:v>
                </c:pt>
                <c:pt idx="5371" formatCode="m/d/yyyy">
                  <c:v>42993</c:v>
                </c:pt>
                <c:pt idx="5372" formatCode="m/d/yyyy">
                  <c:v>42994</c:v>
                </c:pt>
                <c:pt idx="5373" formatCode="m/d/yyyy">
                  <c:v>42995</c:v>
                </c:pt>
                <c:pt idx="5374" formatCode="m/d/yyyy">
                  <c:v>42996</c:v>
                </c:pt>
                <c:pt idx="5375" formatCode="m/d/yyyy">
                  <c:v>42997</c:v>
                </c:pt>
                <c:pt idx="5376" formatCode="m/d/yyyy">
                  <c:v>42998</c:v>
                </c:pt>
                <c:pt idx="5377" formatCode="m/d/yyyy">
                  <c:v>42999</c:v>
                </c:pt>
                <c:pt idx="5378" formatCode="m/d/yyyy">
                  <c:v>43000</c:v>
                </c:pt>
                <c:pt idx="5379" formatCode="m/d/yyyy">
                  <c:v>43001</c:v>
                </c:pt>
                <c:pt idx="5380" formatCode="m/d/yyyy">
                  <c:v>43002</c:v>
                </c:pt>
                <c:pt idx="5381" formatCode="m/d/yyyy">
                  <c:v>43003</c:v>
                </c:pt>
                <c:pt idx="5382" formatCode="m/d/yyyy">
                  <c:v>43004</c:v>
                </c:pt>
                <c:pt idx="5383" formatCode="m/d/yyyy">
                  <c:v>43005</c:v>
                </c:pt>
                <c:pt idx="5384" formatCode="m/d/yyyy">
                  <c:v>43006</c:v>
                </c:pt>
                <c:pt idx="5385" formatCode="m/d/yyyy">
                  <c:v>43007</c:v>
                </c:pt>
                <c:pt idx="5386" formatCode="m/d/yyyy">
                  <c:v>43008</c:v>
                </c:pt>
                <c:pt idx="5387" formatCode="m/d/yyyy">
                  <c:v>43009</c:v>
                </c:pt>
                <c:pt idx="5388" formatCode="m/d/yyyy">
                  <c:v>43010</c:v>
                </c:pt>
                <c:pt idx="5389" formatCode="m/d/yyyy">
                  <c:v>43011</c:v>
                </c:pt>
                <c:pt idx="5390" formatCode="m/d/yyyy">
                  <c:v>43012</c:v>
                </c:pt>
                <c:pt idx="5391" formatCode="m/d/yyyy">
                  <c:v>43013</c:v>
                </c:pt>
                <c:pt idx="5392" formatCode="m/d/yyyy">
                  <c:v>43014</c:v>
                </c:pt>
                <c:pt idx="5393" formatCode="m/d/yyyy">
                  <c:v>43015</c:v>
                </c:pt>
                <c:pt idx="5394" formatCode="m/d/yyyy">
                  <c:v>43016</c:v>
                </c:pt>
                <c:pt idx="5395" formatCode="m/d/yyyy">
                  <c:v>43017</c:v>
                </c:pt>
                <c:pt idx="5396" formatCode="m/d/yyyy">
                  <c:v>43018</c:v>
                </c:pt>
                <c:pt idx="5397" formatCode="m/d/yyyy">
                  <c:v>43019</c:v>
                </c:pt>
                <c:pt idx="5398" formatCode="m/d/yyyy">
                  <c:v>43020</c:v>
                </c:pt>
                <c:pt idx="5399" formatCode="m/d/yyyy">
                  <c:v>43021</c:v>
                </c:pt>
                <c:pt idx="5400" formatCode="m/d/yyyy">
                  <c:v>43022</c:v>
                </c:pt>
                <c:pt idx="5401" formatCode="m/d/yyyy">
                  <c:v>43023</c:v>
                </c:pt>
                <c:pt idx="5402" formatCode="m/d/yyyy">
                  <c:v>43024</c:v>
                </c:pt>
                <c:pt idx="5403" formatCode="m/d/yyyy">
                  <c:v>43025</c:v>
                </c:pt>
                <c:pt idx="5404" formatCode="m/d/yyyy">
                  <c:v>43026</c:v>
                </c:pt>
                <c:pt idx="5405" formatCode="m/d/yyyy">
                  <c:v>43027</c:v>
                </c:pt>
                <c:pt idx="5406" formatCode="m/d/yyyy">
                  <c:v>43028</c:v>
                </c:pt>
                <c:pt idx="5407" formatCode="m/d/yyyy">
                  <c:v>43029</c:v>
                </c:pt>
                <c:pt idx="5408" formatCode="m/d/yyyy">
                  <c:v>43030</c:v>
                </c:pt>
                <c:pt idx="5409" formatCode="m/d/yyyy">
                  <c:v>43031</c:v>
                </c:pt>
                <c:pt idx="5410" formatCode="m/d/yyyy">
                  <c:v>43032</c:v>
                </c:pt>
                <c:pt idx="5411" formatCode="m/d/yyyy">
                  <c:v>43033</c:v>
                </c:pt>
                <c:pt idx="5412" formatCode="m/d/yyyy">
                  <c:v>43034</c:v>
                </c:pt>
                <c:pt idx="5413" formatCode="m/d/yyyy">
                  <c:v>43035</c:v>
                </c:pt>
                <c:pt idx="5414" formatCode="m/d/yyyy">
                  <c:v>43036</c:v>
                </c:pt>
                <c:pt idx="5415" formatCode="m/d/yyyy">
                  <c:v>43037</c:v>
                </c:pt>
                <c:pt idx="5416" formatCode="m/d/yyyy">
                  <c:v>43038</c:v>
                </c:pt>
                <c:pt idx="5417" formatCode="m/d/yyyy">
                  <c:v>43039</c:v>
                </c:pt>
                <c:pt idx="5418" formatCode="m/d/yyyy">
                  <c:v>43040</c:v>
                </c:pt>
                <c:pt idx="5419" formatCode="m/d/yyyy">
                  <c:v>43041</c:v>
                </c:pt>
                <c:pt idx="5420" formatCode="m/d/yyyy">
                  <c:v>43042</c:v>
                </c:pt>
                <c:pt idx="5421" formatCode="m/d/yyyy">
                  <c:v>43043</c:v>
                </c:pt>
                <c:pt idx="5422" formatCode="m/d/yyyy">
                  <c:v>43044</c:v>
                </c:pt>
                <c:pt idx="5423" formatCode="m/d/yyyy">
                  <c:v>43045</c:v>
                </c:pt>
                <c:pt idx="5424" formatCode="m/d/yyyy">
                  <c:v>43046</c:v>
                </c:pt>
                <c:pt idx="5425" formatCode="m/d/yyyy">
                  <c:v>43047</c:v>
                </c:pt>
                <c:pt idx="5426" formatCode="m/d/yyyy">
                  <c:v>43048</c:v>
                </c:pt>
                <c:pt idx="5427" formatCode="m/d/yyyy">
                  <c:v>43049</c:v>
                </c:pt>
                <c:pt idx="5428" formatCode="m/d/yyyy">
                  <c:v>43050</c:v>
                </c:pt>
                <c:pt idx="5429" formatCode="m/d/yyyy">
                  <c:v>43051</c:v>
                </c:pt>
                <c:pt idx="5430" formatCode="m/d/yyyy">
                  <c:v>43052</c:v>
                </c:pt>
                <c:pt idx="5431" formatCode="m/d/yyyy">
                  <c:v>43053</c:v>
                </c:pt>
                <c:pt idx="5432" formatCode="m/d/yyyy">
                  <c:v>43054</c:v>
                </c:pt>
                <c:pt idx="5433" formatCode="m/d/yyyy">
                  <c:v>43055</c:v>
                </c:pt>
                <c:pt idx="5434" formatCode="m/d/yyyy">
                  <c:v>43056</c:v>
                </c:pt>
                <c:pt idx="5435" formatCode="m/d/yyyy">
                  <c:v>43057</c:v>
                </c:pt>
                <c:pt idx="5436" formatCode="m/d/yyyy">
                  <c:v>43058</c:v>
                </c:pt>
                <c:pt idx="5437" formatCode="m/d/yyyy">
                  <c:v>43059</c:v>
                </c:pt>
                <c:pt idx="5438" formatCode="m/d/yyyy">
                  <c:v>43060</c:v>
                </c:pt>
                <c:pt idx="5439" formatCode="m/d/yyyy">
                  <c:v>43061</c:v>
                </c:pt>
                <c:pt idx="5440" formatCode="m/d/yyyy">
                  <c:v>43062</c:v>
                </c:pt>
                <c:pt idx="5441" formatCode="m/d/yyyy">
                  <c:v>43063</c:v>
                </c:pt>
                <c:pt idx="5442" formatCode="m/d/yyyy">
                  <c:v>43064</c:v>
                </c:pt>
                <c:pt idx="5443" formatCode="m/d/yyyy">
                  <c:v>43065</c:v>
                </c:pt>
                <c:pt idx="5444" formatCode="m/d/yyyy">
                  <c:v>43066</c:v>
                </c:pt>
                <c:pt idx="5445" formatCode="m/d/yyyy">
                  <c:v>43067</c:v>
                </c:pt>
                <c:pt idx="5446" formatCode="m/d/yyyy">
                  <c:v>43068</c:v>
                </c:pt>
                <c:pt idx="5447" formatCode="m/d/yyyy">
                  <c:v>43069</c:v>
                </c:pt>
                <c:pt idx="5448" formatCode="m/d/yyyy">
                  <c:v>43070</c:v>
                </c:pt>
                <c:pt idx="5449" formatCode="m/d/yyyy">
                  <c:v>43071</c:v>
                </c:pt>
                <c:pt idx="5450" formatCode="m/d/yyyy">
                  <c:v>43072</c:v>
                </c:pt>
                <c:pt idx="5451" formatCode="m/d/yyyy">
                  <c:v>43073</c:v>
                </c:pt>
                <c:pt idx="5452" formatCode="m/d/yyyy">
                  <c:v>43074</c:v>
                </c:pt>
                <c:pt idx="5453" formatCode="m/d/yyyy">
                  <c:v>43075</c:v>
                </c:pt>
                <c:pt idx="5454" formatCode="m/d/yyyy">
                  <c:v>43076</c:v>
                </c:pt>
                <c:pt idx="5455" formatCode="m/d/yyyy">
                  <c:v>43077</c:v>
                </c:pt>
                <c:pt idx="5456" formatCode="m/d/yyyy">
                  <c:v>43078</c:v>
                </c:pt>
                <c:pt idx="5457" formatCode="m/d/yyyy">
                  <c:v>43079</c:v>
                </c:pt>
                <c:pt idx="5458" formatCode="m/d/yyyy">
                  <c:v>43080</c:v>
                </c:pt>
                <c:pt idx="5459" formatCode="m/d/yyyy">
                  <c:v>43081</c:v>
                </c:pt>
                <c:pt idx="5460" formatCode="m/d/yyyy">
                  <c:v>43082</c:v>
                </c:pt>
                <c:pt idx="5461" formatCode="m/d/yyyy">
                  <c:v>43083</c:v>
                </c:pt>
                <c:pt idx="5462" formatCode="m/d/yyyy">
                  <c:v>43084</c:v>
                </c:pt>
                <c:pt idx="5463" formatCode="m/d/yyyy">
                  <c:v>43085</c:v>
                </c:pt>
                <c:pt idx="5464" formatCode="m/d/yyyy">
                  <c:v>43086</c:v>
                </c:pt>
                <c:pt idx="5465" formatCode="m/d/yyyy">
                  <c:v>43087</c:v>
                </c:pt>
                <c:pt idx="5466" formatCode="m/d/yyyy">
                  <c:v>43088</c:v>
                </c:pt>
                <c:pt idx="5467" formatCode="m/d/yyyy">
                  <c:v>43089</c:v>
                </c:pt>
                <c:pt idx="5468" formatCode="m/d/yyyy">
                  <c:v>43090</c:v>
                </c:pt>
                <c:pt idx="5469" formatCode="m/d/yyyy">
                  <c:v>43091</c:v>
                </c:pt>
                <c:pt idx="5470" formatCode="m/d/yyyy">
                  <c:v>43092</c:v>
                </c:pt>
                <c:pt idx="5471" formatCode="m/d/yyyy">
                  <c:v>43093</c:v>
                </c:pt>
                <c:pt idx="5472" formatCode="m/d/yyyy">
                  <c:v>43094</c:v>
                </c:pt>
                <c:pt idx="5473" formatCode="m/d/yyyy">
                  <c:v>43095</c:v>
                </c:pt>
                <c:pt idx="5474" formatCode="m/d/yyyy">
                  <c:v>43096</c:v>
                </c:pt>
                <c:pt idx="5475" formatCode="m/d/yyyy">
                  <c:v>43097</c:v>
                </c:pt>
                <c:pt idx="5476" formatCode="m/d/yyyy">
                  <c:v>43098</c:v>
                </c:pt>
                <c:pt idx="5477" formatCode="m/d/yyyy">
                  <c:v>43099</c:v>
                </c:pt>
                <c:pt idx="5478" formatCode="m/d/yyyy">
                  <c:v>43100</c:v>
                </c:pt>
                <c:pt idx="5479" formatCode="m/d/yyyy">
                  <c:v>43101</c:v>
                </c:pt>
                <c:pt idx="5480" formatCode="m/d/yyyy">
                  <c:v>43102</c:v>
                </c:pt>
                <c:pt idx="5481" formatCode="m/d/yyyy">
                  <c:v>43103</c:v>
                </c:pt>
                <c:pt idx="5482" formatCode="m/d/yyyy">
                  <c:v>43104</c:v>
                </c:pt>
                <c:pt idx="5483" formatCode="m/d/yyyy">
                  <c:v>43105</c:v>
                </c:pt>
                <c:pt idx="5484" formatCode="m/d/yyyy">
                  <c:v>43106</c:v>
                </c:pt>
                <c:pt idx="5485" formatCode="m/d/yyyy">
                  <c:v>43107</c:v>
                </c:pt>
                <c:pt idx="5486" formatCode="m/d/yyyy">
                  <c:v>43108</c:v>
                </c:pt>
                <c:pt idx="5487" formatCode="m/d/yyyy">
                  <c:v>43109</c:v>
                </c:pt>
                <c:pt idx="5488" formatCode="m/d/yyyy">
                  <c:v>43110</c:v>
                </c:pt>
                <c:pt idx="5489" formatCode="m/d/yyyy">
                  <c:v>43111</c:v>
                </c:pt>
                <c:pt idx="5490" formatCode="m/d/yyyy">
                  <c:v>43112</c:v>
                </c:pt>
                <c:pt idx="5491" formatCode="m/d/yyyy">
                  <c:v>43113</c:v>
                </c:pt>
                <c:pt idx="5492" formatCode="m/d/yyyy">
                  <c:v>43114</c:v>
                </c:pt>
                <c:pt idx="5493" formatCode="m/d/yyyy">
                  <c:v>43115</c:v>
                </c:pt>
                <c:pt idx="5494" formatCode="m/d/yyyy">
                  <c:v>43116</c:v>
                </c:pt>
                <c:pt idx="5495" formatCode="m/d/yyyy">
                  <c:v>43117</c:v>
                </c:pt>
                <c:pt idx="5496" formatCode="m/d/yyyy">
                  <c:v>43118</c:v>
                </c:pt>
                <c:pt idx="5497" formatCode="m/d/yyyy">
                  <c:v>43119</c:v>
                </c:pt>
                <c:pt idx="5498" formatCode="m/d/yyyy">
                  <c:v>43120</c:v>
                </c:pt>
                <c:pt idx="5499" formatCode="m/d/yyyy">
                  <c:v>43121</c:v>
                </c:pt>
                <c:pt idx="5500" formatCode="m/d/yyyy">
                  <c:v>43122</c:v>
                </c:pt>
                <c:pt idx="5501" formatCode="m/d/yyyy">
                  <c:v>43123</c:v>
                </c:pt>
                <c:pt idx="5502" formatCode="m/d/yyyy">
                  <c:v>43124</c:v>
                </c:pt>
                <c:pt idx="5503" formatCode="m/d/yyyy">
                  <c:v>43125</c:v>
                </c:pt>
                <c:pt idx="5504" formatCode="m/d/yyyy">
                  <c:v>43126</c:v>
                </c:pt>
                <c:pt idx="5505" formatCode="m/d/yyyy">
                  <c:v>43127</c:v>
                </c:pt>
                <c:pt idx="5506" formatCode="m/d/yyyy">
                  <c:v>43128</c:v>
                </c:pt>
                <c:pt idx="5507" formatCode="m/d/yyyy">
                  <c:v>43129</c:v>
                </c:pt>
                <c:pt idx="5508" formatCode="m/d/yyyy">
                  <c:v>43130</c:v>
                </c:pt>
                <c:pt idx="5509" formatCode="m/d/yyyy">
                  <c:v>43131</c:v>
                </c:pt>
                <c:pt idx="5510" formatCode="m/d/yyyy">
                  <c:v>43132</c:v>
                </c:pt>
                <c:pt idx="5511" formatCode="m/d/yyyy">
                  <c:v>43133</c:v>
                </c:pt>
                <c:pt idx="5512" formatCode="m/d/yyyy">
                  <c:v>43134</c:v>
                </c:pt>
                <c:pt idx="5513" formatCode="m/d/yyyy">
                  <c:v>43135</c:v>
                </c:pt>
                <c:pt idx="5514" formatCode="m/d/yyyy">
                  <c:v>43136</c:v>
                </c:pt>
                <c:pt idx="5515" formatCode="m/d/yyyy">
                  <c:v>43137</c:v>
                </c:pt>
                <c:pt idx="5516" formatCode="m/d/yyyy">
                  <c:v>43138</c:v>
                </c:pt>
                <c:pt idx="5517" formatCode="m/d/yyyy">
                  <c:v>43139</c:v>
                </c:pt>
                <c:pt idx="5518" formatCode="m/d/yyyy">
                  <c:v>43140</c:v>
                </c:pt>
                <c:pt idx="5519" formatCode="m/d/yyyy">
                  <c:v>43141</c:v>
                </c:pt>
                <c:pt idx="5520" formatCode="m/d/yyyy">
                  <c:v>43142</c:v>
                </c:pt>
                <c:pt idx="5521" formatCode="m/d/yyyy">
                  <c:v>43143</c:v>
                </c:pt>
                <c:pt idx="5522" formatCode="m/d/yyyy">
                  <c:v>43144</c:v>
                </c:pt>
                <c:pt idx="5523" formatCode="m/d/yyyy">
                  <c:v>43145</c:v>
                </c:pt>
                <c:pt idx="5524" formatCode="m/d/yyyy">
                  <c:v>43146</c:v>
                </c:pt>
                <c:pt idx="5525" formatCode="m/d/yyyy">
                  <c:v>43147</c:v>
                </c:pt>
                <c:pt idx="5526" formatCode="m/d/yyyy">
                  <c:v>43148</c:v>
                </c:pt>
                <c:pt idx="5527" formatCode="m/d/yyyy">
                  <c:v>43149</c:v>
                </c:pt>
                <c:pt idx="5528" formatCode="m/d/yyyy">
                  <c:v>43150</c:v>
                </c:pt>
                <c:pt idx="5529" formatCode="m/d/yyyy">
                  <c:v>43151</c:v>
                </c:pt>
                <c:pt idx="5530" formatCode="m/d/yyyy">
                  <c:v>43152</c:v>
                </c:pt>
                <c:pt idx="5531" formatCode="m/d/yyyy">
                  <c:v>43153</c:v>
                </c:pt>
                <c:pt idx="5532" formatCode="m/d/yyyy">
                  <c:v>43154</c:v>
                </c:pt>
                <c:pt idx="5533" formatCode="m/d/yyyy">
                  <c:v>43155</c:v>
                </c:pt>
                <c:pt idx="5534" formatCode="m/d/yyyy">
                  <c:v>43156</c:v>
                </c:pt>
                <c:pt idx="5535" formatCode="m/d/yyyy">
                  <c:v>43157</c:v>
                </c:pt>
                <c:pt idx="5536" formatCode="m/d/yyyy">
                  <c:v>43158</c:v>
                </c:pt>
                <c:pt idx="5537" formatCode="m/d/yyyy">
                  <c:v>43159</c:v>
                </c:pt>
                <c:pt idx="5538" formatCode="m/d/yyyy">
                  <c:v>43160</c:v>
                </c:pt>
                <c:pt idx="5539" formatCode="m/d/yyyy">
                  <c:v>43161</c:v>
                </c:pt>
                <c:pt idx="5540" formatCode="m/d/yyyy">
                  <c:v>43162</c:v>
                </c:pt>
                <c:pt idx="5541" formatCode="m/d/yyyy">
                  <c:v>43163</c:v>
                </c:pt>
                <c:pt idx="5542" formatCode="m/d/yyyy">
                  <c:v>43164</c:v>
                </c:pt>
                <c:pt idx="5543" formatCode="m/d/yyyy">
                  <c:v>43165</c:v>
                </c:pt>
                <c:pt idx="5544" formatCode="m/d/yyyy">
                  <c:v>43166</c:v>
                </c:pt>
                <c:pt idx="5545" formatCode="m/d/yyyy">
                  <c:v>43167</c:v>
                </c:pt>
                <c:pt idx="5546" formatCode="m/d/yyyy">
                  <c:v>43168</c:v>
                </c:pt>
                <c:pt idx="5547" formatCode="m/d/yyyy">
                  <c:v>43169</c:v>
                </c:pt>
                <c:pt idx="5548" formatCode="m/d/yyyy">
                  <c:v>43170</c:v>
                </c:pt>
                <c:pt idx="5549" formatCode="m/d/yyyy">
                  <c:v>43171</c:v>
                </c:pt>
                <c:pt idx="5550" formatCode="m/d/yyyy">
                  <c:v>43172</c:v>
                </c:pt>
                <c:pt idx="5551" formatCode="m/d/yyyy">
                  <c:v>43173</c:v>
                </c:pt>
                <c:pt idx="5552" formatCode="m/d/yyyy">
                  <c:v>43174</c:v>
                </c:pt>
                <c:pt idx="5553" formatCode="m/d/yyyy">
                  <c:v>43175</c:v>
                </c:pt>
                <c:pt idx="5554" formatCode="m/d/yyyy">
                  <c:v>43176</c:v>
                </c:pt>
                <c:pt idx="5555" formatCode="m/d/yyyy">
                  <c:v>43177</c:v>
                </c:pt>
                <c:pt idx="5556" formatCode="m/d/yyyy">
                  <c:v>43178</c:v>
                </c:pt>
                <c:pt idx="5557" formatCode="m/d/yyyy">
                  <c:v>43179</c:v>
                </c:pt>
                <c:pt idx="5558" formatCode="m/d/yyyy">
                  <c:v>43180</c:v>
                </c:pt>
                <c:pt idx="5559" formatCode="m/d/yyyy">
                  <c:v>43181</c:v>
                </c:pt>
                <c:pt idx="5560" formatCode="m/d/yyyy">
                  <c:v>43182</c:v>
                </c:pt>
                <c:pt idx="5561" formatCode="m/d/yyyy">
                  <c:v>43183</c:v>
                </c:pt>
                <c:pt idx="5562" formatCode="m/d/yyyy">
                  <c:v>43184</c:v>
                </c:pt>
                <c:pt idx="5563" formatCode="m/d/yyyy">
                  <c:v>43185</c:v>
                </c:pt>
                <c:pt idx="5564" formatCode="m/d/yyyy">
                  <c:v>43186</c:v>
                </c:pt>
                <c:pt idx="5565" formatCode="m/d/yyyy">
                  <c:v>43187</c:v>
                </c:pt>
                <c:pt idx="5566" formatCode="m/d/yyyy">
                  <c:v>43188</c:v>
                </c:pt>
                <c:pt idx="5567" formatCode="m/d/yyyy">
                  <c:v>43189</c:v>
                </c:pt>
                <c:pt idx="5568" formatCode="m/d/yyyy">
                  <c:v>43190</c:v>
                </c:pt>
                <c:pt idx="5569" formatCode="m/d/yyyy">
                  <c:v>43191</c:v>
                </c:pt>
                <c:pt idx="5570" formatCode="m/d/yyyy">
                  <c:v>43192</c:v>
                </c:pt>
                <c:pt idx="5571" formatCode="m/d/yyyy">
                  <c:v>43193</c:v>
                </c:pt>
                <c:pt idx="5572" formatCode="m/d/yyyy">
                  <c:v>43194</c:v>
                </c:pt>
                <c:pt idx="5573" formatCode="m/d/yyyy">
                  <c:v>43195</c:v>
                </c:pt>
                <c:pt idx="5574" formatCode="m/d/yyyy">
                  <c:v>43196</c:v>
                </c:pt>
                <c:pt idx="5575" formatCode="m/d/yyyy">
                  <c:v>43197</c:v>
                </c:pt>
                <c:pt idx="5576" formatCode="m/d/yyyy">
                  <c:v>43198</c:v>
                </c:pt>
                <c:pt idx="5577" formatCode="m/d/yyyy">
                  <c:v>43199</c:v>
                </c:pt>
                <c:pt idx="5578" formatCode="m/d/yyyy">
                  <c:v>43200</c:v>
                </c:pt>
                <c:pt idx="5579" formatCode="m/d/yyyy">
                  <c:v>43201</c:v>
                </c:pt>
                <c:pt idx="5580" formatCode="m/d/yyyy">
                  <c:v>43202</c:v>
                </c:pt>
                <c:pt idx="5581" formatCode="m/d/yyyy">
                  <c:v>43203</c:v>
                </c:pt>
                <c:pt idx="5582" formatCode="m/d/yyyy">
                  <c:v>43204</c:v>
                </c:pt>
                <c:pt idx="5583" formatCode="m/d/yyyy">
                  <c:v>43205</c:v>
                </c:pt>
                <c:pt idx="5584" formatCode="m/d/yyyy">
                  <c:v>43206</c:v>
                </c:pt>
                <c:pt idx="5585" formatCode="m/d/yyyy">
                  <c:v>43207</c:v>
                </c:pt>
                <c:pt idx="5586" formatCode="m/d/yyyy">
                  <c:v>43208</c:v>
                </c:pt>
                <c:pt idx="5587" formatCode="m/d/yyyy">
                  <c:v>43209</c:v>
                </c:pt>
                <c:pt idx="5588" formatCode="m/d/yyyy">
                  <c:v>43210</c:v>
                </c:pt>
                <c:pt idx="5589" formatCode="m/d/yyyy">
                  <c:v>43211</c:v>
                </c:pt>
                <c:pt idx="5590" formatCode="m/d/yyyy">
                  <c:v>43212</c:v>
                </c:pt>
                <c:pt idx="5591" formatCode="m/d/yyyy">
                  <c:v>43213</c:v>
                </c:pt>
                <c:pt idx="5592" formatCode="m/d/yyyy">
                  <c:v>43214</c:v>
                </c:pt>
                <c:pt idx="5593" formatCode="m/d/yyyy">
                  <c:v>43215</c:v>
                </c:pt>
                <c:pt idx="5594" formatCode="m/d/yyyy">
                  <c:v>43216</c:v>
                </c:pt>
                <c:pt idx="5595" formatCode="m/d/yyyy">
                  <c:v>43217</c:v>
                </c:pt>
                <c:pt idx="5596" formatCode="m/d/yyyy">
                  <c:v>43218</c:v>
                </c:pt>
                <c:pt idx="5597" formatCode="m/d/yyyy">
                  <c:v>43219</c:v>
                </c:pt>
                <c:pt idx="5598" formatCode="m/d/yyyy">
                  <c:v>43220</c:v>
                </c:pt>
                <c:pt idx="5599" formatCode="m/d/yyyy">
                  <c:v>43221</c:v>
                </c:pt>
                <c:pt idx="5600" formatCode="m/d/yyyy">
                  <c:v>43222</c:v>
                </c:pt>
                <c:pt idx="5601" formatCode="m/d/yyyy">
                  <c:v>43223</c:v>
                </c:pt>
                <c:pt idx="5602" formatCode="m/d/yyyy">
                  <c:v>43224</c:v>
                </c:pt>
                <c:pt idx="5603" formatCode="m/d/yyyy">
                  <c:v>43225</c:v>
                </c:pt>
                <c:pt idx="5604" formatCode="m/d/yyyy">
                  <c:v>43226</c:v>
                </c:pt>
                <c:pt idx="5605" formatCode="m/d/yyyy">
                  <c:v>43227</c:v>
                </c:pt>
                <c:pt idx="5606" formatCode="m/d/yyyy">
                  <c:v>43228</c:v>
                </c:pt>
                <c:pt idx="5607" formatCode="m/d/yyyy">
                  <c:v>43229</c:v>
                </c:pt>
                <c:pt idx="5608" formatCode="m/d/yyyy">
                  <c:v>43230</c:v>
                </c:pt>
                <c:pt idx="5609" formatCode="m/d/yyyy">
                  <c:v>43231</c:v>
                </c:pt>
                <c:pt idx="5610" formatCode="m/d/yyyy">
                  <c:v>43232</c:v>
                </c:pt>
                <c:pt idx="5611" formatCode="m/d/yyyy">
                  <c:v>43233</c:v>
                </c:pt>
                <c:pt idx="5612" formatCode="m/d/yyyy">
                  <c:v>43234</c:v>
                </c:pt>
                <c:pt idx="5613" formatCode="m/d/yyyy">
                  <c:v>43235</c:v>
                </c:pt>
                <c:pt idx="5614" formatCode="m/d/yyyy">
                  <c:v>43236</c:v>
                </c:pt>
                <c:pt idx="5615" formatCode="m/d/yyyy">
                  <c:v>43237</c:v>
                </c:pt>
                <c:pt idx="5616" formatCode="m/d/yyyy">
                  <c:v>43238</c:v>
                </c:pt>
                <c:pt idx="5617" formatCode="m/d/yyyy">
                  <c:v>43239</c:v>
                </c:pt>
                <c:pt idx="5618" formatCode="m/d/yyyy">
                  <c:v>43240</c:v>
                </c:pt>
                <c:pt idx="5619" formatCode="m/d/yyyy">
                  <c:v>43241</c:v>
                </c:pt>
                <c:pt idx="5620" formatCode="m/d/yyyy">
                  <c:v>43242</c:v>
                </c:pt>
                <c:pt idx="5621" formatCode="m/d/yyyy">
                  <c:v>43243</c:v>
                </c:pt>
                <c:pt idx="5622" formatCode="m/d/yyyy">
                  <c:v>43244</c:v>
                </c:pt>
                <c:pt idx="5623" formatCode="m/d/yyyy">
                  <c:v>43245</c:v>
                </c:pt>
                <c:pt idx="5624" formatCode="m/d/yyyy">
                  <c:v>43246</c:v>
                </c:pt>
                <c:pt idx="5625" formatCode="m/d/yyyy">
                  <c:v>43247</c:v>
                </c:pt>
                <c:pt idx="5626" formatCode="m/d/yyyy">
                  <c:v>43248</c:v>
                </c:pt>
                <c:pt idx="5627" formatCode="m/d/yyyy">
                  <c:v>43249</c:v>
                </c:pt>
                <c:pt idx="5628" formatCode="m/d/yyyy">
                  <c:v>43250</c:v>
                </c:pt>
                <c:pt idx="5629" formatCode="m/d/yyyy">
                  <c:v>43251</c:v>
                </c:pt>
                <c:pt idx="5630" formatCode="m/d/yyyy">
                  <c:v>43252</c:v>
                </c:pt>
                <c:pt idx="5631" formatCode="m/d/yyyy">
                  <c:v>43253</c:v>
                </c:pt>
                <c:pt idx="5632" formatCode="m/d/yyyy">
                  <c:v>43254</c:v>
                </c:pt>
                <c:pt idx="5633" formatCode="m/d/yyyy">
                  <c:v>43255</c:v>
                </c:pt>
                <c:pt idx="5634" formatCode="m/d/yyyy">
                  <c:v>43256</c:v>
                </c:pt>
                <c:pt idx="5635" formatCode="m/d/yyyy">
                  <c:v>43257</c:v>
                </c:pt>
                <c:pt idx="5636" formatCode="m/d/yyyy">
                  <c:v>43258</c:v>
                </c:pt>
                <c:pt idx="5637" formatCode="m/d/yyyy">
                  <c:v>43259</c:v>
                </c:pt>
                <c:pt idx="5638" formatCode="m/d/yyyy">
                  <c:v>43260</c:v>
                </c:pt>
                <c:pt idx="5639" formatCode="m/d/yyyy">
                  <c:v>43261</c:v>
                </c:pt>
                <c:pt idx="5640" formatCode="m/d/yyyy">
                  <c:v>43262</c:v>
                </c:pt>
                <c:pt idx="5641" formatCode="m/d/yyyy">
                  <c:v>43263</c:v>
                </c:pt>
                <c:pt idx="5642" formatCode="m/d/yyyy">
                  <c:v>43264</c:v>
                </c:pt>
                <c:pt idx="5643" formatCode="m/d/yyyy">
                  <c:v>43265</c:v>
                </c:pt>
                <c:pt idx="5644" formatCode="m/d/yyyy">
                  <c:v>43266</c:v>
                </c:pt>
                <c:pt idx="5645" formatCode="m/d/yyyy">
                  <c:v>43267</c:v>
                </c:pt>
                <c:pt idx="5646" formatCode="m/d/yyyy">
                  <c:v>43268</c:v>
                </c:pt>
                <c:pt idx="5647" formatCode="m/d/yyyy">
                  <c:v>43269</c:v>
                </c:pt>
                <c:pt idx="5648" formatCode="m/d/yyyy">
                  <c:v>43270</c:v>
                </c:pt>
                <c:pt idx="5649" formatCode="m/d/yyyy">
                  <c:v>43271</c:v>
                </c:pt>
                <c:pt idx="5650" formatCode="m/d/yyyy">
                  <c:v>43272</c:v>
                </c:pt>
                <c:pt idx="5651" formatCode="m/d/yyyy">
                  <c:v>43273</c:v>
                </c:pt>
                <c:pt idx="5652" formatCode="m/d/yyyy">
                  <c:v>43274</c:v>
                </c:pt>
                <c:pt idx="5653" formatCode="m/d/yyyy">
                  <c:v>43275</c:v>
                </c:pt>
                <c:pt idx="5654" formatCode="m/d/yyyy">
                  <c:v>43276</c:v>
                </c:pt>
                <c:pt idx="5655" formatCode="m/d/yyyy">
                  <c:v>43277</c:v>
                </c:pt>
                <c:pt idx="5656" formatCode="m/d/yyyy">
                  <c:v>43278</c:v>
                </c:pt>
                <c:pt idx="5657" formatCode="m/d/yyyy">
                  <c:v>43279</c:v>
                </c:pt>
                <c:pt idx="5658" formatCode="m/d/yyyy">
                  <c:v>43280</c:v>
                </c:pt>
                <c:pt idx="5659" formatCode="m/d/yyyy">
                  <c:v>43281</c:v>
                </c:pt>
                <c:pt idx="5660" formatCode="m/d/yyyy">
                  <c:v>43282</c:v>
                </c:pt>
                <c:pt idx="5661" formatCode="m/d/yyyy">
                  <c:v>43283</c:v>
                </c:pt>
                <c:pt idx="5662" formatCode="m/d/yyyy">
                  <c:v>43284</c:v>
                </c:pt>
                <c:pt idx="5663" formatCode="m/d/yyyy">
                  <c:v>43285</c:v>
                </c:pt>
                <c:pt idx="5664" formatCode="m/d/yyyy">
                  <c:v>43286</c:v>
                </c:pt>
                <c:pt idx="5665" formatCode="m/d/yyyy">
                  <c:v>43287</c:v>
                </c:pt>
                <c:pt idx="5666" formatCode="m/d/yyyy">
                  <c:v>43288</c:v>
                </c:pt>
                <c:pt idx="5667" formatCode="m/d/yyyy">
                  <c:v>43289</c:v>
                </c:pt>
                <c:pt idx="5668" formatCode="m/d/yyyy">
                  <c:v>43290</c:v>
                </c:pt>
                <c:pt idx="5669" formatCode="m/d/yyyy">
                  <c:v>43291</c:v>
                </c:pt>
                <c:pt idx="5670" formatCode="m/d/yyyy">
                  <c:v>43292</c:v>
                </c:pt>
                <c:pt idx="5671" formatCode="m/d/yyyy">
                  <c:v>43293</c:v>
                </c:pt>
                <c:pt idx="5672" formatCode="m/d/yyyy">
                  <c:v>43294</c:v>
                </c:pt>
                <c:pt idx="5673" formatCode="m/d/yyyy">
                  <c:v>43295</c:v>
                </c:pt>
                <c:pt idx="5674" formatCode="m/d/yyyy">
                  <c:v>43296</c:v>
                </c:pt>
                <c:pt idx="5675" formatCode="m/d/yyyy">
                  <c:v>43297</c:v>
                </c:pt>
                <c:pt idx="5676" formatCode="m/d/yyyy">
                  <c:v>43298</c:v>
                </c:pt>
                <c:pt idx="5677" formatCode="m/d/yyyy">
                  <c:v>43299</c:v>
                </c:pt>
                <c:pt idx="5678" formatCode="m/d/yyyy">
                  <c:v>43300</c:v>
                </c:pt>
                <c:pt idx="5679" formatCode="m/d/yyyy">
                  <c:v>43301</c:v>
                </c:pt>
                <c:pt idx="5680" formatCode="m/d/yyyy">
                  <c:v>43302</c:v>
                </c:pt>
                <c:pt idx="5681" formatCode="m/d/yyyy">
                  <c:v>43303</c:v>
                </c:pt>
                <c:pt idx="5682" formatCode="m/d/yyyy">
                  <c:v>43304</c:v>
                </c:pt>
                <c:pt idx="5683" formatCode="m/d/yyyy">
                  <c:v>43305</c:v>
                </c:pt>
                <c:pt idx="5684" formatCode="m/d/yyyy">
                  <c:v>43306</c:v>
                </c:pt>
                <c:pt idx="5685" formatCode="m/d/yyyy">
                  <c:v>43307</c:v>
                </c:pt>
                <c:pt idx="5686" formatCode="m/d/yyyy">
                  <c:v>43308</c:v>
                </c:pt>
                <c:pt idx="5687" formatCode="m/d/yyyy">
                  <c:v>43309</c:v>
                </c:pt>
                <c:pt idx="5688" formatCode="m/d/yyyy">
                  <c:v>43310</c:v>
                </c:pt>
                <c:pt idx="5689" formatCode="m/d/yyyy">
                  <c:v>43311</c:v>
                </c:pt>
                <c:pt idx="5690" formatCode="m/d/yyyy">
                  <c:v>43312</c:v>
                </c:pt>
                <c:pt idx="5691" formatCode="m/d/yyyy">
                  <c:v>43313</c:v>
                </c:pt>
                <c:pt idx="5692" formatCode="m/d/yyyy">
                  <c:v>43314</c:v>
                </c:pt>
                <c:pt idx="5693" formatCode="m/d/yyyy">
                  <c:v>43315</c:v>
                </c:pt>
                <c:pt idx="5694" formatCode="m/d/yyyy">
                  <c:v>43316</c:v>
                </c:pt>
                <c:pt idx="5695" formatCode="m/d/yyyy">
                  <c:v>43317</c:v>
                </c:pt>
                <c:pt idx="5696" formatCode="m/d/yyyy">
                  <c:v>43318</c:v>
                </c:pt>
                <c:pt idx="5697" formatCode="m/d/yyyy">
                  <c:v>43319</c:v>
                </c:pt>
                <c:pt idx="5698" formatCode="m/d/yyyy">
                  <c:v>43320</c:v>
                </c:pt>
                <c:pt idx="5699" formatCode="m/d/yyyy">
                  <c:v>43321</c:v>
                </c:pt>
                <c:pt idx="5700" formatCode="m/d/yyyy">
                  <c:v>43322</c:v>
                </c:pt>
                <c:pt idx="5701" formatCode="m/d/yyyy">
                  <c:v>43323</c:v>
                </c:pt>
                <c:pt idx="5702" formatCode="m/d/yyyy">
                  <c:v>43324</c:v>
                </c:pt>
                <c:pt idx="5703" formatCode="m/d/yyyy">
                  <c:v>43325</c:v>
                </c:pt>
                <c:pt idx="5704" formatCode="m/d/yyyy">
                  <c:v>43326</c:v>
                </c:pt>
                <c:pt idx="5705" formatCode="m/d/yyyy">
                  <c:v>43327</c:v>
                </c:pt>
                <c:pt idx="5706" formatCode="m/d/yyyy">
                  <c:v>43328</c:v>
                </c:pt>
                <c:pt idx="5707" formatCode="m/d/yyyy">
                  <c:v>43329</c:v>
                </c:pt>
                <c:pt idx="5708" formatCode="m/d/yyyy">
                  <c:v>43330</c:v>
                </c:pt>
                <c:pt idx="5709" formatCode="m/d/yyyy">
                  <c:v>43331</c:v>
                </c:pt>
                <c:pt idx="5710" formatCode="m/d/yyyy">
                  <c:v>43332</c:v>
                </c:pt>
                <c:pt idx="5711" formatCode="m/d/yyyy">
                  <c:v>43333</c:v>
                </c:pt>
                <c:pt idx="5712" formatCode="m/d/yyyy">
                  <c:v>43334</c:v>
                </c:pt>
                <c:pt idx="5713" formatCode="m/d/yyyy">
                  <c:v>43335</c:v>
                </c:pt>
                <c:pt idx="5714" formatCode="m/d/yyyy">
                  <c:v>43336</c:v>
                </c:pt>
                <c:pt idx="5715" formatCode="m/d/yyyy">
                  <c:v>43337</c:v>
                </c:pt>
                <c:pt idx="5716" formatCode="m/d/yyyy">
                  <c:v>43338</c:v>
                </c:pt>
                <c:pt idx="5717" formatCode="m/d/yyyy">
                  <c:v>43339</c:v>
                </c:pt>
                <c:pt idx="5718" formatCode="m/d/yyyy">
                  <c:v>43340</c:v>
                </c:pt>
                <c:pt idx="5719" formatCode="m/d/yyyy">
                  <c:v>43341</c:v>
                </c:pt>
                <c:pt idx="5720" formatCode="m/d/yyyy">
                  <c:v>43342</c:v>
                </c:pt>
                <c:pt idx="5721" formatCode="m/d/yyyy">
                  <c:v>43343</c:v>
                </c:pt>
                <c:pt idx="5722" formatCode="m/d/yyyy">
                  <c:v>43344</c:v>
                </c:pt>
                <c:pt idx="5723" formatCode="m/d/yyyy">
                  <c:v>43345</c:v>
                </c:pt>
                <c:pt idx="5724" formatCode="m/d/yyyy">
                  <c:v>43346</c:v>
                </c:pt>
                <c:pt idx="5725" formatCode="m/d/yyyy">
                  <c:v>43347</c:v>
                </c:pt>
                <c:pt idx="5726" formatCode="m/d/yyyy">
                  <c:v>43348</c:v>
                </c:pt>
                <c:pt idx="5727" formatCode="m/d/yyyy">
                  <c:v>43349</c:v>
                </c:pt>
                <c:pt idx="5728" formatCode="m/d/yyyy">
                  <c:v>43350</c:v>
                </c:pt>
                <c:pt idx="5729" formatCode="m/d/yyyy">
                  <c:v>43351</c:v>
                </c:pt>
                <c:pt idx="5730" formatCode="m/d/yyyy">
                  <c:v>43352</c:v>
                </c:pt>
                <c:pt idx="5731" formatCode="m/d/yyyy">
                  <c:v>43353</c:v>
                </c:pt>
                <c:pt idx="5732" formatCode="m/d/yyyy">
                  <c:v>43354</c:v>
                </c:pt>
                <c:pt idx="5733" formatCode="m/d/yyyy">
                  <c:v>43355</c:v>
                </c:pt>
                <c:pt idx="5734" formatCode="m/d/yyyy">
                  <c:v>43356</c:v>
                </c:pt>
                <c:pt idx="5735" formatCode="m/d/yyyy">
                  <c:v>43357</c:v>
                </c:pt>
                <c:pt idx="5736" formatCode="m/d/yyyy">
                  <c:v>43358</c:v>
                </c:pt>
                <c:pt idx="5737" formatCode="m/d/yyyy">
                  <c:v>43359</c:v>
                </c:pt>
                <c:pt idx="5738" formatCode="m/d/yyyy">
                  <c:v>43360</c:v>
                </c:pt>
                <c:pt idx="5739" formatCode="m/d/yyyy">
                  <c:v>43361</c:v>
                </c:pt>
                <c:pt idx="5740" formatCode="m/d/yyyy">
                  <c:v>43362</c:v>
                </c:pt>
                <c:pt idx="5741" formatCode="m/d/yyyy">
                  <c:v>43363</c:v>
                </c:pt>
                <c:pt idx="5742" formatCode="m/d/yyyy">
                  <c:v>43364</c:v>
                </c:pt>
                <c:pt idx="5743" formatCode="m/d/yyyy">
                  <c:v>43365</c:v>
                </c:pt>
                <c:pt idx="5744" formatCode="m/d/yyyy">
                  <c:v>43366</c:v>
                </c:pt>
                <c:pt idx="5745" formatCode="m/d/yyyy">
                  <c:v>43367</c:v>
                </c:pt>
                <c:pt idx="5746" formatCode="m/d/yyyy">
                  <c:v>43368</c:v>
                </c:pt>
                <c:pt idx="5747" formatCode="m/d/yyyy">
                  <c:v>43369</c:v>
                </c:pt>
                <c:pt idx="5748" formatCode="m/d/yyyy">
                  <c:v>43370</c:v>
                </c:pt>
                <c:pt idx="5749" formatCode="m/d/yyyy">
                  <c:v>43371</c:v>
                </c:pt>
                <c:pt idx="5750" formatCode="m/d/yyyy">
                  <c:v>43372</c:v>
                </c:pt>
                <c:pt idx="5751" formatCode="m/d/yyyy">
                  <c:v>43373</c:v>
                </c:pt>
                <c:pt idx="5752" formatCode="m/d/yyyy">
                  <c:v>43374</c:v>
                </c:pt>
                <c:pt idx="5753" formatCode="m/d/yyyy">
                  <c:v>43375</c:v>
                </c:pt>
                <c:pt idx="5754" formatCode="m/d/yyyy">
                  <c:v>43376</c:v>
                </c:pt>
                <c:pt idx="5755" formatCode="m/d/yyyy">
                  <c:v>43377</c:v>
                </c:pt>
                <c:pt idx="5756" formatCode="m/d/yyyy">
                  <c:v>43378</c:v>
                </c:pt>
                <c:pt idx="5757" formatCode="m/d/yyyy">
                  <c:v>43379</c:v>
                </c:pt>
                <c:pt idx="5758" formatCode="m/d/yyyy">
                  <c:v>43380</c:v>
                </c:pt>
                <c:pt idx="5759" formatCode="m/d/yyyy">
                  <c:v>43381</c:v>
                </c:pt>
                <c:pt idx="5760" formatCode="m/d/yyyy">
                  <c:v>43382</c:v>
                </c:pt>
                <c:pt idx="5761" formatCode="m/d/yyyy">
                  <c:v>43383</c:v>
                </c:pt>
                <c:pt idx="5762" formatCode="m/d/yyyy">
                  <c:v>43384</c:v>
                </c:pt>
                <c:pt idx="5763" formatCode="m/d/yyyy">
                  <c:v>43385</c:v>
                </c:pt>
                <c:pt idx="5764" formatCode="m/d/yyyy">
                  <c:v>43386</c:v>
                </c:pt>
                <c:pt idx="5765" formatCode="m/d/yyyy">
                  <c:v>43387</c:v>
                </c:pt>
                <c:pt idx="5766" formatCode="m/d/yyyy">
                  <c:v>43388</c:v>
                </c:pt>
                <c:pt idx="5767" formatCode="m/d/yyyy">
                  <c:v>43389</c:v>
                </c:pt>
                <c:pt idx="5768" formatCode="m/d/yyyy">
                  <c:v>43390</c:v>
                </c:pt>
                <c:pt idx="5769" formatCode="m/d/yyyy">
                  <c:v>43391</c:v>
                </c:pt>
                <c:pt idx="5770" formatCode="m/d/yyyy">
                  <c:v>43392</c:v>
                </c:pt>
                <c:pt idx="5771" formatCode="m/d/yyyy">
                  <c:v>43393</c:v>
                </c:pt>
                <c:pt idx="5772" formatCode="m/d/yyyy">
                  <c:v>43394</c:v>
                </c:pt>
                <c:pt idx="5773" formatCode="m/d/yyyy">
                  <c:v>43395</c:v>
                </c:pt>
                <c:pt idx="5774" formatCode="m/d/yyyy">
                  <c:v>43396</c:v>
                </c:pt>
                <c:pt idx="5775" formatCode="m/d/yyyy">
                  <c:v>43397</c:v>
                </c:pt>
                <c:pt idx="5776" formatCode="m/d/yyyy">
                  <c:v>43398</c:v>
                </c:pt>
                <c:pt idx="5777" formatCode="m/d/yyyy">
                  <c:v>43399</c:v>
                </c:pt>
                <c:pt idx="5778" formatCode="m/d/yyyy">
                  <c:v>43400</c:v>
                </c:pt>
                <c:pt idx="5779" formatCode="m/d/yyyy">
                  <c:v>43401</c:v>
                </c:pt>
                <c:pt idx="5780" formatCode="m/d/yyyy">
                  <c:v>43402</c:v>
                </c:pt>
                <c:pt idx="5781" formatCode="m/d/yyyy">
                  <c:v>43403</c:v>
                </c:pt>
                <c:pt idx="5782" formatCode="m/d/yyyy">
                  <c:v>43404</c:v>
                </c:pt>
                <c:pt idx="5783" formatCode="m/d/yyyy">
                  <c:v>43405</c:v>
                </c:pt>
                <c:pt idx="5784" formatCode="m/d/yyyy">
                  <c:v>43406</c:v>
                </c:pt>
                <c:pt idx="5785" formatCode="m/d/yyyy">
                  <c:v>43407</c:v>
                </c:pt>
                <c:pt idx="5786" formatCode="m/d/yyyy">
                  <c:v>43408</c:v>
                </c:pt>
                <c:pt idx="5787" formatCode="m/d/yyyy">
                  <c:v>43409</c:v>
                </c:pt>
                <c:pt idx="5788" formatCode="m/d/yyyy">
                  <c:v>43410</c:v>
                </c:pt>
                <c:pt idx="5789" formatCode="m/d/yyyy">
                  <c:v>43411</c:v>
                </c:pt>
                <c:pt idx="5790" formatCode="m/d/yyyy">
                  <c:v>43412</c:v>
                </c:pt>
                <c:pt idx="5791" formatCode="m/d/yyyy">
                  <c:v>43413</c:v>
                </c:pt>
                <c:pt idx="5792" formatCode="m/d/yyyy">
                  <c:v>43414</c:v>
                </c:pt>
                <c:pt idx="5793" formatCode="m/d/yyyy">
                  <c:v>43415</c:v>
                </c:pt>
                <c:pt idx="5794" formatCode="m/d/yyyy">
                  <c:v>43416</c:v>
                </c:pt>
                <c:pt idx="5795" formatCode="m/d/yyyy">
                  <c:v>43417</c:v>
                </c:pt>
                <c:pt idx="5796" formatCode="m/d/yyyy">
                  <c:v>43418</c:v>
                </c:pt>
                <c:pt idx="5797" formatCode="m/d/yyyy">
                  <c:v>43419</c:v>
                </c:pt>
                <c:pt idx="5798" formatCode="m/d/yyyy">
                  <c:v>43420</c:v>
                </c:pt>
                <c:pt idx="5799" formatCode="m/d/yyyy">
                  <c:v>43421</c:v>
                </c:pt>
                <c:pt idx="5800" formatCode="m/d/yyyy">
                  <c:v>43422</c:v>
                </c:pt>
                <c:pt idx="5801" formatCode="m/d/yyyy">
                  <c:v>43423</c:v>
                </c:pt>
                <c:pt idx="5802" formatCode="m/d/yyyy">
                  <c:v>43424</c:v>
                </c:pt>
                <c:pt idx="5803" formatCode="m/d/yyyy">
                  <c:v>43425</c:v>
                </c:pt>
                <c:pt idx="5804" formatCode="m/d/yyyy">
                  <c:v>43426</c:v>
                </c:pt>
                <c:pt idx="5805" formatCode="m/d/yyyy">
                  <c:v>43427</c:v>
                </c:pt>
                <c:pt idx="5806" formatCode="m/d/yyyy">
                  <c:v>43428</c:v>
                </c:pt>
                <c:pt idx="5807" formatCode="m/d/yyyy">
                  <c:v>43429</c:v>
                </c:pt>
                <c:pt idx="5808" formatCode="m/d/yyyy">
                  <c:v>43430</c:v>
                </c:pt>
                <c:pt idx="5809" formatCode="m/d/yyyy">
                  <c:v>43431</c:v>
                </c:pt>
                <c:pt idx="5810" formatCode="m/d/yyyy">
                  <c:v>43432</c:v>
                </c:pt>
                <c:pt idx="5811" formatCode="m/d/yyyy">
                  <c:v>43433</c:v>
                </c:pt>
                <c:pt idx="5812" formatCode="m/d/yyyy">
                  <c:v>43434</c:v>
                </c:pt>
                <c:pt idx="5813" formatCode="m/d/yyyy">
                  <c:v>43435</c:v>
                </c:pt>
                <c:pt idx="5814" formatCode="m/d/yyyy">
                  <c:v>43436</c:v>
                </c:pt>
                <c:pt idx="5815" formatCode="m/d/yyyy">
                  <c:v>43437</c:v>
                </c:pt>
                <c:pt idx="5816" formatCode="m/d/yyyy">
                  <c:v>43438</c:v>
                </c:pt>
                <c:pt idx="5817" formatCode="m/d/yyyy">
                  <c:v>43439</c:v>
                </c:pt>
                <c:pt idx="5818" formatCode="m/d/yyyy">
                  <c:v>43440</c:v>
                </c:pt>
                <c:pt idx="5819" formatCode="m/d/yyyy">
                  <c:v>43441</c:v>
                </c:pt>
                <c:pt idx="5820" formatCode="m/d/yyyy">
                  <c:v>43442</c:v>
                </c:pt>
                <c:pt idx="5821" formatCode="m/d/yyyy">
                  <c:v>43443</c:v>
                </c:pt>
                <c:pt idx="5822" formatCode="m/d/yyyy">
                  <c:v>43444</c:v>
                </c:pt>
                <c:pt idx="5823" formatCode="m/d/yyyy">
                  <c:v>43445</c:v>
                </c:pt>
                <c:pt idx="5824" formatCode="m/d/yyyy">
                  <c:v>43446</c:v>
                </c:pt>
                <c:pt idx="5825" formatCode="m/d/yyyy">
                  <c:v>43447</c:v>
                </c:pt>
                <c:pt idx="5826" formatCode="m/d/yyyy">
                  <c:v>43448</c:v>
                </c:pt>
                <c:pt idx="5827" formatCode="m/d/yyyy">
                  <c:v>43449</c:v>
                </c:pt>
                <c:pt idx="5828" formatCode="m/d/yyyy">
                  <c:v>43450</c:v>
                </c:pt>
                <c:pt idx="5829" formatCode="m/d/yyyy">
                  <c:v>43451</c:v>
                </c:pt>
                <c:pt idx="5830" formatCode="m/d/yyyy">
                  <c:v>43452</c:v>
                </c:pt>
                <c:pt idx="5831" formatCode="m/d/yyyy">
                  <c:v>43453</c:v>
                </c:pt>
                <c:pt idx="5832" formatCode="m/d/yyyy">
                  <c:v>43454</c:v>
                </c:pt>
                <c:pt idx="5833" formatCode="m/d/yyyy">
                  <c:v>43455</c:v>
                </c:pt>
                <c:pt idx="5834" formatCode="m/d/yyyy">
                  <c:v>43456</c:v>
                </c:pt>
                <c:pt idx="5835" formatCode="m/d/yyyy">
                  <c:v>43457</c:v>
                </c:pt>
                <c:pt idx="5836" formatCode="m/d/yyyy">
                  <c:v>43458</c:v>
                </c:pt>
                <c:pt idx="5837" formatCode="m/d/yyyy">
                  <c:v>43459</c:v>
                </c:pt>
                <c:pt idx="5838" formatCode="m/d/yyyy">
                  <c:v>43460</c:v>
                </c:pt>
                <c:pt idx="5839" formatCode="m/d/yyyy">
                  <c:v>43461</c:v>
                </c:pt>
                <c:pt idx="5840" formatCode="m/d/yyyy">
                  <c:v>43462</c:v>
                </c:pt>
                <c:pt idx="5841" formatCode="m/d/yyyy">
                  <c:v>43463</c:v>
                </c:pt>
                <c:pt idx="5842" formatCode="m/d/yyyy">
                  <c:v>43464</c:v>
                </c:pt>
                <c:pt idx="5843" formatCode="m/d/yyyy">
                  <c:v>43465</c:v>
                </c:pt>
                <c:pt idx="5844" formatCode="m/d/yyyy">
                  <c:v>43466</c:v>
                </c:pt>
                <c:pt idx="5845" formatCode="m/d/yyyy">
                  <c:v>43467</c:v>
                </c:pt>
                <c:pt idx="5846" formatCode="m/d/yyyy">
                  <c:v>43468</c:v>
                </c:pt>
                <c:pt idx="5847" formatCode="m/d/yyyy">
                  <c:v>43469</c:v>
                </c:pt>
                <c:pt idx="5848" formatCode="m/d/yyyy">
                  <c:v>43470</c:v>
                </c:pt>
                <c:pt idx="5849" formatCode="m/d/yyyy">
                  <c:v>43471</c:v>
                </c:pt>
                <c:pt idx="5850" formatCode="m/d/yyyy">
                  <c:v>43472</c:v>
                </c:pt>
                <c:pt idx="5851" formatCode="m/d/yyyy">
                  <c:v>43473</c:v>
                </c:pt>
                <c:pt idx="5852" formatCode="m/d/yyyy">
                  <c:v>43474</c:v>
                </c:pt>
                <c:pt idx="5853" formatCode="m/d/yyyy">
                  <c:v>43475</c:v>
                </c:pt>
                <c:pt idx="5854" formatCode="m/d/yyyy">
                  <c:v>43476</c:v>
                </c:pt>
                <c:pt idx="5855" formatCode="m/d/yyyy">
                  <c:v>43477</c:v>
                </c:pt>
                <c:pt idx="5856" formatCode="m/d/yyyy">
                  <c:v>43478</c:v>
                </c:pt>
                <c:pt idx="5857" formatCode="m/d/yyyy">
                  <c:v>43479</c:v>
                </c:pt>
                <c:pt idx="5858" formatCode="m/d/yyyy">
                  <c:v>43480</c:v>
                </c:pt>
                <c:pt idx="5859" formatCode="m/d/yyyy">
                  <c:v>43481</c:v>
                </c:pt>
                <c:pt idx="5860" formatCode="m/d/yyyy">
                  <c:v>43482</c:v>
                </c:pt>
                <c:pt idx="5861" formatCode="m/d/yyyy">
                  <c:v>43483</c:v>
                </c:pt>
                <c:pt idx="5862" formatCode="m/d/yyyy">
                  <c:v>43484</c:v>
                </c:pt>
                <c:pt idx="5863" formatCode="m/d/yyyy">
                  <c:v>43485</c:v>
                </c:pt>
                <c:pt idx="5864" formatCode="m/d/yyyy">
                  <c:v>43486</c:v>
                </c:pt>
                <c:pt idx="5865" formatCode="m/d/yyyy">
                  <c:v>43487</c:v>
                </c:pt>
                <c:pt idx="5866" formatCode="m/d/yyyy">
                  <c:v>43488</c:v>
                </c:pt>
                <c:pt idx="5867" formatCode="m/d/yyyy">
                  <c:v>43489</c:v>
                </c:pt>
                <c:pt idx="5868" formatCode="m/d/yyyy">
                  <c:v>43490</c:v>
                </c:pt>
                <c:pt idx="5869" formatCode="m/d/yyyy">
                  <c:v>43491</c:v>
                </c:pt>
                <c:pt idx="5870" formatCode="m/d/yyyy">
                  <c:v>43492</c:v>
                </c:pt>
                <c:pt idx="5871" formatCode="m/d/yyyy">
                  <c:v>43493</c:v>
                </c:pt>
                <c:pt idx="5872" formatCode="m/d/yyyy">
                  <c:v>43494</c:v>
                </c:pt>
                <c:pt idx="5873" formatCode="m/d/yyyy">
                  <c:v>43495</c:v>
                </c:pt>
                <c:pt idx="5874" formatCode="m/d/yyyy">
                  <c:v>43496</c:v>
                </c:pt>
                <c:pt idx="5875" formatCode="m/d/yyyy">
                  <c:v>43497</c:v>
                </c:pt>
                <c:pt idx="5876" formatCode="m/d/yyyy">
                  <c:v>43498</c:v>
                </c:pt>
                <c:pt idx="5877" formatCode="m/d/yyyy">
                  <c:v>43499</c:v>
                </c:pt>
                <c:pt idx="5878" formatCode="m/d/yyyy">
                  <c:v>43500</c:v>
                </c:pt>
                <c:pt idx="5879" formatCode="m/d/yyyy">
                  <c:v>43501</c:v>
                </c:pt>
                <c:pt idx="5880" formatCode="m/d/yyyy">
                  <c:v>43502</c:v>
                </c:pt>
                <c:pt idx="5881" formatCode="m/d/yyyy">
                  <c:v>43503</c:v>
                </c:pt>
                <c:pt idx="5882" formatCode="m/d/yyyy">
                  <c:v>43504</c:v>
                </c:pt>
                <c:pt idx="5883" formatCode="m/d/yyyy">
                  <c:v>43505</c:v>
                </c:pt>
                <c:pt idx="5884" formatCode="m/d/yyyy">
                  <c:v>43506</c:v>
                </c:pt>
                <c:pt idx="5885" formatCode="m/d/yyyy">
                  <c:v>43507</c:v>
                </c:pt>
                <c:pt idx="5886" formatCode="m/d/yyyy">
                  <c:v>43508</c:v>
                </c:pt>
                <c:pt idx="5887" formatCode="m/d/yyyy">
                  <c:v>43509</c:v>
                </c:pt>
                <c:pt idx="5888" formatCode="m/d/yyyy">
                  <c:v>43510</c:v>
                </c:pt>
                <c:pt idx="5889" formatCode="m/d/yyyy">
                  <c:v>43511</c:v>
                </c:pt>
                <c:pt idx="5890" formatCode="m/d/yyyy">
                  <c:v>43512</c:v>
                </c:pt>
                <c:pt idx="5891" formatCode="m/d/yyyy">
                  <c:v>43513</c:v>
                </c:pt>
                <c:pt idx="5892" formatCode="m/d/yyyy">
                  <c:v>43514</c:v>
                </c:pt>
                <c:pt idx="5893" formatCode="m/d/yyyy">
                  <c:v>43515</c:v>
                </c:pt>
                <c:pt idx="5894" formatCode="m/d/yyyy">
                  <c:v>43516</c:v>
                </c:pt>
                <c:pt idx="5895" formatCode="m/d/yyyy">
                  <c:v>43517</c:v>
                </c:pt>
                <c:pt idx="5896" formatCode="m/d/yyyy">
                  <c:v>43518</c:v>
                </c:pt>
                <c:pt idx="5897" formatCode="m/d/yyyy">
                  <c:v>43519</c:v>
                </c:pt>
                <c:pt idx="5898" formatCode="m/d/yyyy">
                  <c:v>43520</c:v>
                </c:pt>
                <c:pt idx="5899" formatCode="m/d/yyyy">
                  <c:v>43521</c:v>
                </c:pt>
                <c:pt idx="5900" formatCode="m/d/yyyy">
                  <c:v>43522</c:v>
                </c:pt>
                <c:pt idx="5901" formatCode="m/d/yyyy">
                  <c:v>43523</c:v>
                </c:pt>
                <c:pt idx="5902" formatCode="m/d/yyyy">
                  <c:v>43524</c:v>
                </c:pt>
                <c:pt idx="5903" formatCode="m/d/yyyy">
                  <c:v>43525</c:v>
                </c:pt>
                <c:pt idx="5904" formatCode="m/d/yyyy">
                  <c:v>43526</c:v>
                </c:pt>
                <c:pt idx="5905" formatCode="m/d/yyyy">
                  <c:v>43527</c:v>
                </c:pt>
                <c:pt idx="5906" formatCode="m/d/yyyy">
                  <c:v>43528</c:v>
                </c:pt>
                <c:pt idx="5907" formatCode="m/d/yyyy">
                  <c:v>43529</c:v>
                </c:pt>
                <c:pt idx="5908" formatCode="m/d/yyyy">
                  <c:v>43530</c:v>
                </c:pt>
                <c:pt idx="5909" formatCode="m/d/yyyy">
                  <c:v>43531</c:v>
                </c:pt>
                <c:pt idx="5910" formatCode="m/d/yyyy">
                  <c:v>43532</c:v>
                </c:pt>
                <c:pt idx="5911" formatCode="m/d/yyyy">
                  <c:v>43533</c:v>
                </c:pt>
                <c:pt idx="5912" formatCode="m/d/yyyy">
                  <c:v>43534</c:v>
                </c:pt>
                <c:pt idx="5913" formatCode="m/d/yyyy">
                  <c:v>43535</c:v>
                </c:pt>
                <c:pt idx="5914" formatCode="m/d/yyyy">
                  <c:v>43536</c:v>
                </c:pt>
                <c:pt idx="5915" formatCode="m/d/yyyy">
                  <c:v>43537</c:v>
                </c:pt>
                <c:pt idx="5916" formatCode="m/d/yyyy">
                  <c:v>43538</c:v>
                </c:pt>
                <c:pt idx="5917" formatCode="m/d/yyyy">
                  <c:v>43539</c:v>
                </c:pt>
                <c:pt idx="5918" formatCode="m/d/yyyy">
                  <c:v>43540</c:v>
                </c:pt>
                <c:pt idx="5919" formatCode="m/d/yyyy">
                  <c:v>43541</c:v>
                </c:pt>
                <c:pt idx="5920" formatCode="m/d/yyyy">
                  <c:v>43542</c:v>
                </c:pt>
                <c:pt idx="5921" formatCode="m/d/yyyy">
                  <c:v>43543</c:v>
                </c:pt>
                <c:pt idx="5922" formatCode="m/d/yyyy">
                  <c:v>43544</c:v>
                </c:pt>
                <c:pt idx="5923" formatCode="m/d/yyyy">
                  <c:v>43545</c:v>
                </c:pt>
                <c:pt idx="5924" formatCode="m/d/yyyy">
                  <c:v>43546</c:v>
                </c:pt>
                <c:pt idx="5925" formatCode="m/d/yyyy">
                  <c:v>43547</c:v>
                </c:pt>
                <c:pt idx="5926" formatCode="m/d/yyyy">
                  <c:v>43548</c:v>
                </c:pt>
                <c:pt idx="5927" formatCode="m/d/yyyy">
                  <c:v>43549</c:v>
                </c:pt>
                <c:pt idx="5928" formatCode="m/d/yyyy">
                  <c:v>43550</c:v>
                </c:pt>
                <c:pt idx="5929" formatCode="m/d/yyyy">
                  <c:v>43551</c:v>
                </c:pt>
                <c:pt idx="5930" formatCode="m/d/yyyy">
                  <c:v>43552</c:v>
                </c:pt>
                <c:pt idx="5931" formatCode="m/d/yyyy">
                  <c:v>43553</c:v>
                </c:pt>
                <c:pt idx="5932" formatCode="m/d/yyyy">
                  <c:v>43554</c:v>
                </c:pt>
                <c:pt idx="5933" formatCode="m/d/yyyy">
                  <c:v>43555</c:v>
                </c:pt>
                <c:pt idx="5934" formatCode="m/d/yyyy">
                  <c:v>43556</c:v>
                </c:pt>
                <c:pt idx="5935" formatCode="m/d/yyyy">
                  <c:v>43557</c:v>
                </c:pt>
                <c:pt idx="5936" formatCode="m/d/yyyy">
                  <c:v>43558</c:v>
                </c:pt>
                <c:pt idx="5937" formatCode="m/d/yyyy">
                  <c:v>43559</c:v>
                </c:pt>
                <c:pt idx="5938" formatCode="m/d/yyyy">
                  <c:v>43560</c:v>
                </c:pt>
                <c:pt idx="5939" formatCode="m/d/yyyy">
                  <c:v>43561</c:v>
                </c:pt>
                <c:pt idx="5940" formatCode="m/d/yyyy">
                  <c:v>43562</c:v>
                </c:pt>
                <c:pt idx="5941" formatCode="m/d/yyyy">
                  <c:v>43563</c:v>
                </c:pt>
                <c:pt idx="5942" formatCode="m/d/yyyy">
                  <c:v>43564</c:v>
                </c:pt>
                <c:pt idx="5943" formatCode="m/d/yyyy">
                  <c:v>43565</c:v>
                </c:pt>
                <c:pt idx="5944" formatCode="m/d/yyyy">
                  <c:v>43566</c:v>
                </c:pt>
                <c:pt idx="5945" formatCode="m/d/yyyy">
                  <c:v>43567</c:v>
                </c:pt>
                <c:pt idx="5946" formatCode="m/d/yyyy">
                  <c:v>43568</c:v>
                </c:pt>
                <c:pt idx="5947" formatCode="m/d/yyyy">
                  <c:v>43569</c:v>
                </c:pt>
                <c:pt idx="5948" formatCode="m/d/yyyy">
                  <c:v>43570</c:v>
                </c:pt>
                <c:pt idx="5949" formatCode="m/d/yyyy">
                  <c:v>43571</c:v>
                </c:pt>
                <c:pt idx="5950" formatCode="m/d/yyyy">
                  <c:v>43572</c:v>
                </c:pt>
                <c:pt idx="5951" formatCode="m/d/yyyy">
                  <c:v>43573</c:v>
                </c:pt>
                <c:pt idx="5952" formatCode="m/d/yyyy">
                  <c:v>43574</c:v>
                </c:pt>
                <c:pt idx="5953" formatCode="m/d/yyyy">
                  <c:v>43575</c:v>
                </c:pt>
                <c:pt idx="5954" formatCode="m/d/yyyy">
                  <c:v>43576</c:v>
                </c:pt>
                <c:pt idx="5955" formatCode="m/d/yyyy">
                  <c:v>43577</c:v>
                </c:pt>
                <c:pt idx="5956" formatCode="m/d/yyyy">
                  <c:v>43578</c:v>
                </c:pt>
                <c:pt idx="5957" formatCode="m/d/yyyy">
                  <c:v>43579</c:v>
                </c:pt>
                <c:pt idx="5958" formatCode="m/d/yyyy">
                  <c:v>43580</c:v>
                </c:pt>
                <c:pt idx="5959" formatCode="m/d/yyyy">
                  <c:v>43581</c:v>
                </c:pt>
                <c:pt idx="5960" formatCode="m/d/yyyy">
                  <c:v>43582</c:v>
                </c:pt>
                <c:pt idx="5961" formatCode="m/d/yyyy">
                  <c:v>43583</c:v>
                </c:pt>
                <c:pt idx="5962" formatCode="m/d/yyyy">
                  <c:v>43584</c:v>
                </c:pt>
                <c:pt idx="5963" formatCode="m/d/yyyy">
                  <c:v>43585</c:v>
                </c:pt>
                <c:pt idx="5964" formatCode="m/d/yyyy">
                  <c:v>43586</c:v>
                </c:pt>
                <c:pt idx="5965" formatCode="m/d/yyyy">
                  <c:v>43587</c:v>
                </c:pt>
                <c:pt idx="5966" formatCode="m/d/yyyy">
                  <c:v>43588</c:v>
                </c:pt>
                <c:pt idx="5967" formatCode="m/d/yyyy">
                  <c:v>43589</c:v>
                </c:pt>
                <c:pt idx="5968" formatCode="m/d/yyyy">
                  <c:v>43590</c:v>
                </c:pt>
                <c:pt idx="5969" formatCode="m/d/yyyy">
                  <c:v>43591</c:v>
                </c:pt>
                <c:pt idx="5970" formatCode="m/d/yyyy">
                  <c:v>43592</c:v>
                </c:pt>
                <c:pt idx="5971" formatCode="m/d/yyyy">
                  <c:v>43593</c:v>
                </c:pt>
                <c:pt idx="5972" formatCode="m/d/yyyy">
                  <c:v>43594</c:v>
                </c:pt>
                <c:pt idx="5973" formatCode="m/d/yyyy">
                  <c:v>43595</c:v>
                </c:pt>
                <c:pt idx="5974" formatCode="m/d/yyyy">
                  <c:v>43596</c:v>
                </c:pt>
                <c:pt idx="5975" formatCode="m/d/yyyy">
                  <c:v>43597</c:v>
                </c:pt>
                <c:pt idx="5976" formatCode="m/d/yyyy">
                  <c:v>43598</c:v>
                </c:pt>
                <c:pt idx="5977" formatCode="m/d/yyyy">
                  <c:v>43599</c:v>
                </c:pt>
                <c:pt idx="5978" formatCode="m/d/yyyy">
                  <c:v>43600</c:v>
                </c:pt>
                <c:pt idx="5979" formatCode="m/d/yyyy">
                  <c:v>43601</c:v>
                </c:pt>
                <c:pt idx="5980" formatCode="m/d/yyyy">
                  <c:v>43602</c:v>
                </c:pt>
                <c:pt idx="5981" formatCode="m/d/yyyy">
                  <c:v>43603</c:v>
                </c:pt>
                <c:pt idx="5982" formatCode="m/d/yyyy">
                  <c:v>43604</c:v>
                </c:pt>
                <c:pt idx="5983" formatCode="m/d/yyyy">
                  <c:v>43605</c:v>
                </c:pt>
                <c:pt idx="5984" formatCode="m/d/yyyy">
                  <c:v>43606</c:v>
                </c:pt>
                <c:pt idx="5985" formatCode="m/d/yyyy">
                  <c:v>43607</c:v>
                </c:pt>
                <c:pt idx="5986" formatCode="m/d/yyyy">
                  <c:v>43608</c:v>
                </c:pt>
                <c:pt idx="5987" formatCode="m/d/yyyy">
                  <c:v>43609</c:v>
                </c:pt>
                <c:pt idx="5988" formatCode="m/d/yyyy">
                  <c:v>43610</c:v>
                </c:pt>
                <c:pt idx="5989" formatCode="m/d/yyyy">
                  <c:v>43611</c:v>
                </c:pt>
                <c:pt idx="5990" formatCode="m/d/yyyy">
                  <c:v>43612</c:v>
                </c:pt>
                <c:pt idx="5991" formatCode="m/d/yyyy">
                  <c:v>43613</c:v>
                </c:pt>
                <c:pt idx="5992" formatCode="m/d/yyyy">
                  <c:v>43614</c:v>
                </c:pt>
                <c:pt idx="5993" formatCode="m/d/yyyy">
                  <c:v>43615</c:v>
                </c:pt>
                <c:pt idx="5994" formatCode="m/d/yyyy">
                  <c:v>43616</c:v>
                </c:pt>
                <c:pt idx="5995" formatCode="m/d/yyyy">
                  <c:v>43617</c:v>
                </c:pt>
                <c:pt idx="5996" formatCode="m/d/yyyy">
                  <c:v>43618</c:v>
                </c:pt>
                <c:pt idx="5997" formatCode="m/d/yyyy">
                  <c:v>43619</c:v>
                </c:pt>
                <c:pt idx="5998" formatCode="m/d/yyyy">
                  <c:v>43620</c:v>
                </c:pt>
                <c:pt idx="5999" formatCode="m/d/yyyy">
                  <c:v>43621</c:v>
                </c:pt>
                <c:pt idx="6000" formatCode="m/d/yyyy">
                  <c:v>43622</c:v>
                </c:pt>
                <c:pt idx="6001" formatCode="m/d/yyyy">
                  <c:v>43623</c:v>
                </c:pt>
                <c:pt idx="6002" formatCode="m/d/yyyy">
                  <c:v>43624</c:v>
                </c:pt>
                <c:pt idx="6003" formatCode="m/d/yyyy">
                  <c:v>43625</c:v>
                </c:pt>
                <c:pt idx="6004" formatCode="m/d/yyyy">
                  <c:v>43626</c:v>
                </c:pt>
                <c:pt idx="6005" formatCode="m/d/yyyy">
                  <c:v>43627</c:v>
                </c:pt>
                <c:pt idx="6006" formatCode="m/d/yyyy">
                  <c:v>43628</c:v>
                </c:pt>
                <c:pt idx="6007" formatCode="m/d/yyyy">
                  <c:v>43629</c:v>
                </c:pt>
                <c:pt idx="6008" formatCode="m/d/yyyy">
                  <c:v>43630</c:v>
                </c:pt>
                <c:pt idx="6009" formatCode="m/d/yyyy">
                  <c:v>43631</c:v>
                </c:pt>
                <c:pt idx="6010" formatCode="m/d/yyyy">
                  <c:v>43632</c:v>
                </c:pt>
                <c:pt idx="6011" formatCode="m/d/yyyy">
                  <c:v>43633</c:v>
                </c:pt>
                <c:pt idx="6012" formatCode="m/d/yyyy">
                  <c:v>43634</c:v>
                </c:pt>
                <c:pt idx="6013" formatCode="m/d/yyyy">
                  <c:v>43635</c:v>
                </c:pt>
                <c:pt idx="6014" formatCode="m/d/yyyy">
                  <c:v>43636</c:v>
                </c:pt>
                <c:pt idx="6015" formatCode="m/d/yyyy">
                  <c:v>43637</c:v>
                </c:pt>
                <c:pt idx="6016" formatCode="m/d/yyyy">
                  <c:v>43638</c:v>
                </c:pt>
                <c:pt idx="6017" formatCode="m/d/yyyy">
                  <c:v>43639</c:v>
                </c:pt>
                <c:pt idx="6018" formatCode="m/d/yyyy">
                  <c:v>43640</c:v>
                </c:pt>
                <c:pt idx="6019" formatCode="m/d/yyyy">
                  <c:v>43641</c:v>
                </c:pt>
                <c:pt idx="6020" formatCode="m/d/yyyy">
                  <c:v>43642</c:v>
                </c:pt>
                <c:pt idx="6021" formatCode="m/d/yyyy">
                  <c:v>43643</c:v>
                </c:pt>
                <c:pt idx="6022" formatCode="m/d/yyyy">
                  <c:v>43644</c:v>
                </c:pt>
                <c:pt idx="6023" formatCode="m/d/yyyy">
                  <c:v>43645</c:v>
                </c:pt>
                <c:pt idx="6024" formatCode="m/d/yyyy">
                  <c:v>43646</c:v>
                </c:pt>
                <c:pt idx="6025" formatCode="m/d/yyyy">
                  <c:v>43647</c:v>
                </c:pt>
                <c:pt idx="6026" formatCode="m/d/yyyy">
                  <c:v>43648</c:v>
                </c:pt>
                <c:pt idx="6027" formatCode="m/d/yyyy">
                  <c:v>43649</c:v>
                </c:pt>
                <c:pt idx="6028" formatCode="m/d/yyyy">
                  <c:v>43650</c:v>
                </c:pt>
                <c:pt idx="6029" formatCode="m/d/yyyy">
                  <c:v>43651</c:v>
                </c:pt>
                <c:pt idx="6030" formatCode="m/d/yyyy">
                  <c:v>43652</c:v>
                </c:pt>
                <c:pt idx="6031" formatCode="m/d/yyyy">
                  <c:v>43653</c:v>
                </c:pt>
                <c:pt idx="6032" formatCode="m/d/yyyy">
                  <c:v>43654</c:v>
                </c:pt>
                <c:pt idx="6033" formatCode="m/d/yyyy">
                  <c:v>43655</c:v>
                </c:pt>
                <c:pt idx="6034" formatCode="m/d/yyyy">
                  <c:v>43656</c:v>
                </c:pt>
                <c:pt idx="6035" formatCode="m/d/yyyy">
                  <c:v>43657</c:v>
                </c:pt>
                <c:pt idx="6036" formatCode="m/d/yyyy">
                  <c:v>43658</c:v>
                </c:pt>
                <c:pt idx="6037" formatCode="m/d/yyyy">
                  <c:v>43659</c:v>
                </c:pt>
                <c:pt idx="6038" formatCode="m/d/yyyy">
                  <c:v>43660</c:v>
                </c:pt>
                <c:pt idx="6039" formatCode="m/d/yyyy">
                  <c:v>43661</c:v>
                </c:pt>
                <c:pt idx="6040" formatCode="m/d/yyyy">
                  <c:v>43662</c:v>
                </c:pt>
                <c:pt idx="6041" formatCode="m/d/yyyy">
                  <c:v>43663</c:v>
                </c:pt>
                <c:pt idx="6042" formatCode="m/d/yyyy">
                  <c:v>43664</c:v>
                </c:pt>
                <c:pt idx="6043" formatCode="m/d/yyyy">
                  <c:v>43665</c:v>
                </c:pt>
                <c:pt idx="6044" formatCode="m/d/yyyy">
                  <c:v>43666</c:v>
                </c:pt>
                <c:pt idx="6045" formatCode="m/d/yyyy">
                  <c:v>43667</c:v>
                </c:pt>
                <c:pt idx="6046" formatCode="m/d/yyyy">
                  <c:v>43668</c:v>
                </c:pt>
                <c:pt idx="6047" formatCode="m/d/yyyy">
                  <c:v>43669</c:v>
                </c:pt>
                <c:pt idx="6048" formatCode="m/d/yyyy">
                  <c:v>43670</c:v>
                </c:pt>
                <c:pt idx="6049" formatCode="m/d/yyyy">
                  <c:v>43671</c:v>
                </c:pt>
                <c:pt idx="6050" formatCode="m/d/yyyy">
                  <c:v>43672</c:v>
                </c:pt>
                <c:pt idx="6051" formatCode="m/d/yyyy">
                  <c:v>43673</c:v>
                </c:pt>
                <c:pt idx="6052" formatCode="m/d/yyyy">
                  <c:v>43674</c:v>
                </c:pt>
                <c:pt idx="6053" formatCode="m/d/yyyy">
                  <c:v>43675</c:v>
                </c:pt>
                <c:pt idx="6054" formatCode="m/d/yyyy">
                  <c:v>43676</c:v>
                </c:pt>
                <c:pt idx="6055" formatCode="m/d/yyyy">
                  <c:v>43677</c:v>
                </c:pt>
                <c:pt idx="6056" formatCode="m/d/yyyy">
                  <c:v>43678</c:v>
                </c:pt>
                <c:pt idx="6057" formatCode="m/d/yyyy">
                  <c:v>43679</c:v>
                </c:pt>
                <c:pt idx="6058" formatCode="m/d/yyyy">
                  <c:v>43680</c:v>
                </c:pt>
                <c:pt idx="6059" formatCode="m/d/yyyy">
                  <c:v>43681</c:v>
                </c:pt>
                <c:pt idx="6060" formatCode="m/d/yyyy">
                  <c:v>43682</c:v>
                </c:pt>
                <c:pt idx="6061" formatCode="m/d/yyyy">
                  <c:v>43683</c:v>
                </c:pt>
                <c:pt idx="6062" formatCode="m/d/yyyy">
                  <c:v>43684</c:v>
                </c:pt>
                <c:pt idx="6063" formatCode="m/d/yyyy">
                  <c:v>43685</c:v>
                </c:pt>
                <c:pt idx="6064" formatCode="m/d/yyyy">
                  <c:v>43686</c:v>
                </c:pt>
                <c:pt idx="6065" formatCode="m/d/yyyy">
                  <c:v>43687</c:v>
                </c:pt>
                <c:pt idx="6066" formatCode="m/d/yyyy">
                  <c:v>43688</c:v>
                </c:pt>
                <c:pt idx="6067" formatCode="m/d/yyyy">
                  <c:v>43689</c:v>
                </c:pt>
                <c:pt idx="6068" formatCode="m/d/yyyy">
                  <c:v>43690</c:v>
                </c:pt>
                <c:pt idx="6069" formatCode="m/d/yyyy">
                  <c:v>43691</c:v>
                </c:pt>
                <c:pt idx="6070" formatCode="m/d/yyyy">
                  <c:v>43692</c:v>
                </c:pt>
                <c:pt idx="6071" formatCode="m/d/yyyy">
                  <c:v>43693</c:v>
                </c:pt>
                <c:pt idx="6072" formatCode="m/d/yyyy">
                  <c:v>43694</c:v>
                </c:pt>
                <c:pt idx="6073" formatCode="m/d/yyyy">
                  <c:v>43695</c:v>
                </c:pt>
                <c:pt idx="6074" formatCode="m/d/yyyy">
                  <c:v>43696</c:v>
                </c:pt>
                <c:pt idx="6075" formatCode="m/d/yyyy">
                  <c:v>43697</c:v>
                </c:pt>
                <c:pt idx="6076" formatCode="m/d/yyyy">
                  <c:v>43698</c:v>
                </c:pt>
                <c:pt idx="6077" formatCode="m/d/yyyy">
                  <c:v>43699</c:v>
                </c:pt>
                <c:pt idx="6078" formatCode="m/d/yyyy">
                  <c:v>43700</c:v>
                </c:pt>
                <c:pt idx="6079" formatCode="m/d/yyyy">
                  <c:v>43701</c:v>
                </c:pt>
                <c:pt idx="6080" formatCode="m/d/yyyy">
                  <c:v>43702</c:v>
                </c:pt>
                <c:pt idx="6081" formatCode="m/d/yyyy">
                  <c:v>43703</c:v>
                </c:pt>
                <c:pt idx="6082" formatCode="m/d/yyyy">
                  <c:v>43704</c:v>
                </c:pt>
                <c:pt idx="6083" formatCode="m/d/yyyy">
                  <c:v>43705</c:v>
                </c:pt>
                <c:pt idx="6084" formatCode="m/d/yyyy">
                  <c:v>43706</c:v>
                </c:pt>
                <c:pt idx="6085" formatCode="m/d/yyyy">
                  <c:v>43707</c:v>
                </c:pt>
                <c:pt idx="6086" formatCode="m/d/yyyy">
                  <c:v>43708</c:v>
                </c:pt>
                <c:pt idx="6087" formatCode="m/d/yyyy">
                  <c:v>43709</c:v>
                </c:pt>
                <c:pt idx="6088" formatCode="m/d/yyyy">
                  <c:v>43710</c:v>
                </c:pt>
                <c:pt idx="6089" formatCode="m/d/yyyy">
                  <c:v>43711</c:v>
                </c:pt>
                <c:pt idx="6090" formatCode="m/d/yyyy">
                  <c:v>43712</c:v>
                </c:pt>
                <c:pt idx="6091" formatCode="m/d/yyyy">
                  <c:v>43713</c:v>
                </c:pt>
                <c:pt idx="6092" formatCode="m/d/yyyy">
                  <c:v>43714</c:v>
                </c:pt>
                <c:pt idx="6093" formatCode="m/d/yyyy">
                  <c:v>43715</c:v>
                </c:pt>
                <c:pt idx="6094" formatCode="m/d/yyyy">
                  <c:v>43716</c:v>
                </c:pt>
                <c:pt idx="6095" formatCode="m/d/yyyy">
                  <c:v>43717</c:v>
                </c:pt>
                <c:pt idx="6096" formatCode="m/d/yyyy">
                  <c:v>43718</c:v>
                </c:pt>
                <c:pt idx="6097" formatCode="m/d/yyyy">
                  <c:v>43719</c:v>
                </c:pt>
                <c:pt idx="6098" formatCode="m/d/yyyy">
                  <c:v>43720</c:v>
                </c:pt>
                <c:pt idx="6099" formatCode="m/d/yyyy">
                  <c:v>43721</c:v>
                </c:pt>
                <c:pt idx="6100" formatCode="m/d/yyyy">
                  <c:v>43722</c:v>
                </c:pt>
                <c:pt idx="6101" formatCode="m/d/yyyy">
                  <c:v>43723</c:v>
                </c:pt>
                <c:pt idx="6102" formatCode="m/d/yyyy">
                  <c:v>43724</c:v>
                </c:pt>
                <c:pt idx="6103" formatCode="m/d/yyyy">
                  <c:v>43725</c:v>
                </c:pt>
                <c:pt idx="6104" formatCode="m/d/yyyy">
                  <c:v>43726</c:v>
                </c:pt>
                <c:pt idx="6105" formatCode="m/d/yyyy">
                  <c:v>43727</c:v>
                </c:pt>
                <c:pt idx="6106" formatCode="m/d/yyyy">
                  <c:v>43728</c:v>
                </c:pt>
                <c:pt idx="6107" formatCode="m/d/yyyy">
                  <c:v>43729</c:v>
                </c:pt>
                <c:pt idx="6108" formatCode="m/d/yyyy">
                  <c:v>43730</c:v>
                </c:pt>
                <c:pt idx="6109" formatCode="m/d/yyyy">
                  <c:v>43731</c:v>
                </c:pt>
                <c:pt idx="6110" formatCode="m/d/yyyy">
                  <c:v>43732</c:v>
                </c:pt>
                <c:pt idx="6111" formatCode="m/d/yyyy">
                  <c:v>43733</c:v>
                </c:pt>
                <c:pt idx="6112" formatCode="m/d/yyyy">
                  <c:v>43734</c:v>
                </c:pt>
                <c:pt idx="6113" formatCode="m/d/yyyy">
                  <c:v>43735</c:v>
                </c:pt>
                <c:pt idx="6114" formatCode="m/d/yyyy">
                  <c:v>43736</c:v>
                </c:pt>
                <c:pt idx="6115" formatCode="m/d/yyyy">
                  <c:v>43737</c:v>
                </c:pt>
                <c:pt idx="6116" formatCode="m/d/yyyy">
                  <c:v>43738</c:v>
                </c:pt>
                <c:pt idx="6117" formatCode="m/d/yyyy">
                  <c:v>43739</c:v>
                </c:pt>
                <c:pt idx="6118" formatCode="m/d/yyyy">
                  <c:v>43740</c:v>
                </c:pt>
                <c:pt idx="6119" formatCode="m/d/yyyy">
                  <c:v>43741</c:v>
                </c:pt>
                <c:pt idx="6120" formatCode="m/d/yyyy">
                  <c:v>43742</c:v>
                </c:pt>
                <c:pt idx="6121" formatCode="m/d/yyyy">
                  <c:v>43743</c:v>
                </c:pt>
                <c:pt idx="6122" formatCode="m/d/yyyy">
                  <c:v>43744</c:v>
                </c:pt>
                <c:pt idx="6123" formatCode="m/d/yyyy">
                  <c:v>43745</c:v>
                </c:pt>
                <c:pt idx="6124" formatCode="m/d/yyyy">
                  <c:v>43746</c:v>
                </c:pt>
                <c:pt idx="6125" formatCode="m/d/yyyy">
                  <c:v>43747</c:v>
                </c:pt>
                <c:pt idx="6126" formatCode="m/d/yyyy">
                  <c:v>43748</c:v>
                </c:pt>
                <c:pt idx="6127" formatCode="m/d/yyyy">
                  <c:v>43749</c:v>
                </c:pt>
                <c:pt idx="6128" formatCode="m/d/yyyy">
                  <c:v>43750</c:v>
                </c:pt>
                <c:pt idx="6129" formatCode="m/d/yyyy">
                  <c:v>43751</c:v>
                </c:pt>
                <c:pt idx="6130" formatCode="m/d/yyyy">
                  <c:v>43752</c:v>
                </c:pt>
                <c:pt idx="6131" formatCode="m/d/yyyy">
                  <c:v>43753</c:v>
                </c:pt>
                <c:pt idx="6132" formatCode="m/d/yyyy">
                  <c:v>43754</c:v>
                </c:pt>
                <c:pt idx="6133" formatCode="m/d/yyyy">
                  <c:v>43755</c:v>
                </c:pt>
                <c:pt idx="6134" formatCode="m/d/yyyy">
                  <c:v>43756</c:v>
                </c:pt>
                <c:pt idx="6135" formatCode="m/d/yyyy">
                  <c:v>43757</c:v>
                </c:pt>
                <c:pt idx="6136" formatCode="m/d/yyyy">
                  <c:v>43758</c:v>
                </c:pt>
                <c:pt idx="6137" formatCode="m/d/yyyy">
                  <c:v>43759</c:v>
                </c:pt>
                <c:pt idx="6138" formatCode="m/d/yyyy">
                  <c:v>43760</c:v>
                </c:pt>
                <c:pt idx="6139" formatCode="m/d/yyyy">
                  <c:v>43761</c:v>
                </c:pt>
                <c:pt idx="6140" formatCode="m/d/yyyy">
                  <c:v>43762</c:v>
                </c:pt>
                <c:pt idx="6141" formatCode="m/d/yyyy">
                  <c:v>43763</c:v>
                </c:pt>
                <c:pt idx="6142" formatCode="m/d/yyyy">
                  <c:v>43764</c:v>
                </c:pt>
                <c:pt idx="6143" formatCode="m/d/yyyy">
                  <c:v>43765</c:v>
                </c:pt>
                <c:pt idx="6144" formatCode="m/d/yyyy">
                  <c:v>43766</c:v>
                </c:pt>
                <c:pt idx="6145" formatCode="m/d/yyyy">
                  <c:v>43767</c:v>
                </c:pt>
                <c:pt idx="6146" formatCode="m/d/yyyy">
                  <c:v>43768</c:v>
                </c:pt>
                <c:pt idx="6147" formatCode="m/d/yyyy">
                  <c:v>43769</c:v>
                </c:pt>
                <c:pt idx="6148" formatCode="m/d/yyyy">
                  <c:v>43770</c:v>
                </c:pt>
                <c:pt idx="6149" formatCode="m/d/yyyy">
                  <c:v>43771</c:v>
                </c:pt>
                <c:pt idx="6150" formatCode="m/d/yyyy">
                  <c:v>43772</c:v>
                </c:pt>
                <c:pt idx="6151" formatCode="m/d/yyyy">
                  <c:v>43773</c:v>
                </c:pt>
                <c:pt idx="6152" formatCode="m/d/yyyy">
                  <c:v>43774</c:v>
                </c:pt>
                <c:pt idx="6153" formatCode="m/d/yyyy">
                  <c:v>43775</c:v>
                </c:pt>
                <c:pt idx="6154" formatCode="m/d/yyyy">
                  <c:v>43776</c:v>
                </c:pt>
                <c:pt idx="6155" formatCode="m/d/yyyy">
                  <c:v>43777</c:v>
                </c:pt>
                <c:pt idx="6156" formatCode="m/d/yyyy">
                  <c:v>43778</c:v>
                </c:pt>
                <c:pt idx="6157" formatCode="m/d/yyyy">
                  <c:v>43779</c:v>
                </c:pt>
                <c:pt idx="6158" formatCode="m/d/yyyy">
                  <c:v>43780</c:v>
                </c:pt>
                <c:pt idx="6159" formatCode="m/d/yyyy">
                  <c:v>43781</c:v>
                </c:pt>
                <c:pt idx="6160" formatCode="m/d/yyyy">
                  <c:v>43782</c:v>
                </c:pt>
                <c:pt idx="6161" formatCode="m/d/yyyy">
                  <c:v>43783</c:v>
                </c:pt>
                <c:pt idx="6162" formatCode="m/d/yyyy">
                  <c:v>43784</c:v>
                </c:pt>
                <c:pt idx="6163" formatCode="m/d/yyyy">
                  <c:v>43785</c:v>
                </c:pt>
                <c:pt idx="6164" formatCode="m/d/yyyy">
                  <c:v>43786</c:v>
                </c:pt>
                <c:pt idx="6165" formatCode="m/d/yyyy">
                  <c:v>43787</c:v>
                </c:pt>
                <c:pt idx="6166" formatCode="m/d/yyyy">
                  <c:v>43788</c:v>
                </c:pt>
                <c:pt idx="6167" formatCode="m/d/yyyy">
                  <c:v>43789</c:v>
                </c:pt>
                <c:pt idx="6168" formatCode="m/d/yyyy">
                  <c:v>43790</c:v>
                </c:pt>
                <c:pt idx="6169" formatCode="m/d/yyyy">
                  <c:v>43791</c:v>
                </c:pt>
                <c:pt idx="6170" formatCode="m/d/yyyy">
                  <c:v>43792</c:v>
                </c:pt>
                <c:pt idx="6171" formatCode="m/d/yyyy">
                  <c:v>43793</c:v>
                </c:pt>
                <c:pt idx="6172" formatCode="m/d/yyyy">
                  <c:v>43794</c:v>
                </c:pt>
                <c:pt idx="6173" formatCode="m/d/yyyy">
                  <c:v>43795</c:v>
                </c:pt>
                <c:pt idx="6174" formatCode="m/d/yyyy">
                  <c:v>43796</c:v>
                </c:pt>
                <c:pt idx="6175" formatCode="m/d/yyyy">
                  <c:v>43797</c:v>
                </c:pt>
                <c:pt idx="6176" formatCode="m/d/yyyy">
                  <c:v>43798</c:v>
                </c:pt>
                <c:pt idx="6177" formatCode="m/d/yyyy">
                  <c:v>43799</c:v>
                </c:pt>
                <c:pt idx="6178" formatCode="m/d/yyyy">
                  <c:v>43800</c:v>
                </c:pt>
                <c:pt idx="6179" formatCode="m/d/yyyy">
                  <c:v>43801</c:v>
                </c:pt>
                <c:pt idx="6180" formatCode="m/d/yyyy">
                  <c:v>43802</c:v>
                </c:pt>
                <c:pt idx="6181" formatCode="m/d/yyyy">
                  <c:v>43803</c:v>
                </c:pt>
                <c:pt idx="6182" formatCode="m/d/yyyy">
                  <c:v>43804</c:v>
                </c:pt>
                <c:pt idx="6183" formatCode="m/d/yyyy">
                  <c:v>43805</c:v>
                </c:pt>
                <c:pt idx="6184" formatCode="m/d/yyyy">
                  <c:v>43806</c:v>
                </c:pt>
                <c:pt idx="6185" formatCode="m/d/yyyy">
                  <c:v>43807</c:v>
                </c:pt>
                <c:pt idx="6186" formatCode="m/d/yyyy">
                  <c:v>43808</c:v>
                </c:pt>
                <c:pt idx="6187" formatCode="m/d/yyyy">
                  <c:v>43809</c:v>
                </c:pt>
                <c:pt idx="6188" formatCode="m/d/yyyy">
                  <c:v>43810</c:v>
                </c:pt>
                <c:pt idx="6189" formatCode="m/d/yyyy">
                  <c:v>43811</c:v>
                </c:pt>
                <c:pt idx="6190" formatCode="m/d/yyyy">
                  <c:v>43812</c:v>
                </c:pt>
                <c:pt idx="6191" formatCode="m/d/yyyy">
                  <c:v>43813</c:v>
                </c:pt>
                <c:pt idx="6192" formatCode="m/d/yyyy">
                  <c:v>43814</c:v>
                </c:pt>
                <c:pt idx="6193" formatCode="m/d/yyyy">
                  <c:v>43815</c:v>
                </c:pt>
                <c:pt idx="6194" formatCode="m/d/yyyy">
                  <c:v>43816</c:v>
                </c:pt>
                <c:pt idx="6195" formatCode="m/d/yyyy">
                  <c:v>43817</c:v>
                </c:pt>
                <c:pt idx="6196" formatCode="m/d/yyyy">
                  <c:v>43818</c:v>
                </c:pt>
                <c:pt idx="6197" formatCode="m/d/yyyy">
                  <c:v>43819</c:v>
                </c:pt>
                <c:pt idx="6198" formatCode="m/d/yyyy">
                  <c:v>43820</c:v>
                </c:pt>
                <c:pt idx="6199" formatCode="m/d/yyyy">
                  <c:v>43821</c:v>
                </c:pt>
                <c:pt idx="6200" formatCode="m/d/yyyy">
                  <c:v>43822</c:v>
                </c:pt>
                <c:pt idx="6201" formatCode="m/d/yyyy">
                  <c:v>43823</c:v>
                </c:pt>
                <c:pt idx="6202" formatCode="m/d/yyyy">
                  <c:v>43824</c:v>
                </c:pt>
                <c:pt idx="6203" formatCode="m/d/yyyy">
                  <c:v>43825</c:v>
                </c:pt>
                <c:pt idx="6204" formatCode="m/d/yyyy">
                  <c:v>43826</c:v>
                </c:pt>
                <c:pt idx="6205" formatCode="m/d/yyyy">
                  <c:v>43827</c:v>
                </c:pt>
                <c:pt idx="6206" formatCode="m/d/yyyy">
                  <c:v>43828</c:v>
                </c:pt>
                <c:pt idx="6207" formatCode="m/d/yyyy">
                  <c:v>43829</c:v>
                </c:pt>
                <c:pt idx="6208" formatCode="m/d/yyyy">
                  <c:v>43830</c:v>
                </c:pt>
                <c:pt idx="6209" formatCode="m/d/yyyy">
                  <c:v>43831</c:v>
                </c:pt>
                <c:pt idx="6210" formatCode="m/d/yyyy">
                  <c:v>43832</c:v>
                </c:pt>
                <c:pt idx="6211" formatCode="m/d/yyyy">
                  <c:v>43833</c:v>
                </c:pt>
                <c:pt idx="6212" formatCode="m/d/yyyy">
                  <c:v>43834</c:v>
                </c:pt>
                <c:pt idx="6213" formatCode="m/d/yyyy">
                  <c:v>43835</c:v>
                </c:pt>
                <c:pt idx="6214" formatCode="m/d/yyyy">
                  <c:v>43836</c:v>
                </c:pt>
                <c:pt idx="6215" formatCode="m/d/yyyy">
                  <c:v>43837</c:v>
                </c:pt>
                <c:pt idx="6216" formatCode="m/d/yyyy">
                  <c:v>43838</c:v>
                </c:pt>
                <c:pt idx="6217" formatCode="m/d/yyyy">
                  <c:v>43839</c:v>
                </c:pt>
                <c:pt idx="6218" formatCode="m/d/yyyy">
                  <c:v>43840</c:v>
                </c:pt>
                <c:pt idx="6219" formatCode="m/d/yyyy">
                  <c:v>43841</c:v>
                </c:pt>
                <c:pt idx="6220" formatCode="m/d/yyyy">
                  <c:v>43842</c:v>
                </c:pt>
                <c:pt idx="6221" formatCode="m/d/yyyy">
                  <c:v>43843</c:v>
                </c:pt>
                <c:pt idx="6222" formatCode="m/d/yyyy">
                  <c:v>43844</c:v>
                </c:pt>
                <c:pt idx="6223" formatCode="m/d/yyyy">
                  <c:v>43845</c:v>
                </c:pt>
                <c:pt idx="6224" formatCode="m/d/yyyy">
                  <c:v>43846</c:v>
                </c:pt>
                <c:pt idx="6225" formatCode="m/d/yyyy">
                  <c:v>43847</c:v>
                </c:pt>
                <c:pt idx="6226" formatCode="m/d/yyyy">
                  <c:v>43848</c:v>
                </c:pt>
                <c:pt idx="6227" formatCode="m/d/yyyy">
                  <c:v>43849</c:v>
                </c:pt>
                <c:pt idx="6228" formatCode="m/d/yyyy">
                  <c:v>43850</c:v>
                </c:pt>
                <c:pt idx="6229" formatCode="m/d/yyyy">
                  <c:v>43851</c:v>
                </c:pt>
                <c:pt idx="6230" formatCode="m/d/yyyy">
                  <c:v>43852</c:v>
                </c:pt>
                <c:pt idx="6231" formatCode="m/d/yyyy">
                  <c:v>43853</c:v>
                </c:pt>
                <c:pt idx="6232" formatCode="m/d/yyyy">
                  <c:v>43854</c:v>
                </c:pt>
                <c:pt idx="6233" formatCode="m/d/yyyy">
                  <c:v>43855</c:v>
                </c:pt>
                <c:pt idx="6234" formatCode="m/d/yyyy">
                  <c:v>43856</c:v>
                </c:pt>
                <c:pt idx="6235" formatCode="m/d/yyyy">
                  <c:v>43857</c:v>
                </c:pt>
                <c:pt idx="6236" formatCode="m/d/yyyy">
                  <c:v>43858</c:v>
                </c:pt>
                <c:pt idx="6237" formatCode="m/d/yyyy">
                  <c:v>43859</c:v>
                </c:pt>
                <c:pt idx="6238" formatCode="m/d/yyyy">
                  <c:v>43860</c:v>
                </c:pt>
                <c:pt idx="6239" formatCode="m/d/yyyy">
                  <c:v>43861</c:v>
                </c:pt>
                <c:pt idx="6240" formatCode="m/d/yyyy">
                  <c:v>43862</c:v>
                </c:pt>
                <c:pt idx="6241" formatCode="m/d/yyyy">
                  <c:v>43863</c:v>
                </c:pt>
                <c:pt idx="6242" formatCode="m/d/yyyy">
                  <c:v>43864</c:v>
                </c:pt>
                <c:pt idx="6243" formatCode="m/d/yyyy">
                  <c:v>43865</c:v>
                </c:pt>
                <c:pt idx="6244" formatCode="m/d/yyyy">
                  <c:v>43866</c:v>
                </c:pt>
                <c:pt idx="6245" formatCode="m/d/yyyy">
                  <c:v>43867</c:v>
                </c:pt>
                <c:pt idx="6246" formatCode="m/d/yyyy">
                  <c:v>43868</c:v>
                </c:pt>
                <c:pt idx="6247" formatCode="m/d/yyyy">
                  <c:v>43869</c:v>
                </c:pt>
                <c:pt idx="6248" formatCode="m/d/yyyy">
                  <c:v>43870</c:v>
                </c:pt>
                <c:pt idx="6249" formatCode="m/d/yyyy">
                  <c:v>43871</c:v>
                </c:pt>
                <c:pt idx="6250" formatCode="m/d/yyyy">
                  <c:v>43872</c:v>
                </c:pt>
                <c:pt idx="6251" formatCode="m/d/yyyy">
                  <c:v>43873</c:v>
                </c:pt>
                <c:pt idx="6252" formatCode="m/d/yyyy">
                  <c:v>43874</c:v>
                </c:pt>
                <c:pt idx="6253" formatCode="m/d/yyyy">
                  <c:v>43875</c:v>
                </c:pt>
                <c:pt idx="6254" formatCode="m/d/yyyy">
                  <c:v>43876</c:v>
                </c:pt>
                <c:pt idx="6255" formatCode="m/d/yyyy">
                  <c:v>43877</c:v>
                </c:pt>
                <c:pt idx="6256" formatCode="m/d/yyyy">
                  <c:v>43878</c:v>
                </c:pt>
                <c:pt idx="6257" formatCode="m/d/yyyy">
                  <c:v>43879</c:v>
                </c:pt>
                <c:pt idx="6258" formatCode="m/d/yyyy">
                  <c:v>43880</c:v>
                </c:pt>
                <c:pt idx="6259" formatCode="m/d/yyyy">
                  <c:v>43881</c:v>
                </c:pt>
                <c:pt idx="6260" formatCode="m/d/yyyy">
                  <c:v>43882</c:v>
                </c:pt>
                <c:pt idx="6261" formatCode="m/d/yyyy">
                  <c:v>43883</c:v>
                </c:pt>
                <c:pt idx="6262" formatCode="m/d/yyyy">
                  <c:v>43884</c:v>
                </c:pt>
                <c:pt idx="6263" formatCode="m/d/yyyy">
                  <c:v>43885</c:v>
                </c:pt>
                <c:pt idx="6264" formatCode="m/d/yyyy">
                  <c:v>43886</c:v>
                </c:pt>
                <c:pt idx="6265" formatCode="m/d/yyyy">
                  <c:v>43887</c:v>
                </c:pt>
                <c:pt idx="6266" formatCode="m/d/yyyy">
                  <c:v>43888</c:v>
                </c:pt>
                <c:pt idx="6267" formatCode="m/d/yyyy">
                  <c:v>43889</c:v>
                </c:pt>
                <c:pt idx="6268" formatCode="m/d/yyyy">
                  <c:v>43890</c:v>
                </c:pt>
                <c:pt idx="6269" formatCode="m/d/yyyy">
                  <c:v>43891</c:v>
                </c:pt>
                <c:pt idx="6270" formatCode="m/d/yyyy">
                  <c:v>43892</c:v>
                </c:pt>
                <c:pt idx="6271" formatCode="m/d/yyyy">
                  <c:v>43893</c:v>
                </c:pt>
                <c:pt idx="6272" formatCode="m/d/yyyy">
                  <c:v>43894</c:v>
                </c:pt>
                <c:pt idx="6273" formatCode="m/d/yyyy">
                  <c:v>43895</c:v>
                </c:pt>
                <c:pt idx="6274" formatCode="m/d/yyyy">
                  <c:v>43896</c:v>
                </c:pt>
                <c:pt idx="6275" formatCode="m/d/yyyy">
                  <c:v>43897</c:v>
                </c:pt>
                <c:pt idx="6276" formatCode="m/d/yyyy">
                  <c:v>43898</c:v>
                </c:pt>
                <c:pt idx="6277" formatCode="m/d/yyyy">
                  <c:v>43899</c:v>
                </c:pt>
                <c:pt idx="6278" formatCode="m/d/yyyy">
                  <c:v>43900</c:v>
                </c:pt>
                <c:pt idx="6279" formatCode="m/d/yyyy">
                  <c:v>43901</c:v>
                </c:pt>
                <c:pt idx="6280" formatCode="m/d/yyyy">
                  <c:v>43902</c:v>
                </c:pt>
                <c:pt idx="6281" formatCode="m/d/yyyy">
                  <c:v>43903</c:v>
                </c:pt>
                <c:pt idx="6282" formatCode="m/d/yyyy">
                  <c:v>43904</c:v>
                </c:pt>
                <c:pt idx="6283" formatCode="m/d/yyyy">
                  <c:v>43905</c:v>
                </c:pt>
                <c:pt idx="6284" formatCode="m/d/yyyy">
                  <c:v>43906</c:v>
                </c:pt>
                <c:pt idx="6285" formatCode="m/d/yyyy">
                  <c:v>43907</c:v>
                </c:pt>
                <c:pt idx="6286" formatCode="m/d/yyyy">
                  <c:v>43908</c:v>
                </c:pt>
                <c:pt idx="6287" formatCode="m/d/yyyy">
                  <c:v>43909</c:v>
                </c:pt>
                <c:pt idx="6288" formatCode="m/d/yyyy">
                  <c:v>43910</c:v>
                </c:pt>
                <c:pt idx="6289" formatCode="m/d/yyyy">
                  <c:v>43911</c:v>
                </c:pt>
                <c:pt idx="6290" formatCode="m/d/yyyy">
                  <c:v>43912</c:v>
                </c:pt>
                <c:pt idx="6291" formatCode="m/d/yyyy">
                  <c:v>43913</c:v>
                </c:pt>
                <c:pt idx="6292" formatCode="m/d/yyyy">
                  <c:v>43914</c:v>
                </c:pt>
                <c:pt idx="6293" formatCode="m/d/yyyy">
                  <c:v>43915</c:v>
                </c:pt>
                <c:pt idx="6294" formatCode="m/d/yyyy">
                  <c:v>43916</c:v>
                </c:pt>
                <c:pt idx="6295" formatCode="m/d/yyyy">
                  <c:v>43917</c:v>
                </c:pt>
                <c:pt idx="6296" formatCode="m/d/yyyy">
                  <c:v>43918</c:v>
                </c:pt>
                <c:pt idx="6297" formatCode="m/d/yyyy">
                  <c:v>43919</c:v>
                </c:pt>
                <c:pt idx="6298" formatCode="m/d/yyyy">
                  <c:v>43920</c:v>
                </c:pt>
                <c:pt idx="6299" formatCode="m/d/yyyy">
                  <c:v>43921</c:v>
                </c:pt>
                <c:pt idx="6300" formatCode="m/d/yyyy">
                  <c:v>43922</c:v>
                </c:pt>
                <c:pt idx="6301" formatCode="m/d/yyyy">
                  <c:v>43923</c:v>
                </c:pt>
                <c:pt idx="6302" formatCode="m/d/yyyy">
                  <c:v>43924</c:v>
                </c:pt>
                <c:pt idx="6303" formatCode="m/d/yyyy">
                  <c:v>43925</c:v>
                </c:pt>
                <c:pt idx="6304" formatCode="m/d/yyyy">
                  <c:v>43926</c:v>
                </c:pt>
                <c:pt idx="6305" formatCode="m/d/yyyy">
                  <c:v>43927</c:v>
                </c:pt>
                <c:pt idx="6306" formatCode="m/d/yyyy">
                  <c:v>43928</c:v>
                </c:pt>
                <c:pt idx="6307" formatCode="m/d/yyyy">
                  <c:v>43929</c:v>
                </c:pt>
                <c:pt idx="6308" formatCode="m/d/yyyy">
                  <c:v>43930</c:v>
                </c:pt>
                <c:pt idx="6309" formatCode="m/d/yyyy">
                  <c:v>43931</c:v>
                </c:pt>
                <c:pt idx="6310" formatCode="m/d/yyyy">
                  <c:v>43932</c:v>
                </c:pt>
                <c:pt idx="6311" formatCode="m/d/yyyy">
                  <c:v>43933</c:v>
                </c:pt>
                <c:pt idx="6312" formatCode="m/d/yyyy">
                  <c:v>43934</c:v>
                </c:pt>
                <c:pt idx="6313" formatCode="m/d/yyyy">
                  <c:v>43935</c:v>
                </c:pt>
                <c:pt idx="6314" formatCode="m/d/yyyy">
                  <c:v>43936</c:v>
                </c:pt>
                <c:pt idx="6315" formatCode="m/d/yyyy">
                  <c:v>43937</c:v>
                </c:pt>
                <c:pt idx="6316" formatCode="m/d/yyyy">
                  <c:v>43938</c:v>
                </c:pt>
                <c:pt idx="6317" formatCode="m/d/yyyy">
                  <c:v>43939</c:v>
                </c:pt>
                <c:pt idx="6318" formatCode="m/d/yyyy">
                  <c:v>43940</c:v>
                </c:pt>
                <c:pt idx="6319" formatCode="m/d/yyyy">
                  <c:v>43941</c:v>
                </c:pt>
                <c:pt idx="6320" formatCode="m/d/yyyy">
                  <c:v>43942</c:v>
                </c:pt>
                <c:pt idx="6321" formatCode="m/d/yyyy">
                  <c:v>43943</c:v>
                </c:pt>
                <c:pt idx="6322" formatCode="m/d/yyyy">
                  <c:v>43944</c:v>
                </c:pt>
                <c:pt idx="6323" formatCode="m/d/yyyy">
                  <c:v>43945</c:v>
                </c:pt>
                <c:pt idx="6324" formatCode="m/d/yyyy">
                  <c:v>43946</c:v>
                </c:pt>
                <c:pt idx="6325" formatCode="m/d/yyyy">
                  <c:v>43947</c:v>
                </c:pt>
                <c:pt idx="6326" formatCode="m/d/yyyy">
                  <c:v>43948</c:v>
                </c:pt>
                <c:pt idx="6327" formatCode="m/d/yyyy">
                  <c:v>43949</c:v>
                </c:pt>
                <c:pt idx="6328" formatCode="m/d/yyyy">
                  <c:v>43950</c:v>
                </c:pt>
                <c:pt idx="6329" formatCode="m/d/yyyy">
                  <c:v>43951</c:v>
                </c:pt>
                <c:pt idx="6330" formatCode="m/d/yyyy">
                  <c:v>43952</c:v>
                </c:pt>
                <c:pt idx="6331" formatCode="m/d/yyyy">
                  <c:v>43953</c:v>
                </c:pt>
                <c:pt idx="6332" formatCode="m/d/yyyy">
                  <c:v>43954</c:v>
                </c:pt>
                <c:pt idx="6333" formatCode="m/d/yyyy">
                  <c:v>43955</c:v>
                </c:pt>
                <c:pt idx="6334" formatCode="m/d/yyyy">
                  <c:v>43956</c:v>
                </c:pt>
                <c:pt idx="6335" formatCode="m/d/yyyy">
                  <c:v>43957</c:v>
                </c:pt>
                <c:pt idx="6336" formatCode="m/d/yyyy">
                  <c:v>43958</c:v>
                </c:pt>
                <c:pt idx="6337" formatCode="m/d/yyyy">
                  <c:v>43959</c:v>
                </c:pt>
                <c:pt idx="6338" formatCode="m/d/yyyy">
                  <c:v>43960</c:v>
                </c:pt>
                <c:pt idx="6339" formatCode="m/d/yyyy">
                  <c:v>43961</c:v>
                </c:pt>
                <c:pt idx="6340" formatCode="m/d/yyyy">
                  <c:v>43962</c:v>
                </c:pt>
                <c:pt idx="6341" formatCode="m/d/yyyy">
                  <c:v>43963</c:v>
                </c:pt>
                <c:pt idx="6342" formatCode="m/d/yyyy">
                  <c:v>43964</c:v>
                </c:pt>
                <c:pt idx="6343" formatCode="m/d/yyyy">
                  <c:v>43965</c:v>
                </c:pt>
                <c:pt idx="6344" formatCode="m/d/yyyy">
                  <c:v>43966</c:v>
                </c:pt>
                <c:pt idx="6345" formatCode="m/d/yyyy">
                  <c:v>43967</c:v>
                </c:pt>
                <c:pt idx="6346" formatCode="m/d/yyyy">
                  <c:v>43968</c:v>
                </c:pt>
                <c:pt idx="6347" formatCode="m/d/yyyy">
                  <c:v>43969</c:v>
                </c:pt>
                <c:pt idx="6348" formatCode="m/d/yyyy">
                  <c:v>43970</c:v>
                </c:pt>
                <c:pt idx="6349" formatCode="m/d/yyyy">
                  <c:v>43971</c:v>
                </c:pt>
                <c:pt idx="6350" formatCode="m/d/yyyy">
                  <c:v>43972</c:v>
                </c:pt>
                <c:pt idx="6351" formatCode="m/d/yyyy">
                  <c:v>43973</c:v>
                </c:pt>
                <c:pt idx="6352" formatCode="m/d/yyyy">
                  <c:v>43974</c:v>
                </c:pt>
                <c:pt idx="6353" formatCode="m/d/yyyy">
                  <c:v>43975</c:v>
                </c:pt>
                <c:pt idx="6354" formatCode="m/d/yyyy">
                  <c:v>43976</c:v>
                </c:pt>
                <c:pt idx="6355" formatCode="m/d/yyyy">
                  <c:v>43977</c:v>
                </c:pt>
                <c:pt idx="6356" formatCode="m/d/yyyy">
                  <c:v>43978</c:v>
                </c:pt>
                <c:pt idx="6357" formatCode="m/d/yyyy">
                  <c:v>43979</c:v>
                </c:pt>
                <c:pt idx="6358" formatCode="m/d/yyyy">
                  <c:v>43980</c:v>
                </c:pt>
                <c:pt idx="6359" formatCode="m/d/yyyy">
                  <c:v>43981</c:v>
                </c:pt>
                <c:pt idx="6360" formatCode="m/d/yyyy">
                  <c:v>43982</c:v>
                </c:pt>
                <c:pt idx="6361" formatCode="m/d/yyyy">
                  <c:v>43983</c:v>
                </c:pt>
                <c:pt idx="6362" formatCode="m/d/yyyy">
                  <c:v>43984</c:v>
                </c:pt>
                <c:pt idx="6363" formatCode="m/d/yyyy">
                  <c:v>43985</c:v>
                </c:pt>
                <c:pt idx="6364" formatCode="m/d/yyyy">
                  <c:v>43986</c:v>
                </c:pt>
                <c:pt idx="6365" formatCode="m/d/yyyy">
                  <c:v>43987</c:v>
                </c:pt>
                <c:pt idx="6366" formatCode="m/d/yyyy">
                  <c:v>43988</c:v>
                </c:pt>
                <c:pt idx="6367" formatCode="m/d/yyyy">
                  <c:v>43989</c:v>
                </c:pt>
                <c:pt idx="6368" formatCode="m/d/yyyy">
                  <c:v>43990</c:v>
                </c:pt>
                <c:pt idx="6369" formatCode="m/d/yyyy">
                  <c:v>43991</c:v>
                </c:pt>
                <c:pt idx="6370" formatCode="m/d/yyyy">
                  <c:v>43992</c:v>
                </c:pt>
                <c:pt idx="6371" formatCode="m/d/yyyy">
                  <c:v>43993</c:v>
                </c:pt>
                <c:pt idx="6372" formatCode="m/d/yyyy">
                  <c:v>43994</c:v>
                </c:pt>
                <c:pt idx="6373" formatCode="m/d/yyyy">
                  <c:v>43995</c:v>
                </c:pt>
                <c:pt idx="6374" formatCode="m/d/yyyy">
                  <c:v>43996</c:v>
                </c:pt>
                <c:pt idx="6375" formatCode="m/d/yyyy">
                  <c:v>43997</c:v>
                </c:pt>
                <c:pt idx="6376" formatCode="m/d/yyyy">
                  <c:v>43998</c:v>
                </c:pt>
                <c:pt idx="6377" formatCode="m/d/yyyy">
                  <c:v>43999</c:v>
                </c:pt>
                <c:pt idx="6378" formatCode="m/d/yyyy">
                  <c:v>44000</c:v>
                </c:pt>
                <c:pt idx="6379" formatCode="m/d/yyyy">
                  <c:v>44001</c:v>
                </c:pt>
                <c:pt idx="6380" formatCode="m/d/yyyy">
                  <c:v>44002</c:v>
                </c:pt>
                <c:pt idx="6381" formatCode="m/d/yyyy">
                  <c:v>44003</c:v>
                </c:pt>
                <c:pt idx="6382" formatCode="m/d/yyyy">
                  <c:v>44004</c:v>
                </c:pt>
                <c:pt idx="6383" formatCode="m/d/yyyy">
                  <c:v>44005</c:v>
                </c:pt>
                <c:pt idx="6384" formatCode="m/d/yyyy">
                  <c:v>44006</c:v>
                </c:pt>
                <c:pt idx="6385" formatCode="m/d/yyyy">
                  <c:v>44007</c:v>
                </c:pt>
                <c:pt idx="6386" formatCode="m/d/yyyy">
                  <c:v>44008</c:v>
                </c:pt>
                <c:pt idx="6387" formatCode="m/d/yyyy">
                  <c:v>44009</c:v>
                </c:pt>
                <c:pt idx="6388" formatCode="m/d/yyyy">
                  <c:v>44010</c:v>
                </c:pt>
                <c:pt idx="6389" formatCode="m/d/yyyy">
                  <c:v>44011</c:v>
                </c:pt>
                <c:pt idx="6390" formatCode="m/d/yyyy">
                  <c:v>44012</c:v>
                </c:pt>
                <c:pt idx="6391" formatCode="m/d/yyyy">
                  <c:v>44013</c:v>
                </c:pt>
                <c:pt idx="6392" formatCode="m/d/yyyy">
                  <c:v>44014</c:v>
                </c:pt>
                <c:pt idx="6393" formatCode="m/d/yyyy">
                  <c:v>44015</c:v>
                </c:pt>
                <c:pt idx="6394" formatCode="m/d/yyyy">
                  <c:v>44016</c:v>
                </c:pt>
                <c:pt idx="6395" formatCode="m/d/yyyy">
                  <c:v>44017</c:v>
                </c:pt>
                <c:pt idx="6396" formatCode="m/d/yyyy">
                  <c:v>44018</c:v>
                </c:pt>
                <c:pt idx="6397" formatCode="m/d/yyyy">
                  <c:v>44019</c:v>
                </c:pt>
                <c:pt idx="6398" formatCode="m/d/yyyy">
                  <c:v>44020</c:v>
                </c:pt>
                <c:pt idx="6399" formatCode="m/d/yyyy">
                  <c:v>44021</c:v>
                </c:pt>
                <c:pt idx="6400" formatCode="m/d/yyyy">
                  <c:v>44022</c:v>
                </c:pt>
                <c:pt idx="6401" formatCode="m/d/yyyy">
                  <c:v>44023</c:v>
                </c:pt>
                <c:pt idx="6402" formatCode="m/d/yyyy">
                  <c:v>44024</c:v>
                </c:pt>
                <c:pt idx="6403" formatCode="m/d/yyyy">
                  <c:v>44025</c:v>
                </c:pt>
                <c:pt idx="6404" formatCode="m/d/yyyy">
                  <c:v>44026</c:v>
                </c:pt>
                <c:pt idx="6405" formatCode="m/d/yyyy">
                  <c:v>44027</c:v>
                </c:pt>
                <c:pt idx="6406" formatCode="m/d/yyyy">
                  <c:v>44028</c:v>
                </c:pt>
                <c:pt idx="6407" formatCode="m/d/yyyy">
                  <c:v>44029</c:v>
                </c:pt>
                <c:pt idx="6408" formatCode="m/d/yyyy">
                  <c:v>44030</c:v>
                </c:pt>
                <c:pt idx="6409" formatCode="m/d/yyyy">
                  <c:v>44031</c:v>
                </c:pt>
                <c:pt idx="6410" formatCode="m/d/yyyy">
                  <c:v>44032</c:v>
                </c:pt>
                <c:pt idx="6411" formatCode="m/d/yyyy">
                  <c:v>44033</c:v>
                </c:pt>
                <c:pt idx="6412" formatCode="m/d/yyyy">
                  <c:v>44034</c:v>
                </c:pt>
                <c:pt idx="6413" formatCode="m/d/yyyy">
                  <c:v>44035</c:v>
                </c:pt>
                <c:pt idx="6414" formatCode="m/d/yyyy">
                  <c:v>44036</c:v>
                </c:pt>
                <c:pt idx="6415" formatCode="m/d/yyyy">
                  <c:v>44037</c:v>
                </c:pt>
                <c:pt idx="6416" formatCode="m/d/yyyy">
                  <c:v>44038</c:v>
                </c:pt>
                <c:pt idx="6417" formatCode="m/d/yyyy">
                  <c:v>44039</c:v>
                </c:pt>
                <c:pt idx="6418" formatCode="m/d/yyyy">
                  <c:v>44040</c:v>
                </c:pt>
                <c:pt idx="6419" formatCode="m/d/yyyy">
                  <c:v>44041</c:v>
                </c:pt>
                <c:pt idx="6420" formatCode="m/d/yyyy">
                  <c:v>44042</c:v>
                </c:pt>
                <c:pt idx="6421" formatCode="m/d/yyyy">
                  <c:v>44043</c:v>
                </c:pt>
                <c:pt idx="6422" formatCode="m/d/yyyy">
                  <c:v>44044</c:v>
                </c:pt>
                <c:pt idx="6423" formatCode="m/d/yyyy">
                  <c:v>44045</c:v>
                </c:pt>
                <c:pt idx="6424" formatCode="m/d/yyyy">
                  <c:v>44046</c:v>
                </c:pt>
                <c:pt idx="6425" formatCode="m/d/yyyy">
                  <c:v>44047</c:v>
                </c:pt>
                <c:pt idx="6426" formatCode="m/d/yyyy">
                  <c:v>44048</c:v>
                </c:pt>
                <c:pt idx="6427" formatCode="m/d/yyyy">
                  <c:v>44049</c:v>
                </c:pt>
                <c:pt idx="6428" formatCode="m/d/yyyy">
                  <c:v>44050</c:v>
                </c:pt>
                <c:pt idx="6429" formatCode="m/d/yyyy">
                  <c:v>44051</c:v>
                </c:pt>
                <c:pt idx="6430" formatCode="m/d/yyyy">
                  <c:v>44052</c:v>
                </c:pt>
                <c:pt idx="6431" formatCode="m/d/yyyy">
                  <c:v>44053</c:v>
                </c:pt>
                <c:pt idx="6432" formatCode="m/d/yyyy">
                  <c:v>44054</c:v>
                </c:pt>
                <c:pt idx="6433" formatCode="m/d/yyyy">
                  <c:v>44055</c:v>
                </c:pt>
                <c:pt idx="6434" formatCode="m/d/yyyy">
                  <c:v>44056</c:v>
                </c:pt>
                <c:pt idx="6435" formatCode="m/d/yyyy">
                  <c:v>44057</c:v>
                </c:pt>
                <c:pt idx="6436" formatCode="m/d/yyyy">
                  <c:v>44058</c:v>
                </c:pt>
                <c:pt idx="6437" formatCode="m/d/yyyy">
                  <c:v>44059</c:v>
                </c:pt>
                <c:pt idx="6438" formatCode="m/d/yyyy">
                  <c:v>44060</c:v>
                </c:pt>
                <c:pt idx="6439" formatCode="m/d/yyyy">
                  <c:v>44061</c:v>
                </c:pt>
                <c:pt idx="6440" formatCode="m/d/yyyy">
                  <c:v>44062</c:v>
                </c:pt>
                <c:pt idx="6441" formatCode="m/d/yyyy">
                  <c:v>44063</c:v>
                </c:pt>
                <c:pt idx="6442" formatCode="m/d/yyyy">
                  <c:v>44064</c:v>
                </c:pt>
                <c:pt idx="6443" formatCode="m/d/yyyy">
                  <c:v>44065</c:v>
                </c:pt>
                <c:pt idx="6444" formatCode="m/d/yyyy">
                  <c:v>44066</c:v>
                </c:pt>
                <c:pt idx="6445" formatCode="m/d/yyyy">
                  <c:v>44067</c:v>
                </c:pt>
                <c:pt idx="6446" formatCode="m/d/yyyy">
                  <c:v>44068</c:v>
                </c:pt>
                <c:pt idx="6447" formatCode="m/d/yyyy">
                  <c:v>44069</c:v>
                </c:pt>
                <c:pt idx="6448" formatCode="m/d/yyyy">
                  <c:v>44070</c:v>
                </c:pt>
                <c:pt idx="6449" formatCode="m/d/yyyy">
                  <c:v>44071</c:v>
                </c:pt>
                <c:pt idx="6450" formatCode="m/d/yyyy">
                  <c:v>44072</c:v>
                </c:pt>
                <c:pt idx="6451" formatCode="m/d/yyyy">
                  <c:v>44073</c:v>
                </c:pt>
                <c:pt idx="6452" formatCode="m/d/yyyy">
                  <c:v>44074</c:v>
                </c:pt>
                <c:pt idx="6453" formatCode="m/d/yyyy">
                  <c:v>44075</c:v>
                </c:pt>
                <c:pt idx="6454" formatCode="m/d/yyyy">
                  <c:v>44076</c:v>
                </c:pt>
                <c:pt idx="6455" formatCode="m/d/yyyy">
                  <c:v>44077</c:v>
                </c:pt>
                <c:pt idx="6456" formatCode="m/d/yyyy">
                  <c:v>44078</c:v>
                </c:pt>
                <c:pt idx="6457" formatCode="m/d/yyyy">
                  <c:v>44079</c:v>
                </c:pt>
                <c:pt idx="6458" formatCode="m/d/yyyy">
                  <c:v>44080</c:v>
                </c:pt>
                <c:pt idx="6459" formatCode="m/d/yyyy">
                  <c:v>44081</c:v>
                </c:pt>
                <c:pt idx="6460" formatCode="m/d/yyyy">
                  <c:v>44082</c:v>
                </c:pt>
                <c:pt idx="6461" formatCode="m/d/yyyy">
                  <c:v>44083</c:v>
                </c:pt>
                <c:pt idx="6462" formatCode="m/d/yyyy">
                  <c:v>44084</c:v>
                </c:pt>
                <c:pt idx="6463" formatCode="m/d/yyyy">
                  <c:v>44085</c:v>
                </c:pt>
                <c:pt idx="6464" formatCode="m/d/yyyy">
                  <c:v>44086</c:v>
                </c:pt>
                <c:pt idx="6465" formatCode="m/d/yyyy">
                  <c:v>44087</c:v>
                </c:pt>
                <c:pt idx="6466" formatCode="m/d/yyyy">
                  <c:v>44088</c:v>
                </c:pt>
                <c:pt idx="6467" formatCode="m/d/yyyy">
                  <c:v>44089</c:v>
                </c:pt>
                <c:pt idx="6468" formatCode="m/d/yyyy">
                  <c:v>44090</c:v>
                </c:pt>
                <c:pt idx="6469" formatCode="m/d/yyyy">
                  <c:v>44091</c:v>
                </c:pt>
                <c:pt idx="6470" formatCode="m/d/yyyy">
                  <c:v>44092</c:v>
                </c:pt>
                <c:pt idx="6471" formatCode="m/d/yyyy">
                  <c:v>44093</c:v>
                </c:pt>
                <c:pt idx="6472" formatCode="m/d/yyyy">
                  <c:v>44094</c:v>
                </c:pt>
                <c:pt idx="6473" formatCode="m/d/yyyy">
                  <c:v>44095</c:v>
                </c:pt>
                <c:pt idx="6474" formatCode="m/d/yyyy">
                  <c:v>44096</c:v>
                </c:pt>
                <c:pt idx="6475" formatCode="m/d/yyyy">
                  <c:v>44097</c:v>
                </c:pt>
                <c:pt idx="6476" formatCode="m/d/yyyy">
                  <c:v>44098</c:v>
                </c:pt>
                <c:pt idx="6477" formatCode="m/d/yyyy">
                  <c:v>44099</c:v>
                </c:pt>
                <c:pt idx="6478" formatCode="m/d/yyyy">
                  <c:v>44100</c:v>
                </c:pt>
                <c:pt idx="6479" formatCode="m/d/yyyy">
                  <c:v>44101</c:v>
                </c:pt>
                <c:pt idx="6480" formatCode="m/d/yyyy">
                  <c:v>44102</c:v>
                </c:pt>
                <c:pt idx="6481" formatCode="m/d/yyyy">
                  <c:v>44103</c:v>
                </c:pt>
                <c:pt idx="6482" formatCode="m/d/yyyy">
                  <c:v>44104</c:v>
                </c:pt>
                <c:pt idx="6483" formatCode="m/d/yyyy">
                  <c:v>44105</c:v>
                </c:pt>
                <c:pt idx="6484" formatCode="m/d/yyyy">
                  <c:v>44106</c:v>
                </c:pt>
                <c:pt idx="6485" formatCode="m/d/yyyy">
                  <c:v>44107</c:v>
                </c:pt>
                <c:pt idx="6486" formatCode="m/d/yyyy">
                  <c:v>44108</c:v>
                </c:pt>
                <c:pt idx="6487" formatCode="m/d/yyyy">
                  <c:v>44109</c:v>
                </c:pt>
                <c:pt idx="6488" formatCode="m/d/yyyy">
                  <c:v>44110</c:v>
                </c:pt>
                <c:pt idx="6489" formatCode="m/d/yyyy">
                  <c:v>44111</c:v>
                </c:pt>
                <c:pt idx="6490" formatCode="m/d/yyyy">
                  <c:v>44112</c:v>
                </c:pt>
                <c:pt idx="6491" formatCode="m/d/yyyy">
                  <c:v>44113</c:v>
                </c:pt>
                <c:pt idx="6492" formatCode="m/d/yyyy">
                  <c:v>44114</c:v>
                </c:pt>
                <c:pt idx="6493" formatCode="m/d/yyyy">
                  <c:v>44115</c:v>
                </c:pt>
                <c:pt idx="6494" formatCode="m/d/yyyy">
                  <c:v>44116</c:v>
                </c:pt>
                <c:pt idx="6495" formatCode="m/d/yyyy">
                  <c:v>44117</c:v>
                </c:pt>
                <c:pt idx="6496" formatCode="m/d/yyyy">
                  <c:v>44118</c:v>
                </c:pt>
                <c:pt idx="6497" formatCode="m/d/yyyy">
                  <c:v>44119</c:v>
                </c:pt>
                <c:pt idx="6498" formatCode="m/d/yyyy">
                  <c:v>44120</c:v>
                </c:pt>
                <c:pt idx="6499" formatCode="m/d/yyyy">
                  <c:v>44121</c:v>
                </c:pt>
                <c:pt idx="6500" formatCode="m/d/yyyy">
                  <c:v>44122</c:v>
                </c:pt>
                <c:pt idx="6501" formatCode="m/d/yyyy">
                  <c:v>44123</c:v>
                </c:pt>
                <c:pt idx="6502" formatCode="m/d/yyyy">
                  <c:v>44124</c:v>
                </c:pt>
                <c:pt idx="6503" formatCode="m/d/yyyy">
                  <c:v>44125</c:v>
                </c:pt>
                <c:pt idx="6504" formatCode="m/d/yyyy">
                  <c:v>44126</c:v>
                </c:pt>
                <c:pt idx="6505" formatCode="m/d/yyyy">
                  <c:v>44127</c:v>
                </c:pt>
                <c:pt idx="6506" formatCode="m/d/yyyy">
                  <c:v>44128</c:v>
                </c:pt>
                <c:pt idx="6507" formatCode="m/d/yyyy">
                  <c:v>44129</c:v>
                </c:pt>
                <c:pt idx="6508" formatCode="m/d/yyyy">
                  <c:v>44130</c:v>
                </c:pt>
                <c:pt idx="6509" formatCode="m/d/yyyy">
                  <c:v>44131</c:v>
                </c:pt>
                <c:pt idx="6510" formatCode="m/d/yyyy">
                  <c:v>44132</c:v>
                </c:pt>
                <c:pt idx="6511" formatCode="m/d/yyyy">
                  <c:v>44133</c:v>
                </c:pt>
                <c:pt idx="6512" formatCode="m/d/yyyy">
                  <c:v>44134</c:v>
                </c:pt>
                <c:pt idx="6513" formatCode="m/d/yyyy">
                  <c:v>44135</c:v>
                </c:pt>
                <c:pt idx="6514" formatCode="m/d/yyyy">
                  <c:v>44136</c:v>
                </c:pt>
                <c:pt idx="6515" formatCode="m/d/yyyy">
                  <c:v>44137</c:v>
                </c:pt>
                <c:pt idx="6516" formatCode="m/d/yyyy">
                  <c:v>44138</c:v>
                </c:pt>
                <c:pt idx="6517" formatCode="m/d/yyyy">
                  <c:v>44139</c:v>
                </c:pt>
                <c:pt idx="6518" formatCode="m/d/yyyy">
                  <c:v>44140</c:v>
                </c:pt>
                <c:pt idx="6519" formatCode="m/d/yyyy">
                  <c:v>44141</c:v>
                </c:pt>
                <c:pt idx="6520" formatCode="m/d/yyyy">
                  <c:v>44142</c:v>
                </c:pt>
                <c:pt idx="6521" formatCode="m/d/yyyy">
                  <c:v>44143</c:v>
                </c:pt>
                <c:pt idx="6522" formatCode="m/d/yyyy">
                  <c:v>44144</c:v>
                </c:pt>
                <c:pt idx="6523" formatCode="m/d/yyyy">
                  <c:v>44145</c:v>
                </c:pt>
                <c:pt idx="6524" formatCode="m/d/yyyy">
                  <c:v>44146</c:v>
                </c:pt>
                <c:pt idx="6525" formatCode="m/d/yyyy">
                  <c:v>44147</c:v>
                </c:pt>
                <c:pt idx="6526" formatCode="m/d/yyyy">
                  <c:v>44148</c:v>
                </c:pt>
                <c:pt idx="6527" formatCode="m/d/yyyy">
                  <c:v>44149</c:v>
                </c:pt>
                <c:pt idx="6528" formatCode="m/d/yyyy">
                  <c:v>44150</c:v>
                </c:pt>
                <c:pt idx="6529" formatCode="m/d/yyyy">
                  <c:v>44151</c:v>
                </c:pt>
                <c:pt idx="6530" formatCode="m/d/yyyy">
                  <c:v>44152</c:v>
                </c:pt>
                <c:pt idx="6531" formatCode="m/d/yyyy">
                  <c:v>44153</c:v>
                </c:pt>
                <c:pt idx="6532" formatCode="m/d/yyyy">
                  <c:v>44154</c:v>
                </c:pt>
                <c:pt idx="6533" formatCode="m/d/yyyy">
                  <c:v>44155</c:v>
                </c:pt>
                <c:pt idx="6534" formatCode="m/d/yyyy">
                  <c:v>44156</c:v>
                </c:pt>
                <c:pt idx="6535" formatCode="m/d/yyyy">
                  <c:v>44157</c:v>
                </c:pt>
                <c:pt idx="6536" formatCode="m/d/yyyy">
                  <c:v>44158</c:v>
                </c:pt>
                <c:pt idx="6537" formatCode="m/d/yyyy">
                  <c:v>44159</c:v>
                </c:pt>
                <c:pt idx="6538" formatCode="m/d/yyyy">
                  <c:v>44160</c:v>
                </c:pt>
                <c:pt idx="6539" formatCode="m/d/yyyy">
                  <c:v>44161</c:v>
                </c:pt>
                <c:pt idx="6540" formatCode="m/d/yyyy">
                  <c:v>44162</c:v>
                </c:pt>
                <c:pt idx="6541" formatCode="m/d/yyyy">
                  <c:v>44163</c:v>
                </c:pt>
                <c:pt idx="6542" formatCode="m/d/yyyy">
                  <c:v>44164</c:v>
                </c:pt>
                <c:pt idx="6543" formatCode="m/d/yyyy">
                  <c:v>44165</c:v>
                </c:pt>
                <c:pt idx="6544" formatCode="m/d/yyyy">
                  <c:v>44166</c:v>
                </c:pt>
                <c:pt idx="6545" formatCode="m/d/yyyy">
                  <c:v>44167</c:v>
                </c:pt>
                <c:pt idx="6546" formatCode="m/d/yyyy">
                  <c:v>44168</c:v>
                </c:pt>
                <c:pt idx="6547" formatCode="m/d/yyyy">
                  <c:v>44169</c:v>
                </c:pt>
                <c:pt idx="6548" formatCode="m/d/yyyy">
                  <c:v>44170</c:v>
                </c:pt>
                <c:pt idx="6549" formatCode="m/d/yyyy">
                  <c:v>44171</c:v>
                </c:pt>
                <c:pt idx="6550" formatCode="m/d/yyyy">
                  <c:v>44172</c:v>
                </c:pt>
                <c:pt idx="6551" formatCode="m/d/yyyy">
                  <c:v>44173</c:v>
                </c:pt>
                <c:pt idx="6552" formatCode="m/d/yyyy">
                  <c:v>44174</c:v>
                </c:pt>
                <c:pt idx="6553" formatCode="m/d/yyyy">
                  <c:v>44175</c:v>
                </c:pt>
                <c:pt idx="6554" formatCode="m/d/yyyy">
                  <c:v>44176</c:v>
                </c:pt>
                <c:pt idx="6555" formatCode="m/d/yyyy">
                  <c:v>44177</c:v>
                </c:pt>
                <c:pt idx="6556" formatCode="m/d/yyyy">
                  <c:v>44178</c:v>
                </c:pt>
                <c:pt idx="6557" formatCode="m/d/yyyy">
                  <c:v>44179</c:v>
                </c:pt>
                <c:pt idx="6558" formatCode="m/d/yyyy">
                  <c:v>44180</c:v>
                </c:pt>
                <c:pt idx="6559" formatCode="m/d/yyyy">
                  <c:v>44181</c:v>
                </c:pt>
                <c:pt idx="6560" formatCode="m/d/yyyy">
                  <c:v>44182</c:v>
                </c:pt>
                <c:pt idx="6561" formatCode="m/d/yyyy">
                  <c:v>44183</c:v>
                </c:pt>
                <c:pt idx="6562" formatCode="m/d/yyyy">
                  <c:v>44184</c:v>
                </c:pt>
                <c:pt idx="6563" formatCode="m/d/yyyy">
                  <c:v>44185</c:v>
                </c:pt>
                <c:pt idx="6564" formatCode="m/d/yyyy">
                  <c:v>44186</c:v>
                </c:pt>
                <c:pt idx="6565" formatCode="m/d/yyyy">
                  <c:v>44187</c:v>
                </c:pt>
                <c:pt idx="6566" formatCode="m/d/yyyy">
                  <c:v>44188</c:v>
                </c:pt>
                <c:pt idx="6567" formatCode="m/d/yyyy">
                  <c:v>44189</c:v>
                </c:pt>
                <c:pt idx="6568" formatCode="m/d/yyyy">
                  <c:v>44190</c:v>
                </c:pt>
                <c:pt idx="6569" formatCode="m/d/yyyy">
                  <c:v>44191</c:v>
                </c:pt>
                <c:pt idx="6570" formatCode="m/d/yyyy">
                  <c:v>44192</c:v>
                </c:pt>
                <c:pt idx="6571" formatCode="m/d/yyyy">
                  <c:v>44193</c:v>
                </c:pt>
                <c:pt idx="6572" formatCode="m/d/yyyy">
                  <c:v>44194</c:v>
                </c:pt>
                <c:pt idx="6573" formatCode="m/d/yyyy">
                  <c:v>44195</c:v>
                </c:pt>
                <c:pt idx="6574" formatCode="m/d/yyyy">
                  <c:v>44196</c:v>
                </c:pt>
                <c:pt idx="6575" formatCode="m/d/yyyy">
                  <c:v>44197</c:v>
                </c:pt>
                <c:pt idx="6576" formatCode="m/d/yyyy">
                  <c:v>44198</c:v>
                </c:pt>
                <c:pt idx="6577" formatCode="m/d/yyyy">
                  <c:v>44199</c:v>
                </c:pt>
                <c:pt idx="6578" formatCode="m/d/yyyy">
                  <c:v>44200</c:v>
                </c:pt>
                <c:pt idx="6579" formatCode="m/d/yyyy">
                  <c:v>44201</c:v>
                </c:pt>
                <c:pt idx="6580" formatCode="m/d/yyyy">
                  <c:v>44202</c:v>
                </c:pt>
                <c:pt idx="6581" formatCode="m/d/yyyy">
                  <c:v>44203</c:v>
                </c:pt>
                <c:pt idx="6582" formatCode="m/d/yyyy">
                  <c:v>44204</c:v>
                </c:pt>
                <c:pt idx="6583" formatCode="m/d/yyyy">
                  <c:v>44205</c:v>
                </c:pt>
                <c:pt idx="6584" formatCode="m/d/yyyy">
                  <c:v>44206</c:v>
                </c:pt>
                <c:pt idx="6585" formatCode="m/d/yyyy">
                  <c:v>44207</c:v>
                </c:pt>
                <c:pt idx="6586" formatCode="m/d/yyyy">
                  <c:v>44208</c:v>
                </c:pt>
                <c:pt idx="6587" formatCode="m/d/yyyy">
                  <c:v>44209</c:v>
                </c:pt>
                <c:pt idx="6588" formatCode="m/d/yyyy">
                  <c:v>44210</c:v>
                </c:pt>
                <c:pt idx="6589" formatCode="m/d/yyyy">
                  <c:v>44211</c:v>
                </c:pt>
                <c:pt idx="6590" formatCode="m/d/yyyy">
                  <c:v>44212</c:v>
                </c:pt>
                <c:pt idx="6591" formatCode="m/d/yyyy">
                  <c:v>44213</c:v>
                </c:pt>
                <c:pt idx="6592" formatCode="m/d/yyyy">
                  <c:v>44214</c:v>
                </c:pt>
                <c:pt idx="6593" formatCode="m/d/yyyy">
                  <c:v>44215</c:v>
                </c:pt>
                <c:pt idx="6594" formatCode="m/d/yyyy">
                  <c:v>44216</c:v>
                </c:pt>
                <c:pt idx="6595" formatCode="m/d/yyyy">
                  <c:v>44217</c:v>
                </c:pt>
                <c:pt idx="6596" formatCode="m/d/yyyy">
                  <c:v>44218</c:v>
                </c:pt>
                <c:pt idx="6597" formatCode="m/d/yyyy">
                  <c:v>44219</c:v>
                </c:pt>
                <c:pt idx="6598" formatCode="m/d/yyyy">
                  <c:v>44220</c:v>
                </c:pt>
                <c:pt idx="6599" formatCode="m/d/yyyy">
                  <c:v>44221</c:v>
                </c:pt>
                <c:pt idx="6600" formatCode="m/d/yyyy">
                  <c:v>44222</c:v>
                </c:pt>
                <c:pt idx="6601" formatCode="m/d/yyyy">
                  <c:v>44223</c:v>
                </c:pt>
                <c:pt idx="6602" formatCode="m/d/yyyy">
                  <c:v>44224</c:v>
                </c:pt>
                <c:pt idx="6603" formatCode="m/d/yyyy">
                  <c:v>44225</c:v>
                </c:pt>
                <c:pt idx="6604" formatCode="m/d/yyyy">
                  <c:v>44226</c:v>
                </c:pt>
                <c:pt idx="6605" formatCode="m/d/yyyy">
                  <c:v>44227</c:v>
                </c:pt>
                <c:pt idx="6606" formatCode="m/d/yyyy">
                  <c:v>44228</c:v>
                </c:pt>
                <c:pt idx="6607" formatCode="m/d/yyyy">
                  <c:v>44229</c:v>
                </c:pt>
                <c:pt idx="6608" formatCode="m/d/yyyy">
                  <c:v>44230</c:v>
                </c:pt>
                <c:pt idx="6609" formatCode="m/d/yyyy">
                  <c:v>44231</c:v>
                </c:pt>
                <c:pt idx="6610" formatCode="m/d/yyyy">
                  <c:v>44232</c:v>
                </c:pt>
                <c:pt idx="6611" formatCode="m/d/yyyy">
                  <c:v>44233</c:v>
                </c:pt>
                <c:pt idx="6612" formatCode="m/d/yyyy">
                  <c:v>44234</c:v>
                </c:pt>
                <c:pt idx="6613" formatCode="m/d/yyyy">
                  <c:v>44235</c:v>
                </c:pt>
                <c:pt idx="6614" formatCode="m/d/yyyy">
                  <c:v>44236</c:v>
                </c:pt>
                <c:pt idx="6615" formatCode="m/d/yyyy">
                  <c:v>44237</c:v>
                </c:pt>
                <c:pt idx="6616" formatCode="m/d/yyyy">
                  <c:v>44238</c:v>
                </c:pt>
                <c:pt idx="6617" formatCode="m/d/yyyy">
                  <c:v>44239</c:v>
                </c:pt>
                <c:pt idx="6618" formatCode="m/d/yyyy">
                  <c:v>44240</c:v>
                </c:pt>
                <c:pt idx="6619" formatCode="m/d/yyyy">
                  <c:v>44241</c:v>
                </c:pt>
                <c:pt idx="6620" formatCode="m/d/yyyy">
                  <c:v>44242</c:v>
                </c:pt>
                <c:pt idx="6621" formatCode="m/d/yyyy">
                  <c:v>44243</c:v>
                </c:pt>
                <c:pt idx="6622" formatCode="m/d/yyyy">
                  <c:v>44244</c:v>
                </c:pt>
                <c:pt idx="6623" formatCode="m/d/yyyy">
                  <c:v>44245</c:v>
                </c:pt>
                <c:pt idx="6624" formatCode="m/d/yyyy">
                  <c:v>44246</c:v>
                </c:pt>
                <c:pt idx="6625" formatCode="m/d/yyyy">
                  <c:v>44247</c:v>
                </c:pt>
                <c:pt idx="6626" formatCode="m/d/yyyy">
                  <c:v>44248</c:v>
                </c:pt>
                <c:pt idx="6627" formatCode="m/d/yyyy">
                  <c:v>44249</c:v>
                </c:pt>
                <c:pt idx="6628" formatCode="m/d/yyyy">
                  <c:v>44250</c:v>
                </c:pt>
                <c:pt idx="6629" formatCode="m/d/yyyy">
                  <c:v>44251</c:v>
                </c:pt>
                <c:pt idx="6630" formatCode="m/d/yyyy">
                  <c:v>44252</c:v>
                </c:pt>
                <c:pt idx="6631" formatCode="m/d/yyyy">
                  <c:v>44253</c:v>
                </c:pt>
                <c:pt idx="6632" formatCode="m/d/yyyy">
                  <c:v>44254</c:v>
                </c:pt>
                <c:pt idx="6633" formatCode="m/d/yyyy">
                  <c:v>44255</c:v>
                </c:pt>
                <c:pt idx="6634" formatCode="m/d/yyyy">
                  <c:v>44256</c:v>
                </c:pt>
                <c:pt idx="6635" formatCode="m/d/yyyy">
                  <c:v>44257</c:v>
                </c:pt>
                <c:pt idx="6636" formatCode="m/d/yyyy">
                  <c:v>44258</c:v>
                </c:pt>
                <c:pt idx="6637" formatCode="m/d/yyyy">
                  <c:v>44259</c:v>
                </c:pt>
                <c:pt idx="6638" formatCode="m/d/yyyy">
                  <c:v>44260</c:v>
                </c:pt>
                <c:pt idx="6639" formatCode="m/d/yyyy">
                  <c:v>44261</c:v>
                </c:pt>
                <c:pt idx="6640" formatCode="m/d/yyyy">
                  <c:v>44262</c:v>
                </c:pt>
                <c:pt idx="6641" formatCode="m/d/yyyy">
                  <c:v>44263</c:v>
                </c:pt>
                <c:pt idx="6642" formatCode="m/d/yyyy">
                  <c:v>44264</c:v>
                </c:pt>
                <c:pt idx="6643" formatCode="m/d/yyyy">
                  <c:v>44265</c:v>
                </c:pt>
                <c:pt idx="6644" formatCode="m/d/yyyy">
                  <c:v>44266</c:v>
                </c:pt>
                <c:pt idx="6645" formatCode="m/d/yyyy">
                  <c:v>44267</c:v>
                </c:pt>
                <c:pt idx="6646" formatCode="m/d/yyyy">
                  <c:v>44268</c:v>
                </c:pt>
                <c:pt idx="6647" formatCode="m/d/yyyy">
                  <c:v>44269</c:v>
                </c:pt>
                <c:pt idx="6648" formatCode="m/d/yyyy">
                  <c:v>44270</c:v>
                </c:pt>
                <c:pt idx="6649" formatCode="m/d/yyyy">
                  <c:v>44271</c:v>
                </c:pt>
                <c:pt idx="6650" formatCode="m/d/yyyy">
                  <c:v>44272</c:v>
                </c:pt>
                <c:pt idx="6651" formatCode="m/d/yyyy">
                  <c:v>44273</c:v>
                </c:pt>
                <c:pt idx="6652" formatCode="m/d/yyyy">
                  <c:v>44274</c:v>
                </c:pt>
                <c:pt idx="6653" formatCode="m/d/yyyy">
                  <c:v>44275</c:v>
                </c:pt>
                <c:pt idx="6654" formatCode="m/d/yyyy">
                  <c:v>44276</c:v>
                </c:pt>
                <c:pt idx="6655" formatCode="m/d/yyyy">
                  <c:v>44277</c:v>
                </c:pt>
                <c:pt idx="6656" formatCode="m/d/yyyy">
                  <c:v>44278</c:v>
                </c:pt>
                <c:pt idx="6657" formatCode="m/d/yyyy">
                  <c:v>44279</c:v>
                </c:pt>
                <c:pt idx="6658" formatCode="m/d/yyyy">
                  <c:v>44280</c:v>
                </c:pt>
                <c:pt idx="6659" formatCode="m/d/yyyy">
                  <c:v>44281</c:v>
                </c:pt>
                <c:pt idx="6660" formatCode="m/d/yyyy">
                  <c:v>44282</c:v>
                </c:pt>
                <c:pt idx="6661" formatCode="m/d/yyyy">
                  <c:v>44283</c:v>
                </c:pt>
                <c:pt idx="6662" formatCode="m/d/yyyy">
                  <c:v>44284</c:v>
                </c:pt>
                <c:pt idx="6663" formatCode="m/d/yyyy">
                  <c:v>44285</c:v>
                </c:pt>
                <c:pt idx="6664" formatCode="m/d/yyyy">
                  <c:v>44286</c:v>
                </c:pt>
                <c:pt idx="6665" formatCode="m/d/yyyy">
                  <c:v>44287</c:v>
                </c:pt>
                <c:pt idx="6666" formatCode="m/d/yyyy">
                  <c:v>44288</c:v>
                </c:pt>
                <c:pt idx="6667" formatCode="m/d/yyyy">
                  <c:v>44289</c:v>
                </c:pt>
                <c:pt idx="6668" formatCode="m/d/yyyy">
                  <c:v>44290</c:v>
                </c:pt>
                <c:pt idx="6669" formatCode="m/d/yyyy">
                  <c:v>44291</c:v>
                </c:pt>
                <c:pt idx="6670" formatCode="m/d/yyyy">
                  <c:v>44292</c:v>
                </c:pt>
                <c:pt idx="6671" formatCode="m/d/yyyy">
                  <c:v>44293</c:v>
                </c:pt>
                <c:pt idx="6672" formatCode="m/d/yyyy">
                  <c:v>44294</c:v>
                </c:pt>
                <c:pt idx="6673" formatCode="m/d/yyyy">
                  <c:v>44295</c:v>
                </c:pt>
                <c:pt idx="6674" formatCode="m/d/yyyy">
                  <c:v>44296</c:v>
                </c:pt>
                <c:pt idx="6675" formatCode="m/d/yyyy">
                  <c:v>44297</c:v>
                </c:pt>
                <c:pt idx="6676" formatCode="m/d/yyyy">
                  <c:v>44298</c:v>
                </c:pt>
                <c:pt idx="6677" formatCode="m/d/yyyy">
                  <c:v>44299</c:v>
                </c:pt>
                <c:pt idx="6678" formatCode="m/d/yyyy">
                  <c:v>44300</c:v>
                </c:pt>
                <c:pt idx="6679" formatCode="m/d/yyyy">
                  <c:v>44301</c:v>
                </c:pt>
                <c:pt idx="6680" formatCode="m/d/yyyy">
                  <c:v>44302</c:v>
                </c:pt>
                <c:pt idx="6681" formatCode="m/d/yyyy">
                  <c:v>44303</c:v>
                </c:pt>
                <c:pt idx="6682" formatCode="m/d/yyyy">
                  <c:v>44304</c:v>
                </c:pt>
                <c:pt idx="6683" formatCode="m/d/yyyy">
                  <c:v>44305</c:v>
                </c:pt>
                <c:pt idx="6684" formatCode="m/d/yyyy">
                  <c:v>44306</c:v>
                </c:pt>
                <c:pt idx="6685" formatCode="m/d/yyyy">
                  <c:v>44307</c:v>
                </c:pt>
                <c:pt idx="6686" formatCode="m/d/yyyy">
                  <c:v>44308</c:v>
                </c:pt>
                <c:pt idx="6687" formatCode="m/d/yyyy">
                  <c:v>44309</c:v>
                </c:pt>
                <c:pt idx="6688" formatCode="m/d/yyyy">
                  <c:v>44310</c:v>
                </c:pt>
                <c:pt idx="6689" formatCode="m/d/yyyy">
                  <c:v>44311</c:v>
                </c:pt>
                <c:pt idx="6690" formatCode="m/d/yyyy">
                  <c:v>44312</c:v>
                </c:pt>
                <c:pt idx="6691" formatCode="m/d/yyyy">
                  <c:v>44313</c:v>
                </c:pt>
                <c:pt idx="6692" formatCode="m/d/yyyy">
                  <c:v>44314</c:v>
                </c:pt>
                <c:pt idx="6693" formatCode="m/d/yyyy">
                  <c:v>44315</c:v>
                </c:pt>
                <c:pt idx="6694" formatCode="m/d/yyyy">
                  <c:v>44316</c:v>
                </c:pt>
                <c:pt idx="6695" formatCode="m/d/yyyy">
                  <c:v>44317</c:v>
                </c:pt>
                <c:pt idx="6696" formatCode="m/d/yyyy">
                  <c:v>44318</c:v>
                </c:pt>
                <c:pt idx="6697" formatCode="m/d/yyyy">
                  <c:v>44319</c:v>
                </c:pt>
                <c:pt idx="6698" formatCode="m/d/yyyy">
                  <c:v>44320</c:v>
                </c:pt>
                <c:pt idx="6699" formatCode="m/d/yyyy">
                  <c:v>44321</c:v>
                </c:pt>
                <c:pt idx="6700" formatCode="m/d/yyyy">
                  <c:v>44322</c:v>
                </c:pt>
                <c:pt idx="6701" formatCode="m/d/yyyy">
                  <c:v>44323</c:v>
                </c:pt>
                <c:pt idx="6702" formatCode="m/d/yyyy">
                  <c:v>44324</c:v>
                </c:pt>
                <c:pt idx="6703" formatCode="m/d/yyyy">
                  <c:v>44325</c:v>
                </c:pt>
                <c:pt idx="6704" formatCode="m/d/yyyy">
                  <c:v>44326</c:v>
                </c:pt>
                <c:pt idx="6705" formatCode="m/d/yyyy">
                  <c:v>44327</c:v>
                </c:pt>
                <c:pt idx="6706" formatCode="m/d/yyyy">
                  <c:v>44328</c:v>
                </c:pt>
                <c:pt idx="6707" formatCode="m/d/yyyy">
                  <c:v>44329</c:v>
                </c:pt>
                <c:pt idx="6708" formatCode="m/d/yyyy">
                  <c:v>44330</c:v>
                </c:pt>
                <c:pt idx="6709" formatCode="m/d/yyyy">
                  <c:v>44331</c:v>
                </c:pt>
                <c:pt idx="6710" formatCode="m/d/yyyy">
                  <c:v>44332</c:v>
                </c:pt>
                <c:pt idx="6711" formatCode="m/d/yyyy">
                  <c:v>44333</c:v>
                </c:pt>
                <c:pt idx="6712" formatCode="m/d/yyyy">
                  <c:v>44334</c:v>
                </c:pt>
                <c:pt idx="6713" formatCode="m/d/yyyy">
                  <c:v>44335</c:v>
                </c:pt>
                <c:pt idx="6714" formatCode="m/d/yyyy">
                  <c:v>44336</c:v>
                </c:pt>
                <c:pt idx="6715" formatCode="m/d/yyyy">
                  <c:v>44337</c:v>
                </c:pt>
                <c:pt idx="6716" formatCode="m/d/yyyy">
                  <c:v>44338</c:v>
                </c:pt>
                <c:pt idx="6717" formatCode="m/d/yyyy">
                  <c:v>44339</c:v>
                </c:pt>
                <c:pt idx="6718" formatCode="m/d/yyyy">
                  <c:v>44340</c:v>
                </c:pt>
                <c:pt idx="6719" formatCode="m/d/yyyy">
                  <c:v>44341</c:v>
                </c:pt>
                <c:pt idx="6720" formatCode="m/d/yyyy">
                  <c:v>44342</c:v>
                </c:pt>
                <c:pt idx="6721" formatCode="m/d/yyyy">
                  <c:v>44343</c:v>
                </c:pt>
                <c:pt idx="6722" formatCode="m/d/yyyy">
                  <c:v>44344</c:v>
                </c:pt>
                <c:pt idx="6723" formatCode="m/d/yyyy">
                  <c:v>44345</c:v>
                </c:pt>
                <c:pt idx="6724" formatCode="m/d/yyyy">
                  <c:v>44346</c:v>
                </c:pt>
                <c:pt idx="6725" formatCode="m/d/yyyy">
                  <c:v>44347</c:v>
                </c:pt>
                <c:pt idx="6726" formatCode="m/d/yyyy">
                  <c:v>44348</c:v>
                </c:pt>
                <c:pt idx="6727" formatCode="m/d/yyyy">
                  <c:v>44349</c:v>
                </c:pt>
                <c:pt idx="6728" formatCode="m/d/yyyy">
                  <c:v>44350</c:v>
                </c:pt>
                <c:pt idx="6729" formatCode="m/d/yyyy">
                  <c:v>44351</c:v>
                </c:pt>
                <c:pt idx="6730" formatCode="m/d/yyyy">
                  <c:v>44352</c:v>
                </c:pt>
                <c:pt idx="6731" formatCode="m/d/yyyy">
                  <c:v>44353</c:v>
                </c:pt>
                <c:pt idx="6732" formatCode="m/d/yyyy">
                  <c:v>44354</c:v>
                </c:pt>
                <c:pt idx="6733" formatCode="m/d/yyyy">
                  <c:v>44355</c:v>
                </c:pt>
                <c:pt idx="6734" formatCode="m/d/yyyy">
                  <c:v>44356</c:v>
                </c:pt>
                <c:pt idx="6735" formatCode="m/d/yyyy">
                  <c:v>44357</c:v>
                </c:pt>
                <c:pt idx="6736" formatCode="m/d/yyyy">
                  <c:v>44358</c:v>
                </c:pt>
                <c:pt idx="6737" formatCode="m/d/yyyy">
                  <c:v>44359</c:v>
                </c:pt>
                <c:pt idx="6738" formatCode="m/d/yyyy">
                  <c:v>44360</c:v>
                </c:pt>
                <c:pt idx="6739" formatCode="m/d/yyyy">
                  <c:v>44361</c:v>
                </c:pt>
                <c:pt idx="6740" formatCode="m/d/yyyy">
                  <c:v>44362</c:v>
                </c:pt>
                <c:pt idx="6741" formatCode="m/d/yyyy">
                  <c:v>44363</c:v>
                </c:pt>
                <c:pt idx="6742" formatCode="m/d/yyyy">
                  <c:v>44364</c:v>
                </c:pt>
                <c:pt idx="6743" formatCode="m/d/yyyy">
                  <c:v>44365</c:v>
                </c:pt>
                <c:pt idx="6744" formatCode="m/d/yyyy">
                  <c:v>44366</c:v>
                </c:pt>
                <c:pt idx="6745" formatCode="m/d/yyyy">
                  <c:v>44367</c:v>
                </c:pt>
                <c:pt idx="6746" formatCode="m/d/yyyy">
                  <c:v>44368</c:v>
                </c:pt>
                <c:pt idx="6747" formatCode="m/d/yyyy">
                  <c:v>44369</c:v>
                </c:pt>
                <c:pt idx="6748" formatCode="m/d/yyyy">
                  <c:v>44370</c:v>
                </c:pt>
                <c:pt idx="6749" formatCode="m/d/yyyy">
                  <c:v>44371</c:v>
                </c:pt>
                <c:pt idx="6750" formatCode="m/d/yyyy">
                  <c:v>44372</c:v>
                </c:pt>
                <c:pt idx="6751" formatCode="m/d/yyyy">
                  <c:v>44373</c:v>
                </c:pt>
                <c:pt idx="6752" formatCode="m/d/yyyy">
                  <c:v>44374</c:v>
                </c:pt>
                <c:pt idx="6753" formatCode="m/d/yyyy">
                  <c:v>44375</c:v>
                </c:pt>
                <c:pt idx="6754" formatCode="m/d/yyyy">
                  <c:v>44376</c:v>
                </c:pt>
                <c:pt idx="6755" formatCode="m/d/yyyy">
                  <c:v>44377</c:v>
                </c:pt>
                <c:pt idx="6756" formatCode="m/d/yyyy">
                  <c:v>44378</c:v>
                </c:pt>
                <c:pt idx="6757" formatCode="m/d/yyyy">
                  <c:v>44379</c:v>
                </c:pt>
                <c:pt idx="6758" formatCode="m/d/yyyy">
                  <c:v>44380</c:v>
                </c:pt>
                <c:pt idx="6759" formatCode="m/d/yyyy">
                  <c:v>44381</c:v>
                </c:pt>
                <c:pt idx="6760" formatCode="m/d/yyyy">
                  <c:v>44382</c:v>
                </c:pt>
                <c:pt idx="6761" formatCode="m/d/yyyy">
                  <c:v>44383</c:v>
                </c:pt>
                <c:pt idx="6762" formatCode="m/d/yyyy">
                  <c:v>44384</c:v>
                </c:pt>
                <c:pt idx="6763" formatCode="m/d/yyyy">
                  <c:v>44385</c:v>
                </c:pt>
                <c:pt idx="6764" formatCode="m/d/yyyy">
                  <c:v>44386</c:v>
                </c:pt>
                <c:pt idx="6765" formatCode="m/d/yyyy">
                  <c:v>44387</c:v>
                </c:pt>
                <c:pt idx="6766" formatCode="m/d/yyyy">
                  <c:v>44388</c:v>
                </c:pt>
                <c:pt idx="6767" formatCode="m/d/yyyy">
                  <c:v>44389</c:v>
                </c:pt>
                <c:pt idx="6768" formatCode="m/d/yyyy">
                  <c:v>44390</c:v>
                </c:pt>
                <c:pt idx="6769" formatCode="m/d/yyyy">
                  <c:v>44391</c:v>
                </c:pt>
                <c:pt idx="6770" formatCode="m/d/yyyy">
                  <c:v>44392</c:v>
                </c:pt>
                <c:pt idx="6771" formatCode="m/d/yyyy">
                  <c:v>44393</c:v>
                </c:pt>
                <c:pt idx="6772" formatCode="m/d/yyyy">
                  <c:v>44394</c:v>
                </c:pt>
                <c:pt idx="6773" formatCode="m/d/yyyy">
                  <c:v>44395</c:v>
                </c:pt>
                <c:pt idx="6774" formatCode="m/d/yyyy">
                  <c:v>44396</c:v>
                </c:pt>
                <c:pt idx="6775" formatCode="m/d/yyyy">
                  <c:v>44397</c:v>
                </c:pt>
                <c:pt idx="6776" formatCode="m/d/yyyy">
                  <c:v>44398</c:v>
                </c:pt>
                <c:pt idx="6777" formatCode="m/d/yyyy">
                  <c:v>44399</c:v>
                </c:pt>
                <c:pt idx="6778" formatCode="m/d/yyyy">
                  <c:v>44400</c:v>
                </c:pt>
                <c:pt idx="6779" formatCode="m/d/yyyy">
                  <c:v>44401</c:v>
                </c:pt>
                <c:pt idx="6780" formatCode="m/d/yyyy">
                  <c:v>44402</c:v>
                </c:pt>
                <c:pt idx="6781" formatCode="m/d/yyyy">
                  <c:v>44403</c:v>
                </c:pt>
                <c:pt idx="6782" formatCode="m/d/yyyy">
                  <c:v>44404</c:v>
                </c:pt>
                <c:pt idx="6783" formatCode="m/d/yyyy">
                  <c:v>44405</c:v>
                </c:pt>
                <c:pt idx="6784" formatCode="m/d/yyyy">
                  <c:v>44406</c:v>
                </c:pt>
                <c:pt idx="6785" formatCode="m/d/yyyy">
                  <c:v>44407</c:v>
                </c:pt>
                <c:pt idx="6786" formatCode="m/d/yyyy">
                  <c:v>44408</c:v>
                </c:pt>
                <c:pt idx="6787" formatCode="m/d/yyyy">
                  <c:v>44409</c:v>
                </c:pt>
                <c:pt idx="6788" formatCode="m/d/yyyy">
                  <c:v>44410</c:v>
                </c:pt>
                <c:pt idx="6789" formatCode="m/d/yyyy">
                  <c:v>44411</c:v>
                </c:pt>
                <c:pt idx="6790" formatCode="m/d/yyyy">
                  <c:v>44412</c:v>
                </c:pt>
                <c:pt idx="6791" formatCode="m/d/yyyy">
                  <c:v>44413</c:v>
                </c:pt>
                <c:pt idx="6792" formatCode="m/d/yyyy">
                  <c:v>44414</c:v>
                </c:pt>
                <c:pt idx="6793" formatCode="m/d/yyyy">
                  <c:v>44415</c:v>
                </c:pt>
                <c:pt idx="6794" formatCode="m/d/yyyy">
                  <c:v>44416</c:v>
                </c:pt>
                <c:pt idx="6795" formatCode="m/d/yyyy">
                  <c:v>44417</c:v>
                </c:pt>
                <c:pt idx="6796" formatCode="m/d/yyyy">
                  <c:v>44418</c:v>
                </c:pt>
                <c:pt idx="6797" formatCode="m/d/yyyy">
                  <c:v>44419</c:v>
                </c:pt>
                <c:pt idx="6798" formatCode="m/d/yyyy">
                  <c:v>44420</c:v>
                </c:pt>
                <c:pt idx="6799" formatCode="m/d/yyyy">
                  <c:v>44421</c:v>
                </c:pt>
                <c:pt idx="6800" formatCode="m/d/yyyy">
                  <c:v>44422</c:v>
                </c:pt>
                <c:pt idx="6801" formatCode="m/d/yyyy">
                  <c:v>44423</c:v>
                </c:pt>
                <c:pt idx="6802" formatCode="m/d/yyyy">
                  <c:v>44424</c:v>
                </c:pt>
                <c:pt idx="6803" formatCode="m/d/yyyy">
                  <c:v>44425</c:v>
                </c:pt>
                <c:pt idx="6804" formatCode="m/d/yyyy">
                  <c:v>44426</c:v>
                </c:pt>
                <c:pt idx="6805" formatCode="m/d/yyyy">
                  <c:v>44427</c:v>
                </c:pt>
                <c:pt idx="6806" formatCode="m/d/yyyy">
                  <c:v>44428</c:v>
                </c:pt>
                <c:pt idx="6807" formatCode="m/d/yyyy">
                  <c:v>44429</c:v>
                </c:pt>
                <c:pt idx="6808" formatCode="m/d/yyyy">
                  <c:v>44430</c:v>
                </c:pt>
                <c:pt idx="6809" formatCode="m/d/yyyy">
                  <c:v>44431</c:v>
                </c:pt>
                <c:pt idx="6810" formatCode="m/d/yyyy">
                  <c:v>44432</c:v>
                </c:pt>
                <c:pt idx="6811" formatCode="m/d/yyyy">
                  <c:v>44433</c:v>
                </c:pt>
                <c:pt idx="6812" formatCode="m/d/yyyy">
                  <c:v>44434</c:v>
                </c:pt>
                <c:pt idx="6813" formatCode="m/d/yyyy">
                  <c:v>44435</c:v>
                </c:pt>
                <c:pt idx="6814" formatCode="m/d/yyyy">
                  <c:v>44436</c:v>
                </c:pt>
                <c:pt idx="6815" formatCode="m/d/yyyy">
                  <c:v>44437</c:v>
                </c:pt>
                <c:pt idx="6816" formatCode="m/d/yyyy">
                  <c:v>44438</c:v>
                </c:pt>
                <c:pt idx="6817" formatCode="m/d/yyyy">
                  <c:v>44439</c:v>
                </c:pt>
                <c:pt idx="6818" formatCode="m/d/yyyy">
                  <c:v>44440</c:v>
                </c:pt>
                <c:pt idx="6819" formatCode="m/d/yyyy">
                  <c:v>44441</c:v>
                </c:pt>
                <c:pt idx="6820" formatCode="m/d/yyyy">
                  <c:v>44442</c:v>
                </c:pt>
                <c:pt idx="6821" formatCode="m/d/yyyy">
                  <c:v>44443</c:v>
                </c:pt>
                <c:pt idx="6822" formatCode="m/d/yyyy">
                  <c:v>44444</c:v>
                </c:pt>
                <c:pt idx="6823" formatCode="m/d/yyyy">
                  <c:v>44445</c:v>
                </c:pt>
                <c:pt idx="6824" formatCode="m/d/yyyy">
                  <c:v>44446</c:v>
                </c:pt>
                <c:pt idx="6825" formatCode="m/d/yyyy">
                  <c:v>44447</c:v>
                </c:pt>
                <c:pt idx="6826" formatCode="m/d/yyyy">
                  <c:v>44448</c:v>
                </c:pt>
                <c:pt idx="6827" formatCode="m/d/yyyy">
                  <c:v>44449</c:v>
                </c:pt>
                <c:pt idx="6828" formatCode="m/d/yyyy">
                  <c:v>44450</c:v>
                </c:pt>
                <c:pt idx="6829" formatCode="m/d/yyyy">
                  <c:v>44451</c:v>
                </c:pt>
                <c:pt idx="6830" formatCode="m/d/yyyy">
                  <c:v>44452</c:v>
                </c:pt>
                <c:pt idx="6831" formatCode="m/d/yyyy">
                  <c:v>44453</c:v>
                </c:pt>
                <c:pt idx="6832" formatCode="m/d/yyyy">
                  <c:v>44454</c:v>
                </c:pt>
                <c:pt idx="6833" formatCode="m/d/yyyy">
                  <c:v>44455</c:v>
                </c:pt>
                <c:pt idx="6834" formatCode="m/d/yyyy">
                  <c:v>44456</c:v>
                </c:pt>
                <c:pt idx="6835" formatCode="m/d/yyyy">
                  <c:v>44457</c:v>
                </c:pt>
                <c:pt idx="6836" formatCode="m/d/yyyy">
                  <c:v>44458</c:v>
                </c:pt>
                <c:pt idx="6837" formatCode="m/d/yyyy">
                  <c:v>44459</c:v>
                </c:pt>
                <c:pt idx="6838" formatCode="m/d/yyyy">
                  <c:v>44460</c:v>
                </c:pt>
                <c:pt idx="6839" formatCode="m/d/yyyy">
                  <c:v>44461</c:v>
                </c:pt>
                <c:pt idx="6840" formatCode="m/d/yyyy">
                  <c:v>44462</c:v>
                </c:pt>
                <c:pt idx="6841" formatCode="m/d/yyyy">
                  <c:v>44463</c:v>
                </c:pt>
                <c:pt idx="6842" formatCode="m/d/yyyy">
                  <c:v>44464</c:v>
                </c:pt>
                <c:pt idx="6843" formatCode="m/d/yyyy">
                  <c:v>44465</c:v>
                </c:pt>
                <c:pt idx="6844" formatCode="m/d/yyyy">
                  <c:v>44466</c:v>
                </c:pt>
                <c:pt idx="6845" formatCode="m/d/yyyy">
                  <c:v>44467</c:v>
                </c:pt>
                <c:pt idx="6846" formatCode="m/d/yyyy">
                  <c:v>44468</c:v>
                </c:pt>
                <c:pt idx="6847" formatCode="m/d/yyyy">
                  <c:v>44469</c:v>
                </c:pt>
                <c:pt idx="6848" formatCode="m/d/yyyy">
                  <c:v>44470</c:v>
                </c:pt>
                <c:pt idx="6849" formatCode="m/d/yyyy">
                  <c:v>44471</c:v>
                </c:pt>
                <c:pt idx="6850" formatCode="m/d/yyyy">
                  <c:v>44472</c:v>
                </c:pt>
                <c:pt idx="6851" formatCode="m/d/yyyy">
                  <c:v>44473</c:v>
                </c:pt>
                <c:pt idx="6852" formatCode="m/d/yyyy">
                  <c:v>44474</c:v>
                </c:pt>
                <c:pt idx="6853" formatCode="m/d/yyyy">
                  <c:v>44475</c:v>
                </c:pt>
                <c:pt idx="6854" formatCode="m/d/yyyy">
                  <c:v>44476</c:v>
                </c:pt>
                <c:pt idx="6855" formatCode="m/d/yyyy">
                  <c:v>44477</c:v>
                </c:pt>
                <c:pt idx="6856" formatCode="m/d/yyyy">
                  <c:v>44478</c:v>
                </c:pt>
                <c:pt idx="6857" formatCode="m/d/yyyy">
                  <c:v>44479</c:v>
                </c:pt>
                <c:pt idx="6858" formatCode="m/d/yyyy">
                  <c:v>44480</c:v>
                </c:pt>
                <c:pt idx="6859" formatCode="m/d/yyyy">
                  <c:v>44481</c:v>
                </c:pt>
                <c:pt idx="6860" formatCode="m/d/yyyy">
                  <c:v>44482</c:v>
                </c:pt>
                <c:pt idx="6861" formatCode="m/d/yyyy">
                  <c:v>44483</c:v>
                </c:pt>
                <c:pt idx="6862" formatCode="m/d/yyyy">
                  <c:v>44484</c:v>
                </c:pt>
                <c:pt idx="6863" formatCode="m/d/yyyy">
                  <c:v>44485</c:v>
                </c:pt>
                <c:pt idx="6864" formatCode="m/d/yyyy">
                  <c:v>44486</c:v>
                </c:pt>
                <c:pt idx="6865" formatCode="m/d/yyyy">
                  <c:v>44487</c:v>
                </c:pt>
                <c:pt idx="6866" formatCode="m/d/yyyy">
                  <c:v>44488</c:v>
                </c:pt>
                <c:pt idx="6867" formatCode="m/d/yyyy">
                  <c:v>44489</c:v>
                </c:pt>
                <c:pt idx="6868" formatCode="m/d/yyyy">
                  <c:v>44490</c:v>
                </c:pt>
                <c:pt idx="6869" formatCode="m/d/yyyy">
                  <c:v>44491</c:v>
                </c:pt>
                <c:pt idx="6870" formatCode="m/d/yyyy">
                  <c:v>44492</c:v>
                </c:pt>
                <c:pt idx="6871" formatCode="m/d/yyyy">
                  <c:v>44493</c:v>
                </c:pt>
                <c:pt idx="6872" formatCode="m/d/yyyy">
                  <c:v>44494</c:v>
                </c:pt>
                <c:pt idx="6873" formatCode="m/d/yyyy">
                  <c:v>44495</c:v>
                </c:pt>
                <c:pt idx="6874" formatCode="m/d/yyyy">
                  <c:v>44496</c:v>
                </c:pt>
                <c:pt idx="6875" formatCode="m/d/yyyy">
                  <c:v>44497</c:v>
                </c:pt>
                <c:pt idx="6876" formatCode="m/d/yyyy">
                  <c:v>44498</c:v>
                </c:pt>
                <c:pt idx="6877" formatCode="m/d/yyyy">
                  <c:v>44499</c:v>
                </c:pt>
                <c:pt idx="6878" formatCode="m/d/yyyy">
                  <c:v>44500</c:v>
                </c:pt>
                <c:pt idx="6879" formatCode="m/d/yyyy">
                  <c:v>44501</c:v>
                </c:pt>
                <c:pt idx="6880" formatCode="m/d/yyyy">
                  <c:v>44502</c:v>
                </c:pt>
                <c:pt idx="6881" formatCode="m/d/yyyy">
                  <c:v>44503</c:v>
                </c:pt>
                <c:pt idx="6882" formatCode="m/d/yyyy">
                  <c:v>44504</c:v>
                </c:pt>
                <c:pt idx="6883" formatCode="m/d/yyyy">
                  <c:v>44505</c:v>
                </c:pt>
                <c:pt idx="6884" formatCode="m/d/yyyy">
                  <c:v>44506</c:v>
                </c:pt>
                <c:pt idx="6885" formatCode="m/d/yyyy">
                  <c:v>44507</c:v>
                </c:pt>
                <c:pt idx="6886" formatCode="m/d/yyyy">
                  <c:v>44508</c:v>
                </c:pt>
                <c:pt idx="6887" formatCode="m/d/yyyy">
                  <c:v>44509</c:v>
                </c:pt>
                <c:pt idx="6888" formatCode="m/d/yyyy">
                  <c:v>44510</c:v>
                </c:pt>
                <c:pt idx="6889" formatCode="m/d/yyyy">
                  <c:v>44511</c:v>
                </c:pt>
                <c:pt idx="6890" formatCode="m/d/yyyy">
                  <c:v>44512</c:v>
                </c:pt>
                <c:pt idx="6891" formatCode="m/d/yyyy">
                  <c:v>44513</c:v>
                </c:pt>
                <c:pt idx="6892" formatCode="m/d/yyyy">
                  <c:v>44514</c:v>
                </c:pt>
                <c:pt idx="6893" formatCode="m/d/yyyy">
                  <c:v>44515</c:v>
                </c:pt>
                <c:pt idx="6894" formatCode="m/d/yyyy">
                  <c:v>44516</c:v>
                </c:pt>
                <c:pt idx="6895" formatCode="m/d/yyyy">
                  <c:v>44517</c:v>
                </c:pt>
                <c:pt idx="6896" formatCode="m/d/yyyy">
                  <c:v>44518</c:v>
                </c:pt>
                <c:pt idx="6897" formatCode="m/d/yyyy">
                  <c:v>44519</c:v>
                </c:pt>
                <c:pt idx="6898" formatCode="m/d/yyyy">
                  <c:v>44520</c:v>
                </c:pt>
                <c:pt idx="6899" formatCode="m/d/yyyy">
                  <c:v>44521</c:v>
                </c:pt>
                <c:pt idx="6900" formatCode="m/d/yyyy">
                  <c:v>44522</c:v>
                </c:pt>
                <c:pt idx="6901" formatCode="m/d/yyyy">
                  <c:v>44523</c:v>
                </c:pt>
                <c:pt idx="6902" formatCode="m/d/yyyy">
                  <c:v>44524</c:v>
                </c:pt>
                <c:pt idx="6903" formatCode="m/d/yyyy">
                  <c:v>44525</c:v>
                </c:pt>
                <c:pt idx="6904" formatCode="m/d/yyyy">
                  <c:v>44526</c:v>
                </c:pt>
                <c:pt idx="6905" formatCode="m/d/yyyy">
                  <c:v>44527</c:v>
                </c:pt>
                <c:pt idx="6906" formatCode="m/d/yyyy">
                  <c:v>44528</c:v>
                </c:pt>
                <c:pt idx="6907" formatCode="m/d/yyyy">
                  <c:v>44529</c:v>
                </c:pt>
                <c:pt idx="6908" formatCode="m/d/yyyy">
                  <c:v>44530</c:v>
                </c:pt>
                <c:pt idx="6909" formatCode="m/d/yyyy">
                  <c:v>44531</c:v>
                </c:pt>
                <c:pt idx="6910" formatCode="m/d/yyyy">
                  <c:v>44532</c:v>
                </c:pt>
                <c:pt idx="6911" formatCode="m/d/yyyy">
                  <c:v>44533</c:v>
                </c:pt>
                <c:pt idx="6912" formatCode="m/d/yyyy">
                  <c:v>44534</c:v>
                </c:pt>
                <c:pt idx="6913" formatCode="m/d/yyyy">
                  <c:v>44535</c:v>
                </c:pt>
                <c:pt idx="6914" formatCode="m/d/yyyy">
                  <c:v>44536</c:v>
                </c:pt>
                <c:pt idx="6915" formatCode="m/d/yyyy">
                  <c:v>44537</c:v>
                </c:pt>
                <c:pt idx="6916" formatCode="m/d/yyyy">
                  <c:v>44538</c:v>
                </c:pt>
                <c:pt idx="6917" formatCode="m/d/yyyy">
                  <c:v>44539</c:v>
                </c:pt>
                <c:pt idx="6918" formatCode="m/d/yyyy">
                  <c:v>44540</c:v>
                </c:pt>
                <c:pt idx="6919" formatCode="m/d/yyyy">
                  <c:v>44541</c:v>
                </c:pt>
                <c:pt idx="6920" formatCode="m/d/yyyy">
                  <c:v>44542</c:v>
                </c:pt>
                <c:pt idx="6921" formatCode="m/d/yyyy">
                  <c:v>44543</c:v>
                </c:pt>
                <c:pt idx="6922" formatCode="m/d/yyyy">
                  <c:v>44544</c:v>
                </c:pt>
                <c:pt idx="6923" formatCode="m/d/yyyy">
                  <c:v>44545</c:v>
                </c:pt>
                <c:pt idx="6924" formatCode="m/d/yyyy">
                  <c:v>44546</c:v>
                </c:pt>
                <c:pt idx="6925" formatCode="m/d/yyyy">
                  <c:v>44547</c:v>
                </c:pt>
                <c:pt idx="6926" formatCode="m/d/yyyy">
                  <c:v>44548</c:v>
                </c:pt>
                <c:pt idx="6927" formatCode="m/d/yyyy">
                  <c:v>44549</c:v>
                </c:pt>
                <c:pt idx="6928" formatCode="m/d/yyyy">
                  <c:v>44550</c:v>
                </c:pt>
                <c:pt idx="6929" formatCode="m/d/yyyy">
                  <c:v>44551</c:v>
                </c:pt>
                <c:pt idx="6930" formatCode="m/d/yyyy">
                  <c:v>44552</c:v>
                </c:pt>
                <c:pt idx="6931" formatCode="m/d/yyyy">
                  <c:v>44553</c:v>
                </c:pt>
                <c:pt idx="6932" formatCode="m/d/yyyy">
                  <c:v>44554</c:v>
                </c:pt>
                <c:pt idx="6933" formatCode="m/d/yyyy">
                  <c:v>44555</c:v>
                </c:pt>
                <c:pt idx="6934" formatCode="m/d/yyyy">
                  <c:v>44556</c:v>
                </c:pt>
                <c:pt idx="6935" formatCode="m/d/yyyy">
                  <c:v>44557</c:v>
                </c:pt>
                <c:pt idx="6936" formatCode="m/d/yyyy">
                  <c:v>44558</c:v>
                </c:pt>
                <c:pt idx="6937" formatCode="m/d/yyyy">
                  <c:v>44559</c:v>
                </c:pt>
                <c:pt idx="6938" formatCode="m/d/yyyy">
                  <c:v>44560</c:v>
                </c:pt>
                <c:pt idx="6939" formatCode="m/d/yyyy">
                  <c:v>44561</c:v>
                </c:pt>
                <c:pt idx="6940" formatCode="m/d/yyyy">
                  <c:v>44562</c:v>
                </c:pt>
                <c:pt idx="6941" formatCode="m/d/yyyy">
                  <c:v>44563</c:v>
                </c:pt>
                <c:pt idx="6942" formatCode="m/d/yyyy">
                  <c:v>44564</c:v>
                </c:pt>
                <c:pt idx="6943" formatCode="m/d/yyyy">
                  <c:v>44565</c:v>
                </c:pt>
                <c:pt idx="6944" formatCode="m/d/yyyy">
                  <c:v>44566</c:v>
                </c:pt>
                <c:pt idx="6945" formatCode="m/d/yyyy">
                  <c:v>44567</c:v>
                </c:pt>
                <c:pt idx="6946" formatCode="m/d/yyyy">
                  <c:v>44568</c:v>
                </c:pt>
                <c:pt idx="6947" formatCode="m/d/yyyy">
                  <c:v>44569</c:v>
                </c:pt>
                <c:pt idx="6948" formatCode="m/d/yyyy">
                  <c:v>44570</c:v>
                </c:pt>
                <c:pt idx="6949" formatCode="m/d/yyyy">
                  <c:v>44571</c:v>
                </c:pt>
                <c:pt idx="6950" formatCode="m/d/yyyy">
                  <c:v>44572</c:v>
                </c:pt>
                <c:pt idx="6951" formatCode="m/d/yyyy">
                  <c:v>44573</c:v>
                </c:pt>
                <c:pt idx="6952" formatCode="m/d/yyyy">
                  <c:v>44574</c:v>
                </c:pt>
                <c:pt idx="6953" formatCode="m/d/yyyy">
                  <c:v>44575</c:v>
                </c:pt>
                <c:pt idx="6954" formatCode="m/d/yyyy">
                  <c:v>44576</c:v>
                </c:pt>
                <c:pt idx="6955" formatCode="m/d/yyyy">
                  <c:v>44577</c:v>
                </c:pt>
                <c:pt idx="6956" formatCode="m/d/yyyy">
                  <c:v>44578</c:v>
                </c:pt>
                <c:pt idx="6957" formatCode="m/d/yyyy">
                  <c:v>44579</c:v>
                </c:pt>
                <c:pt idx="6958" formatCode="m/d/yyyy">
                  <c:v>44580</c:v>
                </c:pt>
                <c:pt idx="6959" formatCode="m/d/yyyy">
                  <c:v>44581</c:v>
                </c:pt>
                <c:pt idx="6960" formatCode="m/d/yyyy">
                  <c:v>44582</c:v>
                </c:pt>
                <c:pt idx="6961" formatCode="m/d/yyyy">
                  <c:v>44583</c:v>
                </c:pt>
                <c:pt idx="6962" formatCode="m/d/yyyy">
                  <c:v>44584</c:v>
                </c:pt>
                <c:pt idx="6963" formatCode="m/d/yyyy">
                  <c:v>44585</c:v>
                </c:pt>
                <c:pt idx="6964" formatCode="m/d/yyyy">
                  <c:v>44586</c:v>
                </c:pt>
                <c:pt idx="6965" formatCode="m/d/yyyy">
                  <c:v>44587</c:v>
                </c:pt>
                <c:pt idx="6966" formatCode="m/d/yyyy">
                  <c:v>44588</c:v>
                </c:pt>
                <c:pt idx="6967" formatCode="m/d/yyyy">
                  <c:v>44589</c:v>
                </c:pt>
                <c:pt idx="6968" formatCode="m/d/yyyy">
                  <c:v>44590</c:v>
                </c:pt>
                <c:pt idx="6969" formatCode="m/d/yyyy">
                  <c:v>44591</c:v>
                </c:pt>
                <c:pt idx="6970" formatCode="m/d/yyyy">
                  <c:v>44592</c:v>
                </c:pt>
                <c:pt idx="6971" formatCode="m/d/yyyy">
                  <c:v>44593</c:v>
                </c:pt>
                <c:pt idx="6972" formatCode="m/d/yyyy">
                  <c:v>44594</c:v>
                </c:pt>
                <c:pt idx="6973" formatCode="m/d/yyyy">
                  <c:v>44595</c:v>
                </c:pt>
                <c:pt idx="6974" formatCode="m/d/yyyy">
                  <c:v>44596</c:v>
                </c:pt>
                <c:pt idx="6975" formatCode="m/d/yyyy">
                  <c:v>44597</c:v>
                </c:pt>
                <c:pt idx="6976" formatCode="m/d/yyyy">
                  <c:v>44598</c:v>
                </c:pt>
                <c:pt idx="6977" formatCode="m/d/yyyy">
                  <c:v>44599</c:v>
                </c:pt>
                <c:pt idx="6978" formatCode="m/d/yyyy">
                  <c:v>44600</c:v>
                </c:pt>
                <c:pt idx="6979" formatCode="m/d/yyyy">
                  <c:v>44601</c:v>
                </c:pt>
                <c:pt idx="6980" formatCode="m/d/yyyy">
                  <c:v>44602</c:v>
                </c:pt>
                <c:pt idx="6981" formatCode="m/d/yyyy">
                  <c:v>44603</c:v>
                </c:pt>
                <c:pt idx="6982" formatCode="m/d/yyyy">
                  <c:v>44604</c:v>
                </c:pt>
                <c:pt idx="6983" formatCode="m/d/yyyy">
                  <c:v>44605</c:v>
                </c:pt>
                <c:pt idx="6984" formatCode="m/d/yyyy">
                  <c:v>44606</c:v>
                </c:pt>
                <c:pt idx="6985" formatCode="m/d/yyyy">
                  <c:v>44607</c:v>
                </c:pt>
                <c:pt idx="6986" formatCode="m/d/yyyy">
                  <c:v>44608</c:v>
                </c:pt>
                <c:pt idx="6987" formatCode="m/d/yyyy">
                  <c:v>44609</c:v>
                </c:pt>
                <c:pt idx="6988" formatCode="m/d/yyyy">
                  <c:v>44610</c:v>
                </c:pt>
                <c:pt idx="6989" formatCode="m/d/yyyy">
                  <c:v>44611</c:v>
                </c:pt>
                <c:pt idx="6990" formatCode="m/d/yyyy">
                  <c:v>44612</c:v>
                </c:pt>
                <c:pt idx="6991" formatCode="m/d/yyyy">
                  <c:v>44613</c:v>
                </c:pt>
                <c:pt idx="6992" formatCode="m/d/yyyy">
                  <c:v>44614</c:v>
                </c:pt>
                <c:pt idx="6993" formatCode="m/d/yyyy">
                  <c:v>44615</c:v>
                </c:pt>
                <c:pt idx="6994" formatCode="m/d/yyyy">
                  <c:v>44616</c:v>
                </c:pt>
                <c:pt idx="6995" formatCode="m/d/yyyy">
                  <c:v>44617</c:v>
                </c:pt>
                <c:pt idx="6996" formatCode="m/d/yyyy">
                  <c:v>44618</c:v>
                </c:pt>
                <c:pt idx="6997" formatCode="m/d/yyyy">
                  <c:v>44619</c:v>
                </c:pt>
                <c:pt idx="6998" formatCode="m/d/yyyy">
                  <c:v>44620</c:v>
                </c:pt>
                <c:pt idx="6999" formatCode="m/d/yyyy">
                  <c:v>44621</c:v>
                </c:pt>
                <c:pt idx="7000" formatCode="m/d/yyyy">
                  <c:v>44622</c:v>
                </c:pt>
                <c:pt idx="7001" formatCode="m/d/yyyy">
                  <c:v>44623</c:v>
                </c:pt>
                <c:pt idx="7002" formatCode="m/d/yyyy">
                  <c:v>44624</c:v>
                </c:pt>
                <c:pt idx="7003" formatCode="m/d/yyyy">
                  <c:v>44625</c:v>
                </c:pt>
                <c:pt idx="7004" formatCode="m/d/yyyy">
                  <c:v>44626</c:v>
                </c:pt>
                <c:pt idx="7005" formatCode="m/d/yyyy">
                  <c:v>44627</c:v>
                </c:pt>
                <c:pt idx="7006" formatCode="m/d/yyyy">
                  <c:v>44628</c:v>
                </c:pt>
                <c:pt idx="7007" formatCode="m/d/yyyy">
                  <c:v>44629</c:v>
                </c:pt>
                <c:pt idx="7008" formatCode="m/d/yyyy">
                  <c:v>44630</c:v>
                </c:pt>
                <c:pt idx="7009" formatCode="m/d/yyyy">
                  <c:v>44631</c:v>
                </c:pt>
                <c:pt idx="7010" formatCode="m/d/yyyy">
                  <c:v>44632</c:v>
                </c:pt>
                <c:pt idx="7011" formatCode="m/d/yyyy">
                  <c:v>44633</c:v>
                </c:pt>
                <c:pt idx="7012" formatCode="m/d/yyyy">
                  <c:v>44634</c:v>
                </c:pt>
                <c:pt idx="7013" formatCode="m/d/yyyy">
                  <c:v>44635</c:v>
                </c:pt>
                <c:pt idx="7014" formatCode="m/d/yyyy">
                  <c:v>44636</c:v>
                </c:pt>
                <c:pt idx="7015" formatCode="m/d/yyyy">
                  <c:v>44637</c:v>
                </c:pt>
                <c:pt idx="7016" formatCode="m/d/yyyy">
                  <c:v>44638</c:v>
                </c:pt>
                <c:pt idx="7017" formatCode="m/d/yyyy">
                  <c:v>44639</c:v>
                </c:pt>
                <c:pt idx="7018" formatCode="m/d/yyyy">
                  <c:v>44640</c:v>
                </c:pt>
                <c:pt idx="7019" formatCode="m/d/yyyy">
                  <c:v>44641</c:v>
                </c:pt>
                <c:pt idx="7020" formatCode="m/d/yyyy">
                  <c:v>44642</c:v>
                </c:pt>
                <c:pt idx="7021" formatCode="m/d/yyyy">
                  <c:v>44643</c:v>
                </c:pt>
                <c:pt idx="7022" formatCode="m/d/yyyy">
                  <c:v>44644</c:v>
                </c:pt>
                <c:pt idx="7023" formatCode="m/d/yyyy">
                  <c:v>44645</c:v>
                </c:pt>
                <c:pt idx="7024" formatCode="m/d/yyyy">
                  <c:v>44646</c:v>
                </c:pt>
                <c:pt idx="7025" formatCode="m/d/yyyy">
                  <c:v>44647</c:v>
                </c:pt>
                <c:pt idx="7026" formatCode="m/d/yyyy">
                  <c:v>44648</c:v>
                </c:pt>
                <c:pt idx="7027" formatCode="m/d/yyyy">
                  <c:v>44649</c:v>
                </c:pt>
                <c:pt idx="7028" formatCode="m/d/yyyy">
                  <c:v>44650</c:v>
                </c:pt>
                <c:pt idx="7029" formatCode="m/d/yyyy">
                  <c:v>44651</c:v>
                </c:pt>
                <c:pt idx="7030" formatCode="m/d/yyyy">
                  <c:v>44652</c:v>
                </c:pt>
                <c:pt idx="7031" formatCode="m/d/yyyy">
                  <c:v>44653</c:v>
                </c:pt>
                <c:pt idx="7032" formatCode="m/d/yyyy">
                  <c:v>44654</c:v>
                </c:pt>
                <c:pt idx="7033" formatCode="m/d/yyyy">
                  <c:v>44655</c:v>
                </c:pt>
                <c:pt idx="7034" formatCode="m/d/yyyy">
                  <c:v>44656</c:v>
                </c:pt>
                <c:pt idx="7035" formatCode="m/d/yyyy">
                  <c:v>44657</c:v>
                </c:pt>
                <c:pt idx="7036" formatCode="m/d/yyyy">
                  <c:v>44658</c:v>
                </c:pt>
                <c:pt idx="7037" formatCode="m/d/yyyy">
                  <c:v>44659</c:v>
                </c:pt>
                <c:pt idx="7038" formatCode="m/d/yyyy">
                  <c:v>44660</c:v>
                </c:pt>
                <c:pt idx="7039" formatCode="m/d/yyyy">
                  <c:v>44661</c:v>
                </c:pt>
                <c:pt idx="7040" formatCode="m/d/yyyy">
                  <c:v>44662</c:v>
                </c:pt>
                <c:pt idx="7041" formatCode="m/d/yyyy">
                  <c:v>44663</c:v>
                </c:pt>
                <c:pt idx="7042" formatCode="m/d/yyyy">
                  <c:v>44664</c:v>
                </c:pt>
                <c:pt idx="7043" formatCode="m/d/yyyy">
                  <c:v>44665</c:v>
                </c:pt>
                <c:pt idx="7044" formatCode="m/d/yyyy">
                  <c:v>44666</c:v>
                </c:pt>
                <c:pt idx="7045" formatCode="m/d/yyyy">
                  <c:v>44667</c:v>
                </c:pt>
                <c:pt idx="7046" formatCode="m/d/yyyy">
                  <c:v>44668</c:v>
                </c:pt>
                <c:pt idx="7047" formatCode="m/d/yyyy">
                  <c:v>44669</c:v>
                </c:pt>
                <c:pt idx="7048" formatCode="m/d/yyyy">
                  <c:v>44670</c:v>
                </c:pt>
                <c:pt idx="7049" formatCode="m/d/yyyy">
                  <c:v>44671</c:v>
                </c:pt>
                <c:pt idx="7050" formatCode="m/d/yyyy">
                  <c:v>44672</c:v>
                </c:pt>
                <c:pt idx="7051" formatCode="m/d/yyyy">
                  <c:v>44673</c:v>
                </c:pt>
                <c:pt idx="7052" formatCode="m/d/yyyy">
                  <c:v>44674</c:v>
                </c:pt>
                <c:pt idx="7053" formatCode="m/d/yyyy">
                  <c:v>44675</c:v>
                </c:pt>
                <c:pt idx="7054" formatCode="m/d/yyyy">
                  <c:v>44676</c:v>
                </c:pt>
                <c:pt idx="7055" formatCode="m/d/yyyy">
                  <c:v>44677</c:v>
                </c:pt>
                <c:pt idx="7056" formatCode="m/d/yyyy">
                  <c:v>44678</c:v>
                </c:pt>
                <c:pt idx="7057" formatCode="m/d/yyyy">
                  <c:v>44679</c:v>
                </c:pt>
                <c:pt idx="7058" formatCode="m/d/yyyy">
                  <c:v>44680</c:v>
                </c:pt>
                <c:pt idx="7059" formatCode="m/d/yyyy">
                  <c:v>44681</c:v>
                </c:pt>
                <c:pt idx="7060" formatCode="m/d/yyyy">
                  <c:v>44682</c:v>
                </c:pt>
                <c:pt idx="7061" formatCode="m/d/yyyy">
                  <c:v>44683</c:v>
                </c:pt>
                <c:pt idx="7062" formatCode="m/d/yyyy">
                  <c:v>44684</c:v>
                </c:pt>
                <c:pt idx="7063" formatCode="m/d/yyyy">
                  <c:v>44685</c:v>
                </c:pt>
                <c:pt idx="7064" formatCode="m/d/yyyy">
                  <c:v>44686</c:v>
                </c:pt>
                <c:pt idx="7065" formatCode="m/d/yyyy">
                  <c:v>44687</c:v>
                </c:pt>
                <c:pt idx="7066" formatCode="m/d/yyyy">
                  <c:v>44688</c:v>
                </c:pt>
                <c:pt idx="7067" formatCode="m/d/yyyy">
                  <c:v>44689</c:v>
                </c:pt>
                <c:pt idx="7068" formatCode="m/d/yyyy">
                  <c:v>44690</c:v>
                </c:pt>
                <c:pt idx="7069" formatCode="m/d/yyyy">
                  <c:v>44691</c:v>
                </c:pt>
                <c:pt idx="7070" formatCode="m/d/yyyy">
                  <c:v>44692</c:v>
                </c:pt>
                <c:pt idx="7071" formatCode="m/d/yyyy">
                  <c:v>44693</c:v>
                </c:pt>
                <c:pt idx="7072" formatCode="m/d/yyyy">
                  <c:v>44694</c:v>
                </c:pt>
                <c:pt idx="7073" formatCode="m/d/yyyy">
                  <c:v>44695</c:v>
                </c:pt>
                <c:pt idx="7074" formatCode="m/d/yyyy">
                  <c:v>44696</c:v>
                </c:pt>
                <c:pt idx="7075" formatCode="m/d/yyyy">
                  <c:v>44697</c:v>
                </c:pt>
                <c:pt idx="7076" formatCode="m/d/yyyy">
                  <c:v>44698</c:v>
                </c:pt>
                <c:pt idx="7077" formatCode="m/d/yyyy">
                  <c:v>44699</c:v>
                </c:pt>
                <c:pt idx="7078" formatCode="m/d/yyyy">
                  <c:v>44700</c:v>
                </c:pt>
                <c:pt idx="7079" formatCode="m/d/yyyy">
                  <c:v>44701</c:v>
                </c:pt>
                <c:pt idx="7080" formatCode="m/d/yyyy">
                  <c:v>44702</c:v>
                </c:pt>
                <c:pt idx="7081" formatCode="m/d/yyyy">
                  <c:v>44703</c:v>
                </c:pt>
                <c:pt idx="7082" formatCode="m/d/yyyy">
                  <c:v>44704</c:v>
                </c:pt>
                <c:pt idx="7083" formatCode="m/d/yyyy">
                  <c:v>44705</c:v>
                </c:pt>
                <c:pt idx="7084" formatCode="m/d/yyyy">
                  <c:v>44706</c:v>
                </c:pt>
                <c:pt idx="7085" formatCode="m/d/yyyy">
                  <c:v>44707</c:v>
                </c:pt>
                <c:pt idx="7086" formatCode="m/d/yyyy">
                  <c:v>44708</c:v>
                </c:pt>
                <c:pt idx="7087" formatCode="m/d/yyyy">
                  <c:v>44709</c:v>
                </c:pt>
                <c:pt idx="7088" formatCode="m/d/yyyy">
                  <c:v>44710</c:v>
                </c:pt>
                <c:pt idx="7089" formatCode="m/d/yyyy">
                  <c:v>44711</c:v>
                </c:pt>
                <c:pt idx="7090" formatCode="m/d/yyyy">
                  <c:v>44712</c:v>
                </c:pt>
                <c:pt idx="7091" formatCode="m/d/yyyy">
                  <c:v>44713</c:v>
                </c:pt>
                <c:pt idx="7092" formatCode="m/d/yyyy">
                  <c:v>44714</c:v>
                </c:pt>
                <c:pt idx="7093" formatCode="m/d/yyyy">
                  <c:v>44715</c:v>
                </c:pt>
                <c:pt idx="7094" formatCode="m/d/yyyy">
                  <c:v>44716</c:v>
                </c:pt>
                <c:pt idx="7095" formatCode="m/d/yyyy">
                  <c:v>44717</c:v>
                </c:pt>
                <c:pt idx="7096" formatCode="m/d/yyyy">
                  <c:v>44718</c:v>
                </c:pt>
                <c:pt idx="7097" formatCode="m/d/yyyy">
                  <c:v>44719</c:v>
                </c:pt>
                <c:pt idx="7098" formatCode="m/d/yyyy">
                  <c:v>44720</c:v>
                </c:pt>
                <c:pt idx="7099" formatCode="m/d/yyyy">
                  <c:v>44721</c:v>
                </c:pt>
                <c:pt idx="7100" formatCode="m/d/yyyy">
                  <c:v>44722</c:v>
                </c:pt>
                <c:pt idx="7101" formatCode="m/d/yyyy">
                  <c:v>44723</c:v>
                </c:pt>
                <c:pt idx="7102" formatCode="m/d/yyyy">
                  <c:v>44724</c:v>
                </c:pt>
                <c:pt idx="7103" formatCode="m/d/yyyy">
                  <c:v>44725</c:v>
                </c:pt>
                <c:pt idx="7104" formatCode="m/d/yyyy">
                  <c:v>44726</c:v>
                </c:pt>
                <c:pt idx="7105" formatCode="m/d/yyyy">
                  <c:v>44727</c:v>
                </c:pt>
                <c:pt idx="7106" formatCode="m/d/yyyy">
                  <c:v>44728</c:v>
                </c:pt>
                <c:pt idx="7107" formatCode="m/d/yyyy">
                  <c:v>44729</c:v>
                </c:pt>
                <c:pt idx="7108" formatCode="m/d/yyyy">
                  <c:v>44730</c:v>
                </c:pt>
                <c:pt idx="7109" formatCode="m/d/yyyy">
                  <c:v>44731</c:v>
                </c:pt>
                <c:pt idx="7110" formatCode="m/d/yyyy">
                  <c:v>44732</c:v>
                </c:pt>
                <c:pt idx="7111" formatCode="m/d/yyyy">
                  <c:v>44733</c:v>
                </c:pt>
                <c:pt idx="7112" formatCode="m/d/yyyy">
                  <c:v>44734</c:v>
                </c:pt>
                <c:pt idx="7113" formatCode="m/d/yyyy">
                  <c:v>44735</c:v>
                </c:pt>
                <c:pt idx="7114" formatCode="m/d/yyyy">
                  <c:v>44736</c:v>
                </c:pt>
                <c:pt idx="7115" formatCode="m/d/yyyy">
                  <c:v>44737</c:v>
                </c:pt>
                <c:pt idx="7116" formatCode="m/d/yyyy">
                  <c:v>44738</c:v>
                </c:pt>
                <c:pt idx="7117" formatCode="m/d/yyyy">
                  <c:v>44739</c:v>
                </c:pt>
                <c:pt idx="7118" formatCode="m/d/yyyy">
                  <c:v>44740</c:v>
                </c:pt>
                <c:pt idx="7119" formatCode="m/d/yyyy">
                  <c:v>44741</c:v>
                </c:pt>
                <c:pt idx="7120" formatCode="m/d/yyyy">
                  <c:v>44742</c:v>
                </c:pt>
                <c:pt idx="7121" formatCode="m/d/yyyy">
                  <c:v>44743</c:v>
                </c:pt>
                <c:pt idx="7122" formatCode="m/d/yyyy">
                  <c:v>44744</c:v>
                </c:pt>
                <c:pt idx="7123" formatCode="m/d/yyyy">
                  <c:v>44745</c:v>
                </c:pt>
                <c:pt idx="7124" formatCode="m/d/yyyy">
                  <c:v>44746</c:v>
                </c:pt>
                <c:pt idx="7125" formatCode="m/d/yyyy">
                  <c:v>44747</c:v>
                </c:pt>
                <c:pt idx="7126" formatCode="m/d/yyyy">
                  <c:v>44748</c:v>
                </c:pt>
                <c:pt idx="7127" formatCode="m/d/yyyy">
                  <c:v>44749</c:v>
                </c:pt>
                <c:pt idx="7128" formatCode="m/d/yyyy">
                  <c:v>44750</c:v>
                </c:pt>
                <c:pt idx="7129" formatCode="m/d/yyyy">
                  <c:v>44751</c:v>
                </c:pt>
                <c:pt idx="7130" formatCode="m/d/yyyy">
                  <c:v>44752</c:v>
                </c:pt>
                <c:pt idx="7131" formatCode="m/d/yyyy">
                  <c:v>44753</c:v>
                </c:pt>
                <c:pt idx="7132" formatCode="m/d/yyyy">
                  <c:v>44754</c:v>
                </c:pt>
                <c:pt idx="7133" formatCode="m/d/yyyy">
                  <c:v>44755</c:v>
                </c:pt>
                <c:pt idx="7134" formatCode="m/d/yyyy">
                  <c:v>44756</c:v>
                </c:pt>
                <c:pt idx="7135" formatCode="m/d/yyyy">
                  <c:v>44757</c:v>
                </c:pt>
                <c:pt idx="7136" formatCode="m/d/yyyy">
                  <c:v>44758</c:v>
                </c:pt>
                <c:pt idx="7137" formatCode="m/d/yyyy">
                  <c:v>44759</c:v>
                </c:pt>
                <c:pt idx="7138" formatCode="m/d/yyyy">
                  <c:v>44760</c:v>
                </c:pt>
                <c:pt idx="7139" formatCode="m/d/yyyy">
                  <c:v>44761</c:v>
                </c:pt>
                <c:pt idx="7140" formatCode="m/d/yyyy">
                  <c:v>44762</c:v>
                </c:pt>
                <c:pt idx="7141" formatCode="m/d/yyyy">
                  <c:v>44763</c:v>
                </c:pt>
                <c:pt idx="7142" formatCode="m/d/yyyy">
                  <c:v>44764</c:v>
                </c:pt>
                <c:pt idx="7143" formatCode="m/d/yyyy">
                  <c:v>44765</c:v>
                </c:pt>
                <c:pt idx="7144" formatCode="m/d/yyyy">
                  <c:v>44766</c:v>
                </c:pt>
                <c:pt idx="7145" formatCode="m/d/yyyy">
                  <c:v>44767</c:v>
                </c:pt>
                <c:pt idx="7146" formatCode="m/d/yyyy">
                  <c:v>44768</c:v>
                </c:pt>
                <c:pt idx="7147" formatCode="m/d/yyyy">
                  <c:v>44769</c:v>
                </c:pt>
                <c:pt idx="7148" formatCode="m/d/yyyy">
                  <c:v>44770</c:v>
                </c:pt>
                <c:pt idx="7149" formatCode="m/d/yyyy">
                  <c:v>44771</c:v>
                </c:pt>
                <c:pt idx="7150" formatCode="m/d/yyyy">
                  <c:v>44772</c:v>
                </c:pt>
                <c:pt idx="7151" formatCode="m/d/yyyy">
                  <c:v>44773</c:v>
                </c:pt>
                <c:pt idx="7152" formatCode="m/d/yyyy">
                  <c:v>44774</c:v>
                </c:pt>
                <c:pt idx="7153" formatCode="m/d/yyyy">
                  <c:v>44775</c:v>
                </c:pt>
                <c:pt idx="7154" formatCode="m/d/yyyy">
                  <c:v>44776</c:v>
                </c:pt>
                <c:pt idx="7155" formatCode="m/d/yyyy">
                  <c:v>44777</c:v>
                </c:pt>
                <c:pt idx="7156" formatCode="m/d/yyyy">
                  <c:v>44778</c:v>
                </c:pt>
                <c:pt idx="7157" formatCode="m/d/yyyy">
                  <c:v>44779</c:v>
                </c:pt>
                <c:pt idx="7158" formatCode="m/d/yyyy">
                  <c:v>44780</c:v>
                </c:pt>
                <c:pt idx="7159" formatCode="m/d/yyyy">
                  <c:v>44781</c:v>
                </c:pt>
                <c:pt idx="7160" formatCode="m/d/yyyy">
                  <c:v>44782</c:v>
                </c:pt>
                <c:pt idx="7161" formatCode="m/d/yyyy">
                  <c:v>44783</c:v>
                </c:pt>
                <c:pt idx="7162" formatCode="m/d/yyyy">
                  <c:v>44784</c:v>
                </c:pt>
                <c:pt idx="7163" formatCode="m/d/yyyy">
                  <c:v>44785</c:v>
                </c:pt>
                <c:pt idx="7164" formatCode="m/d/yyyy">
                  <c:v>44786</c:v>
                </c:pt>
                <c:pt idx="7165" formatCode="m/d/yyyy">
                  <c:v>44787</c:v>
                </c:pt>
                <c:pt idx="7166" formatCode="m/d/yyyy">
                  <c:v>44788</c:v>
                </c:pt>
                <c:pt idx="7167" formatCode="m/d/yyyy">
                  <c:v>44789</c:v>
                </c:pt>
                <c:pt idx="7168" formatCode="m/d/yyyy">
                  <c:v>44790</c:v>
                </c:pt>
                <c:pt idx="7169" formatCode="m/d/yyyy">
                  <c:v>44791</c:v>
                </c:pt>
                <c:pt idx="7170" formatCode="m/d/yyyy">
                  <c:v>44792</c:v>
                </c:pt>
                <c:pt idx="7171" formatCode="m/d/yyyy">
                  <c:v>44793</c:v>
                </c:pt>
                <c:pt idx="7172" formatCode="m/d/yyyy">
                  <c:v>44794</c:v>
                </c:pt>
                <c:pt idx="7173" formatCode="m/d/yyyy">
                  <c:v>44795</c:v>
                </c:pt>
                <c:pt idx="7174" formatCode="m/d/yyyy">
                  <c:v>44796</c:v>
                </c:pt>
                <c:pt idx="7175" formatCode="m/d/yyyy">
                  <c:v>44797</c:v>
                </c:pt>
                <c:pt idx="7176" formatCode="m/d/yyyy">
                  <c:v>44798</c:v>
                </c:pt>
                <c:pt idx="7177" formatCode="m/d/yyyy">
                  <c:v>44799</c:v>
                </c:pt>
                <c:pt idx="7178" formatCode="m/d/yyyy">
                  <c:v>44800</c:v>
                </c:pt>
                <c:pt idx="7179" formatCode="m/d/yyyy">
                  <c:v>44801</c:v>
                </c:pt>
                <c:pt idx="7180" formatCode="m/d/yyyy">
                  <c:v>44802</c:v>
                </c:pt>
                <c:pt idx="7181" formatCode="m/d/yyyy">
                  <c:v>44803</c:v>
                </c:pt>
                <c:pt idx="7182" formatCode="m/d/yyyy">
                  <c:v>44804</c:v>
                </c:pt>
                <c:pt idx="7183" formatCode="m/d/yyyy">
                  <c:v>44805</c:v>
                </c:pt>
                <c:pt idx="7184" formatCode="m/d/yyyy">
                  <c:v>44806</c:v>
                </c:pt>
                <c:pt idx="7185" formatCode="m/d/yyyy">
                  <c:v>44807</c:v>
                </c:pt>
                <c:pt idx="7186" formatCode="m/d/yyyy">
                  <c:v>44808</c:v>
                </c:pt>
                <c:pt idx="7187" formatCode="m/d/yyyy">
                  <c:v>44809</c:v>
                </c:pt>
                <c:pt idx="7188" formatCode="m/d/yyyy">
                  <c:v>44810</c:v>
                </c:pt>
                <c:pt idx="7189" formatCode="m/d/yyyy">
                  <c:v>44811</c:v>
                </c:pt>
                <c:pt idx="7190" formatCode="m/d/yyyy">
                  <c:v>44812</c:v>
                </c:pt>
                <c:pt idx="7191" formatCode="m/d/yyyy">
                  <c:v>44813</c:v>
                </c:pt>
                <c:pt idx="7192" formatCode="m/d/yyyy">
                  <c:v>44814</c:v>
                </c:pt>
                <c:pt idx="7193" formatCode="m/d/yyyy">
                  <c:v>44815</c:v>
                </c:pt>
                <c:pt idx="7194" formatCode="m/d/yyyy">
                  <c:v>44816</c:v>
                </c:pt>
                <c:pt idx="7195" formatCode="m/d/yyyy">
                  <c:v>44817</c:v>
                </c:pt>
                <c:pt idx="7196" formatCode="m/d/yyyy">
                  <c:v>44818</c:v>
                </c:pt>
                <c:pt idx="7197" formatCode="m/d/yyyy">
                  <c:v>44819</c:v>
                </c:pt>
                <c:pt idx="7198" formatCode="m/d/yyyy">
                  <c:v>44820</c:v>
                </c:pt>
                <c:pt idx="7199" formatCode="m/d/yyyy">
                  <c:v>44821</c:v>
                </c:pt>
                <c:pt idx="7200" formatCode="m/d/yyyy">
                  <c:v>44822</c:v>
                </c:pt>
                <c:pt idx="7201" formatCode="m/d/yyyy">
                  <c:v>44823</c:v>
                </c:pt>
                <c:pt idx="7202" formatCode="m/d/yyyy">
                  <c:v>44824</c:v>
                </c:pt>
                <c:pt idx="7203" formatCode="m/d/yyyy">
                  <c:v>44825</c:v>
                </c:pt>
                <c:pt idx="7204" formatCode="m/d/yyyy">
                  <c:v>44826</c:v>
                </c:pt>
                <c:pt idx="7205" formatCode="m/d/yyyy">
                  <c:v>44827</c:v>
                </c:pt>
                <c:pt idx="7206" formatCode="m/d/yyyy">
                  <c:v>44828</c:v>
                </c:pt>
                <c:pt idx="7207" formatCode="m/d/yyyy">
                  <c:v>44829</c:v>
                </c:pt>
                <c:pt idx="7208" formatCode="m/d/yyyy">
                  <c:v>44830</c:v>
                </c:pt>
                <c:pt idx="7209" formatCode="m/d/yyyy">
                  <c:v>44831</c:v>
                </c:pt>
                <c:pt idx="7210" formatCode="m/d/yyyy">
                  <c:v>44832</c:v>
                </c:pt>
                <c:pt idx="7211" formatCode="m/d/yyyy">
                  <c:v>44833</c:v>
                </c:pt>
                <c:pt idx="7212" formatCode="m/d/yyyy">
                  <c:v>44834</c:v>
                </c:pt>
                <c:pt idx="7213" formatCode="m/d/yyyy">
                  <c:v>44835</c:v>
                </c:pt>
                <c:pt idx="7214" formatCode="m/d/yyyy">
                  <c:v>44836</c:v>
                </c:pt>
                <c:pt idx="7215" formatCode="m/d/yyyy">
                  <c:v>44837</c:v>
                </c:pt>
                <c:pt idx="7216" formatCode="m/d/yyyy">
                  <c:v>44838</c:v>
                </c:pt>
                <c:pt idx="7217" formatCode="m/d/yyyy">
                  <c:v>44839</c:v>
                </c:pt>
                <c:pt idx="7218" formatCode="m/d/yyyy">
                  <c:v>44840</c:v>
                </c:pt>
                <c:pt idx="7219" formatCode="m/d/yyyy">
                  <c:v>44841</c:v>
                </c:pt>
                <c:pt idx="7220" formatCode="m/d/yyyy">
                  <c:v>44842</c:v>
                </c:pt>
                <c:pt idx="7221" formatCode="m/d/yyyy">
                  <c:v>44843</c:v>
                </c:pt>
                <c:pt idx="7222" formatCode="m/d/yyyy">
                  <c:v>44844</c:v>
                </c:pt>
                <c:pt idx="7223" formatCode="m/d/yyyy">
                  <c:v>44845</c:v>
                </c:pt>
                <c:pt idx="7224" formatCode="m/d/yyyy">
                  <c:v>44846</c:v>
                </c:pt>
                <c:pt idx="7225" formatCode="m/d/yyyy">
                  <c:v>44847</c:v>
                </c:pt>
                <c:pt idx="7226" formatCode="m/d/yyyy">
                  <c:v>44848</c:v>
                </c:pt>
                <c:pt idx="7227" formatCode="m/d/yyyy">
                  <c:v>44849</c:v>
                </c:pt>
                <c:pt idx="7228" formatCode="m/d/yyyy">
                  <c:v>44850</c:v>
                </c:pt>
                <c:pt idx="7229" formatCode="m/d/yyyy">
                  <c:v>44851</c:v>
                </c:pt>
                <c:pt idx="7230" formatCode="m/d/yyyy">
                  <c:v>44852</c:v>
                </c:pt>
                <c:pt idx="7231" formatCode="m/d/yyyy">
                  <c:v>44853</c:v>
                </c:pt>
                <c:pt idx="7232" formatCode="m/d/yyyy">
                  <c:v>44854</c:v>
                </c:pt>
                <c:pt idx="7233" formatCode="m/d/yyyy">
                  <c:v>44855</c:v>
                </c:pt>
                <c:pt idx="7234" formatCode="m/d/yyyy">
                  <c:v>44856</c:v>
                </c:pt>
                <c:pt idx="7235" formatCode="m/d/yyyy">
                  <c:v>44857</c:v>
                </c:pt>
                <c:pt idx="7236" formatCode="m/d/yyyy">
                  <c:v>44858</c:v>
                </c:pt>
                <c:pt idx="7237" formatCode="m/d/yyyy">
                  <c:v>44859</c:v>
                </c:pt>
                <c:pt idx="7238" formatCode="m/d/yyyy">
                  <c:v>44860</c:v>
                </c:pt>
                <c:pt idx="7239" formatCode="m/d/yyyy">
                  <c:v>44861</c:v>
                </c:pt>
                <c:pt idx="7240" formatCode="m/d/yyyy">
                  <c:v>44862</c:v>
                </c:pt>
                <c:pt idx="7241" formatCode="m/d/yyyy">
                  <c:v>44863</c:v>
                </c:pt>
                <c:pt idx="7242" formatCode="m/d/yyyy">
                  <c:v>44864</c:v>
                </c:pt>
                <c:pt idx="7243" formatCode="m/d/yyyy">
                  <c:v>44865</c:v>
                </c:pt>
                <c:pt idx="7244" formatCode="m/d/yyyy">
                  <c:v>44866</c:v>
                </c:pt>
                <c:pt idx="7245" formatCode="m/d/yyyy">
                  <c:v>44867</c:v>
                </c:pt>
                <c:pt idx="7246" formatCode="m/d/yyyy">
                  <c:v>44868</c:v>
                </c:pt>
                <c:pt idx="7247" formatCode="m/d/yyyy">
                  <c:v>44869</c:v>
                </c:pt>
                <c:pt idx="7248" formatCode="m/d/yyyy">
                  <c:v>44870</c:v>
                </c:pt>
                <c:pt idx="7249" formatCode="m/d/yyyy">
                  <c:v>44871</c:v>
                </c:pt>
                <c:pt idx="7250" formatCode="m/d/yyyy">
                  <c:v>44872</c:v>
                </c:pt>
                <c:pt idx="7251" formatCode="m/d/yyyy">
                  <c:v>44873</c:v>
                </c:pt>
                <c:pt idx="7252" formatCode="m/d/yyyy">
                  <c:v>44874</c:v>
                </c:pt>
                <c:pt idx="7253" formatCode="m/d/yyyy">
                  <c:v>44875</c:v>
                </c:pt>
                <c:pt idx="7254" formatCode="m/d/yyyy">
                  <c:v>44876</c:v>
                </c:pt>
                <c:pt idx="7255" formatCode="m/d/yyyy">
                  <c:v>44877</c:v>
                </c:pt>
                <c:pt idx="7256" formatCode="m/d/yyyy">
                  <c:v>44878</c:v>
                </c:pt>
                <c:pt idx="7257" formatCode="m/d/yyyy">
                  <c:v>44879</c:v>
                </c:pt>
                <c:pt idx="7258" formatCode="m/d/yyyy">
                  <c:v>44880</c:v>
                </c:pt>
                <c:pt idx="7259" formatCode="m/d/yyyy">
                  <c:v>44881</c:v>
                </c:pt>
                <c:pt idx="7260" formatCode="m/d/yyyy">
                  <c:v>44882</c:v>
                </c:pt>
                <c:pt idx="7261" formatCode="m/d/yyyy">
                  <c:v>44883</c:v>
                </c:pt>
                <c:pt idx="7262" formatCode="m/d/yyyy">
                  <c:v>44884</c:v>
                </c:pt>
                <c:pt idx="7263" formatCode="m/d/yyyy">
                  <c:v>44885</c:v>
                </c:pt>
                <c:pt idx="7264" formatCode="m/d/yyyy">
                  <c:v>44886</c:v>
                </c:pt>
                <c:pt idx="7265" formatCode="m/d/yyyy">
                  <c:v>44887</c:v>
                </c:pt>
                <c:pt idx="7266" formatCode="m/d/yyyy">
                  <c:v>44888</c:v>
                </c:pt>
                <c:pt idx="7267" formatCode="m/d/yyyy">
                  <c:v>44889</c:v>
                </c:pt>
                <c:pt idx="7268" formatCode="m/d/yyyy">
                  <c:v>44890</c:v>
                </c:pt>
                <c:pt idx="7269" formatCode="m/d/yyyy">
                  <c:v>44891</c:v>
                </c:pt>
                <c:pt idx="7270" formatCode="m/d/yyyy">
                  <c:v>44892</c:v>
                </c:pt>
                <c:pt idx="7271" formatCode="m/d/yyyy">
                  <c:v>44893</c:v>
                </c:pt>
                <c:pt idx="7272" formatCode="m/d/yyyy">
                  <c:v>44894</c:v>
                </c:pt>
                <c:pt idx="7273" formatCode="m/d/yyyy">
                  <c:v>44895</c:v>
                </c:pt>
                <c:pt idx="7274" formatCode="m/d/yyyy">
                  <c:v>44896</c:v>
                </c:pt>
                <c:pt idx="7275" formatCode="m/d/yyyy">
                  <c:v>44897</c:v>
                </c:pt>
                <c:pt idx="7276" formatCode="m/d/yyyy">
                  <c:v>44898</c:v>
                </c:pt>
                <c:pt idx="7277" formatCode="m/d/yyyy">
                  <c:v>44899</c:v>
                </c:pt>
                <c:pt idx="7278" formatCode="m/d/yyyy">
                  <c:v>44900</c:v>
                </c:pt>
                <c:pt idx="7279" formatCode="m/d/yyyy">
                  <c:v>44901</c:v>
                </c:pt>
                <c:pt idx="7280" formatCode="m/d/yyyy">
                  <c:v>44902</c:v>
                </c:pt>
                <c:pt idx="7281" formatCode="m/d/yyyy">
                  <c:v>44903</c:v>
                </c:pt>
                <c:pt idx="7282" formatCode="m/d/yyyy">
                  <c:v>44904</c:v>
                </c:pt>
                <c:pt idx="7283" formatCode="m/d/yyyy">
                  <c:v>44905</c:v>
                </c:pt>
                <c:pt idx="7284" formatCode="m/d/yyyy">
                  <c:v>44906</c:v>
                </c:pt>
                <c:pt idx="7285" formatCode="m/d/yyyy">
                  <c:v>44907</c:v>
                </c:pt>
                <c:pt idx="7286" formatCode="m/d/yyyy">
                  <c:v>44908</c:v>
                </c:pt>
                <c:pt idx="7287" formatCode="m/d/yyyy">
                  <c:v>44909</c:v>
                </c:pt>
                <c:pt idx="7288" formatCode="m/d/yyyy">
                  <c:v>44910</c:v>
                </c:pt>
                <c:pt idx="7289" formatCode="m/d/yyyy">
                  <c:v>44911</c:v>
                </c:pt>
                <c:pt idx="7290" formatCode="m/d/yyyy">
                  <c:v>44912</c:v>
                </c:pt>
                <c:pt idx="7291" formatCode="m/d/yyyy">
                  <c:v>44913</c:v>
                </c:pt>
                <c:pt idx="7292" formatCode="m/d/yyyy">
                  <c:v>44914</c:v>
                </c:pt>
                <c:pt idx="7293" formatCode="m/d/yyyy">
                  <c:v>44915</c:v>
                </c:pt>
                <c:pt idx="7294" formatCode="m/d/yyyy">
                  <c:v>44916</c:v>
                </c:pt>
                <c:pt idx="7295" formatCode="m/d/yyyy">
                  <c:v>44917</c:v>
                </c:pt>
                <c:pt idx="7296" formatCode="m/d/yyyy">
                  <c:v>44918</c:v>
                </c:pt>
                <c:pt idx="7297" formatCode="m/d/yyyy">
                  <c:v>44919</c:v>
                </c:pt>
                <c:pt idx="7298" formatCode="m/d/yyyy">
                  <c:v>44920</c:v>
                </c:pt>
                <c:pt idx="7299" formatCode="m/d/yyyy">
                  <c:v>44921</c:v>
                </c:pt>
                <c:pt idx="7300" formatCode="m/d/yyyy">
                  <c:v>44922</c:v>
                </c:pt>
                <c:pt idx="7301" formatCode="m/d/yyyy">
                  <c:v>44923</c:v>
                </c:pt>
                <c:pt idx="7302" formatCode="m/d/yyyy">
                  <c:v>44924</c:v>
                </c:pt>
                <c:pt idx="7303" formatCode="m/d/yyyy">
                  <c:v>44925</c:v>
                </c:pt>
                <c:pt idx="7304" formatCode="m/d/yyyy">
                  <c:v>44926</c:v>
                </c:pt>
                <c:pt idx="7305" formatCode="m/d/yyyy">
                  <c:v>44927</c:v>
                </c:pt>
                <c:pt idx="7306" formatCode="m/d/yyyy">
                  <c:v>44928</c:v>
                </c:pt>
                <c:pt idx="7307" formatCode="m/d/yyyy">
                  <c:v>44929</c:v>
                </c:pt>
                <c:pt idx="7308" formatCode="m/d/yyyy">
                  <c:v>44930</c:v>
                </c:pt>
                <c:pt idx="7309" formatCode="m/d/yyyy">
                  <c:v>44931</c:v>
                </c:pt>
                <c:pt idx="7310" formatCode="m/d/yyyy">
                  <c:v>44932</c:v>
                </c:pt>
                <c:pt idx="7311" formatCode="m/d/yyyy">
                  <c:v>44933</c:v>
                </c:pt>
                <c:pt idx="7312" formatCode="m/d/yyyy">
                  <c:v>44934</c:v>
                </c:pt>
                <c:pt idx="7313" formatCode="m/d/yyyy">
                  <c:v>44935</c:v>
                </c:pt>
                <c:pt idx="7314" formatCode="m/d/yyyy">
                  <c:v>44936</c:v>
                </c:pt>
                <c:pt idx="7315" formatCode="m/d/yyyy">
                  <c:v>44937</c:v>
                </c:pt>
                <c:pt idx="7316" formatCode="m/d/yyyy">
                  <c:v>44938</c:v>
                </c:pt>
                <c:pt idx="7317" formatCode="m/d/yyyy">
                  <c:v>44939</c:v>
                </c:pt>
                <c:pt idx="7318" formatCode="m/d/yyyy">
                  <c:v>44940</c:v>
                </c:pt>
                <c:pt idx="7319" formatCode="m/d/yyyy">
                  <c:v>44941</c:v>
                </c:pt>
                <c:pt idx="7320" formatCode="m/d/yyyy">
                  <c:v>44942</c:v>
                </c:pt>
                <c:pt idx="7321" formatCode="m/d/yyyy">
                  <c:v>44943</c:v>
                </c:pt>
                <c:pt idx="7322" formatCode="m/d/yyyy">
                  <c:v>44944</c:v>
                </c:pt>
                <c:pt idx="7323" formatCode="m/d/yyyy">
                  <c:v>44945</c:v>
                </c:pt>
                <c:pt idx="7324" formatCode="m/d/yyyy">
                  <c:v>44946</c:v>
                </c:pt>
                <c:pt idx="7325" formatCode="m/d/yyyy">
                  <c:v>44947</c:v>
                </c:pt>
                <c:pt idx="7326" formatCode="m/d/yyyy">
                  <c:v>44948</c:v>
                </c:pt>
                <c:pt idx="7327" formatCode="m/d/yyyy">
                  <c:v>44949</c:v>
                </c:pt>
                <c:pt idx="7328" formatCode="m/d/yyyy">
                  <c:v>44950</c:v>
                </c:pt>
                <c:pt idx="7329" formatCode="m/d/yyyy">
                  <c:v>44951</c:v>
                </c:pt>
                <c:pt idx="7330" formatCode="m/d/yyyy">
                  <c:v>44952</c:v>
                </c:pt>
                <c:pt idx="7331" formatCode="m/d/yyyy">
                  <c:v>44953</c:v>
                </c:pt>
              </c:numCache>
            </c:numRef>
          </c:cat>
          <c:val>
            <c:numRef>
              <c:f>Tabelle1!$B$2:$B$7333</c:f>
              <c:numCache>
                <c:formatCode>0.00</c:formatCode>
                <c:ptCount val="7332"/>
                <c:pt idx="0" formatCode="General">
                  <c:v>100</c:v>
                </c:pt>
                <c:pt idx="1">
                  <c:v>98.536343533332939</c:v>
                </c:pt>
                <c:pt idx="2">
                  <c:v>98.929768378401732</c:v>
                </c:pt>
                <c:pt idx="3">
                  <c:v>98.929768378401732</c:v>
                </c:pt>
                <c:pt idx="4">
                  <c:v>98.929768378401732</c:v>
                </c:pt>
                <c:pt idx="5">
                  <c:v>98.508035776709661</c:v>
                </c:pt>
                <c:pt idx="6">
                  <c:v>99.203175184873984</c:v>
                </c:pt>
                <c:pt idx="7">
                  <c:v>99.350895934949492</c:v>
                </c:pt>
                <c:pt idx="8">
                  <c:v>98.785362017224216</c:v>
                </c:pt>
                <c:pt idx="9">
                  <c:v>98.886312889495528</c:v>
                </c:pt>
                <c:pt idx="10">
                  <c:v>98.886312889495528</c:v>
                </c:pt>
                <c:pt idx="11">
                  <c:v>98.886312889495528</c:v>
                </c:pt>
                <c:pt idx="12">
                  <c:v>99.442791155961615</c:v>
                </c:pt>
                <c:pt idx="13">
                  <c:v>99.473701276949896</c:v>
                </c:pt>
                <c:pt idx="14">
                  <c:v>100.36701957350454</c:v>
                </c:pt>
                <c:pt idx="15">
                  <c:v>100.59294829621021</c:v>
                </c:pt>
                <c:pt idx="16">
                  <c:v>101.60846393187862</c:v>
                </c:pt>
                <c:pt idx="17">
                  <c:v>101.60846393187862</c:v>
                </c:pt>
                <c:pt idx="18">
                  <c:v>101.60846393187862</c:v>
                </c:pt>
                <c:pt idx="19">
                  <c:v>102.4250597478931</c:v>
                </c:pt>
                <c:pt idx="20">
                  <c:v>103.31214367820526</c:v>
                </c:pt>
                <c:pt idx="21">
                  <c:v>104.07102109422873</c:v>
                </c:pt>
                <c:pt idx="22">
                  <c:v>105.05465879679227</c:v>
                </c:pt>
                <c:pt idx="23">
                  <c:v>105.67690988290168</c:v>
                </c:pt>
                <c:pt idx="24">
                  <c:v>105.67690988290168</c:v>
                </c:pt>
                <c:pt idx="25">
                  <c:v>105.67690988290168</c:v>
                </c:pt>
                <c:pt idx="26">
                  <c:v>106.61796487193583</c:v>
                </c:pt>
                <c:pt idx="27">
                  <c:v>105.5263902249079</c:v>
                </c:pt>
                <c:pt idx="28">
                  <c:v>104.04585480293922</c:v>
                </c:pt>
                <c:pt idx="29">
                  <c:v>102.66023208565868</c:v>
                </c:pt>
                <c:pt idx="30">
                  <c:v>102.54987395219835</c:v>
                </c:pt>
                <c:pt idx="31">
                  <c:v>102.54987395219835</c:v>
                </c:pt>
                <c:pt idx="32">
                  <c:v>102.54987395219835</c:v>
                </c:pt>
                <c:pt idx="33">
                  <c:v>101.62315457936359</c:v>
                </c:pt>
                <c:pt idx="34">
                  <c:v>103.76346669021756</c:v>
                </c:pt>
                <c:pt idx="35">
                  <c:v>101.88370905280712</c:v>
                </c:pt>
                <c:pt idx="36">
                  <c:v>103.77093654356257</c:v>
                </c:pt>
                <c:pt idx="37">
                  <c:v>104.08272603541776</c:v>
                </c:pt>
                <c:pt idx="38">
                  <c:v>104.08272603541776</c:v>
                </c:pt>
                <c:pt idx="39">
                  <c:v>104.08272603541776</c:v>
                </c:pt>
                <c:pt idx="40">
                  <c:v>104.07125070612203</c:v>
                </c:pt>
                <c:pt idx="41">
                  <c:v>102.452124494367</c:v>
                </c:pt>
                <c:pt idx="42">
                  <c:v>102.93808397785729</c:v>
                </c:pt>
                <c:pt idx="43">
                  <c:v>102.95549743829758</c:v>
                </c:pt>
                <c:pt idx="44">
                  <c:v>101.73588159839694</c:v>
                </c:pt>
                <c:pt idx="45">
                  <c:v>101.73588159839696</c:v>
                </c:pt>
                <c:pt idx="46">
                  <c:v>101.73588159839696</c:v>
                </c:pt>
                <c:pt idx="47">
                  <c:v>100.80439246983121</c:v>
                </c:pt>
                <c:pt idx="48">
                  <c:v>99.858873652776154</c:v>
                </c:pt>
                <c:pt idx="49">
                  <c:v>101.88056227854042</c:v>
                </c:pt>
                <c:pt idx="50">
                  <c:v>101.92793196350932</c:v>
                </c:pt>
                <c:pt idx="51">
                  <c:v>100.72861262254791</c:v>
                </c:pt>
                <c:pt idx="52">
                  <c:v>100.72861262254791</c:v>
                </c:pt>
                <c:pt idx="53">
                  <c:v>100.72861262254791</c:v>
                </c:pt>
                <c:pt idx="54">
                  <c:v>101.68203832552319</c:v>
                </c:pt>
                <c:pt idx="55">
                  <c:v>102.5060258209154</c:v>
                </c:pt>
                <c:pt idx="56">
                  <c:v>102.44639055601588</c:v>
                </c:pt>
                <c:pt idx="57">
                  <c:v>101.63681752098296</c:v>
                </c:pt>
                <c:pt idx="58">
                  <c:v>101.04534428620329</c:v>
                </c:pt>
                <c:pt idx="59">
                  <c:v>101.04534428620329</c:v>
                </c:pt>
                <c:pt idx="60">
                  <c:v>101.04534428620329</c:v>
                </c:pt>
                <c:pt idx="61">
                  <c:v>101.21715713549602</c:v>
                </c:pt>
                <c:pt idx="62">
                  <c:v>102.40242694547632</c:v>
                </c:pt>
                <c:pt idx="63">
                  <c:v>102.91126203496364</c:v>
                </c:pt>
                <c:pt idx="64">
                  <c:v>103.50642702402445</c:v>
                </c:pt>
                <c:pt idx="65">
                  <c:v>104.35378878820397</c:v>
                </c:pt>
                <c:pt idx="66">
                  <c:v>104.35378878820396</c:v>
                </c:pt>
                <c:pt idx="67">
                  <c:v>104.35378878820396</c:v>
                </c:pt>
                <c:pt idx="68">
                  <c:v>105.27017258097484</c:v>
                </c:pt>
                <c:pt idx="69">
                  <c:v>104.53663308390639</c:v>
                </c:pt>
                <c:pt idx="70">
                  <c:v>107.13060860880911</c:v>
                </c:pt>
                <c:pt idx="71">
                  <c:v>102.99197878619167</c:v>
                </c:pt>
                <c:pt idx="72">
                  <c:v>101.06638364509143</c:v>
                </c:pt>
                <c:pt idx="73">
                  <c:v>101.06638364509142</c:v>
                </c:pt>
                <c:pt idx="74">
                  <c:v>101.06638364509142</c:v>
                </c:pt>
                <c:pt idx="75">
                  <c:v>98.71543840774612</c:v>
                </c:pt>
                <c:pt idx="76">
                  <c:v>99.842102366414622</c:v>
                </c:pt>
                <c:pt idx="77">
                  <c:v>99.64069324332344</c:v>
                </c:pt>
                <c:pt idx="78">
                  <c:v>100.03855827145118</c:v>
                </c:pt>
                <c:pt idx="79">
                  <c:v>98.574943009912062</c:v>
                </c:pt>
                <c:pt idx="80">
                  <c:v>98.574943009912062</c:v>
                </c:pt>
                <c:pt idx="81">
                  <c:v>98.574943009912062</c:v>
                </c:pt>
                <c:pt idx="82">
                  <c:v>101.12453718451445</c:v>
                </c:pt>
                <c:pt idx="83">
                  <c:v>99.845112684101309</c:v>
                </c:pt>
                <c:pt idx="84">
                  <c:v>100.18168168920465</c:v>
                </c:pt>
                <c:pt idx="85">
                  <c:v>101.2130208718953</c:v>
                </c:pt>
                <c:pt idx="86">
                  <c:v>101.39381947581597</c:v>
                </c:pt>
                <c:pt idx="87">
                  <c:v>101.39381947581597</c:v>
                </c:pt>
                <c:pt idx="88">
                  <c:v>101.39381947581597</c:v>
                </c:pt>
                <c:pt idx="89">
                  <c:v>103.30513443039949</c:v>
                </c:pt>
                <c:pt idx="90">
                  <c:v>102.12397988782477</c:v>
                </c:pt>
                <c:pt idx="91">
                  <c:v>100.80748506894143</c:v>
                </c:pt>
                <c:pt idx="92">
                  <c:v>100.73312630202487</c:v>
                </c:pt>
                <c:pt idx="93">
                  <c:v>99.987010722403369</c:v>
                </c:pt>
                <c:pt idx="94">
                  <c:v>99.987010722403383</c:v>
                </c:pt>
                <c:pt idx="95">
                  <c:v>99.987010722403383</c:v>
                </c:pt>
                <c:pt idx="96">
                  <c:v>99.233542141336358</c:v>
                </c:pt>
                <c:pt idx="97">
                  <c:v>100.11909873892552</c:v>
                </c:pt>
                <c:pt idx="98">
                  <c:v>100.40457629181182</c:v>
                </c:pt>
                <c:pt idx="99">
                  <c:v>102.19547964528593</c:v>
                </c:pt>
                <c:pt idx="100">
                  <c:v>102.21922711666303</c:v>
                </c:pt>
                <c:pt idx="101">
                  <c:v>102.21922711666303</c:v>
                </c:pt>
                <c:pt idx="102">
                  <c:v>102.21922711666303</c:v>
                </c:pt>
                <c:pt idx="103">
                  <c:v>101.40602911704568</c:v>
                </c:pt>
                <c:pt idx="104">
                  <c:v>100.57120126734439</c:v>
                </c:pt>
                <c:pt idx="105">
                  <c:v>101.92755010751341</c:v>
                </c:pt>
                <c:pt idx="106">
                  <c:v>101.30890883211777</c:v>
                </c:pt>
                <c:pt idx="107">
                  <c:v>101.30890883211777</c:v>
                </c:pt>
                <c:pt idx="108">
                  <c:v>101.30890883211777</c:v>
                </c:pt>
                <c:pt idx="109">
                  <c:v>101.30890883211777</c:v>
                </c:pt>
                <c:pt idx="110">
                  <c:v>101.30890883211777</c:v>
                </c:pt>
                <c:pt idx="111">
                  <c:v>101.11209354773273</c:v>
                </c:pt>
                <c:pt idx="112">
                  <c:v>101.85778450775194</c:v>
                </c:pt>
                <c:pt idx="113">
                  <c:v>103.31344771420082</c:v>
                </c:pt>
                <c:pt idx="114">
                  <c:v>104.15017001658373</c:v>
                </c:pt>
                <c:pt idx="115">
                  <c:v>104.15017001658371</c:v>
                </c:pt>
                <c:pt idx="116">
                  <c:v>104.15017001658371</c:v>
                </c:pt>
                <c:pt idx="117">
                  <c:v>102.70161458178467</c:v>
                </c:pt>
                <c:pt idx="118">
                  <c:v>103.60192174675861</c:v>
                </c:pt>
                <c:pt idx="119">
                  <c:v>103.88782172932351</c:v>
                </c:pt>
                <c:pt idx="120">
                  <c:v>103.88782172932349</c:v>
                </c:pt>
                <c:pt idx="121">
                  <c:v>104.32650250629584</c:v>
                </c:pt>
                <c:pt idx="122">
                  <c:v>104.32650250629584</c:v>
                </c:pt>
                <c:pt idx="123">
                  <c:v>104.32650250629584</c:v>
                </c:pt>
                <c:pt idx="124">
                  <c:v>104.41149955878255</c:v>
                </c:pt>
                <c:pt idx="125">
                  <c:v>104.25208119523896</c:v>
                </c:pt>
                <c:pt idx="126">
                  <c:v>105.50497871050187</c:v>
                </c:pt>
                <c:pt idx="127">
                  <c:v>106.71634722846522</c:v>
                </c:pt>
                <c:pt idx="128">
                  <c:v>105.53350004889096</c:v>
                </c:pt>
                <c:pt idx="129">
                  <c:v>105.53350004889094</c:v>
                </c:pt>
                <c:pt idx="130">
                  <c:v>105.53350004889094</c:v>
                </c:pt>
                <c:pt idx="131">
                  <c:v>105.72225030477829</c:v>
                </c:pt>
                <c:pt idx="132">
                  <c:v>105.97498369959968</c:v>
                </c:pt>
                <c:pt idx="133">
                  <c:v>106.82489662006252</c:v>
                </c:pt>
                <c:pt idx="134">
                  <c:v>106.34280584680955</c:v>
                </c:pt>
                <c:pt idx="135">
                  <c:v>106.88049714435952</c:v>
                </c:pt>
                <c:pt idx="136">
                  <c:v>106.88049714435954</c:v>
                </c:pt>
                <c:pt idx="137">
                  <c:v>106.88049714435954</c:v>
                </c:pt>
                <c:pt idx="138">
                  <c:v>108.52904635282349</c:v>
                </c:pt>
                <c:pt idx="139">
                  <c:v>108.49918958558013</c:v>
                </c:pt>
                <c:pt idx="140">
                  <c:v>108.30081384061728</c:v>
                </c:pt>
                <c:pt idx="141">
                  <c:v>107.86546576648126</c:v>
                </c:pt>
                <c:pt idx="142">
                  <c:v>108.54669583855973</c:v>
                </c:pt>
                <c:pt idx="143">
                  <c:v>108.54669583855973</c:v>
                </c:pt>
                <c:pt idx="144">
                  <c:v>108.54669583855973</c:v>
                </c:pt>
                <c:pt idx="145">
                  <c:v>108.72600189525413</c:v>
                </c:pt>
                <c:pt idx="146">
                  <c:v>108.28062241700688</c:v>
                </c:pt>
                <c:pt idx="147">
                  <c:v>107.70803362672069</c:v>
                </c:pt>
                <c:pt idx="148">
                  <c:v>107.95677461476724</c:v>
                </c:pt>
                <c:pt idx="149">
                  <c:v>108.87876409577657</c:v>
                </c:pt>
                <c:pt idx="150">
                  <c:v>108.87876409577657</c:v>
                </c:pt>
                <c:pt idx="151">
                  <c:v>108.87876409577657</c:v>
                </c:pt>
                <c:pt idx="152">
                  <c:v>108.14986752744596</c:v>
                </c:pt>
                <c:pt idx="153">
                  <c:v>108.30127800518039</c:v>
                </c:pt>
                <c:pt idx="154">
                  <c:v>108.45520193025793</c:v>
                </c:pt>
                <c:pt idx="155">
                  <c:v>109.80353493276145</c:v>
                </c:pt>
                <c:pt idx="156">
                  <c:v>109.50493113792164</c:v>
                </c:pt>
                <c:pt idx="157">
                  <c:v>109.50493113792164</c:v>
                </c:pt>
                <c:pt idx="158">
                  <c:v>109.50493113792164</c:v>
                </c:pt>
                <c:pt idx="159">
                  <c:v>109.89278112764352</c:v>
                </c:pt>
                <c:pt idx="160">
                  <c:v>109.27403098023589</c:v>
                </c:pt>
                <c:pt idx="161">
                  <c:v>108.75832913590433</c:v>
                </c:pt>
                <c:pt idx="162">
                  <c:v>108.49367442274323</c:v>
                </c:pt>
                <c:pt idx="163">
                  <c:v>109.27610014083804</c:v>
                </c:pt>
                <c:pt idx="164">
                  <c:v>109.27610014083805</c:v>
                </c:pt>
                <c:pt idx="165">
                  <c:v>109.27610014083805</c:v>
                </c:pt>
                <c:pt idx="166">
                  <c:v>107.92148966456072</c:v>
                </c:pt>
                <c:pt idx="167">
                  <c:v>107.77161249381224</c:v>
                </c:pt>
                <c:pt idx="168">
                  <c:v>107.08637967948115</c:v>
                </c:pt>
                <c:pt idx="169">
                  <c:v>107.89910511918028</c:v>
                </c:pt>
                <c:pt idx="170">
                  <c:v>107.03633212432163</c:v>
                </c:pt>
                <c:pt idx="171">
                  <c:v>107.03633212432163</c:v>
                </c:pt>
                <c:pt idx="172">
                  <c:v>107.03633212432163</c:v>
                </c:pt>
                <c:pt idx="173">
                  <c:v>108.18598941898463</c:v>
                </c:pt>
                <c:pt idx="174">
                  <c:v>107.67157968058827</c:v>
                </c:pt>
                <c:pt idx="175">
                  <c:v>107.8028759642857</c:v>
                </c:pt>
                <c:pt idx="176">
                  <c:v>107.55548345579338</c:v>
                </c:pt>
                <c:pt idx="177">
                  <c:v>107.67053725659422</c:v>
                </c:pt>
                <c:pt idx="178">
                  <c:v>107.6705372565942</c:v>
                </c:pt>
                <c:pt idx="179">
                  <c:v>107.6705372565942</c:v>
                </c:pt>
                <c:pt idx="180">
                  <c:v>108.69151616570738</c:v>
                </c:pt>
                <c:pt idx="181">
                  <c:v>109.97794041780448</c:v>
                </c:pt>
                <c:pt idx="182">
                  <c:v>109.41137984052465</c:v>
                </c:pt>
                <c:pt idx="183">
                  <c:v>109.47719473163259</c:v>
                </c:pt>
                <c:pt idx="184">
                  <c:v>109.79345149707167</c:v>
                </c:pt>
                <c:pt idx="185">
                  <c:v>109.79345149707167</c:v>
                </c:pt>
                <c:pt idx="186">
                  <c:v>109.79345149707167</c:v>
                </c:pt>
                <c:pt idx="187">
                  <c:v>109.18053111164623</c:v>
                </c:pt>
                <c:pt idx="188">
                  <c:v>110.14958561635241</c:v>
                </c:pt>
                <c:pt idx="189">
                  <c:v>110.71241694357461</c:v>
                </c:pt>
                <c:pt idx="190">
                  <c:v>111.39432760638671</c:v>
                </c:pt>
                <c:pt idx="191">
                  <c:v>110.32858185616651</c:v>
                </c:pt>
                <c:pt idx="192">
                  <c:v>110.32858185616652</c:v>
                </c:pt>
                <c:pt idx="193">
                  <c:v>110.32858185616652</c:v>
                </c:pt>
                <c:pt idx="194">
                  <c:v>110.24006446585879</c:v>
                </c:pt>
                <c:pt idx="195">
                  <c:v>111.49099867579181</c:v>
                </c:pt>
                <c:pt idx="196">
                  <c:v>112.42567982111956</c:v>
                </c:pt>
                <c:pt idx="197">
                  <c:v>112.80370043006069</c:v>
                </c:pt>
                <c:pt idx="198">
                  <c:v>112.73091107080094</c:v>
                </c:pt>
                <c:pt idx="199">
                  <c:v>112.73091107080096</c:v>
                </c:pt>
                <c:pt idx="200">
                  <c:v>112.73091107080096</c:v>
                </c:pt>
                <c:pt idx="201">
                  <c:v>113.29003685248627</c:v>
                </c:pt>
                <c:pt idx="202">
                  <c:v>112.70181248033015</c:v>
                </c:pt>
                <c:pt idx="203">
                  <c:v>112.84031277968816</c:v>
                </c:pt>
                <c:pt idx="204">
                  <c:v>111.80813811413968</c:v>
                </c:pt>
                <c:pt idx="205">
                  <c:v>112.28512203132489</c:v>
                </c:pt>
                <c:pt idx="206">
                  <c:v>112.2851220313249</c:v>
                </c:pt>
                <c:pt idx="207">
                  <c:v>112.2851220313249</c:v>
                </c:pt>
                <c:pt idx="208">
                  <c:v>111.71715398899237</c:v>
                </c:pt>
                <c:pt idx="209">
                  <c:v>112.03474381997835</c:v>
                </c:pt>
                <c:pt idx="210">
                  <c:v>112.02903371931714</c:v>
                </c:pt>
                <c:pt idx="211">
                  <c:v>111.62150925445189</c:v>
                </c:pt>
                <c:pt idx="212">
                  <c:v>113.32260961086203</c:v>
                </c:pt>
                <c:pt idx="213">
                  <c:v>113.32260961086203</c:v>
                </c:pt>
                <c:pt idx="214">
                  <c:v>113.32260961086203</c:v>
                </c:pt>
                <c:pt idx="215">
                  <c:v>113.54704732143909</c:v>
                </c:pt>
                <c:pt idx="216">
                  <c:v>113.05812882467349</c:v>
                </c:pt>
                <c:pt idx="217">
                  <c:v>113.59033809218222</c:v>
                </c:pt>
                <c:pt idx="218">
                  <c:v>113.18983973120042</c:v>
                </c:pt>
                <c:pt idx="219">
                  <c:v>112.61709628079852</c:v>
                </c:pt>
                <c:pt idx="220">
                  <c:v>112.61709628079851</c:v>
                </c:pt>
                <c:pt idx="221">
                  <c:v>112.61709628079851</c:v>
                </c:pt>
                <c:pt idx="222">
                  <c:v>112.26167647965703</c:v>
                </c:pt>
                <c:pt idx="223">
                  <c:v>112.06715671997296</c:v>
                </c:pt>
                <c:pt idx="224">
                  <c:v>112.93553677451311</c:v>
                </c:pt>
                <c:pt idx="225">
                  <c:v>111.80211737079664</c:v>
                </c:pt>
                <c:pt idx="226">
                  <c:v>112.17278710401709</c:v>
                </c:pt>
                <c:pt idx="227">
                  <c:v>112.17278710401709</c:v>
                </c:pt>
                <c:pt idx="228">
                  <c:v>112.17278710401709</c:v>
                </c:pt>
                <c:pt idx="229">
                  <c:v>112.15498798019495</c:v>
                </c:pt>
                <c:pt idx="230">
                  <c:v>113.28841788045715</c:v>
                </c:pt>
                <c:pt idx="231">
                  <c:v>113.60212522073174</c:v>
                </c:pt>
                <c:pt idx="232">
                  <c:v>114.05275494844008</c:v>
                </c:pt>
                <c:pt idx="233">
                  <c:v>114.44456547922002</c:v>
                </c:pt>
                <c:pt idx="234">
                  <c:v>114.44456547922002</c:v>
                </c:pt>
                <c:pt idx="235">
                  <c:v>114.44456547922002</c:v>
                </c:pt>
                <c:pt idx="236">
                  <c:v>115.00707866361959</c:v>
                </c:pt>
                <c:pt idx="237">
                  <c:v>115.1309329336701</c:v>
                </c:pt>
                <c:pt idx="238">
                  <c:v>114.59136759105549</c:v>
                </c:pt>
                <c:pt idx="239">
                  <c:v>114.76372381118418</c:v>
                </c:pt>
                <c:pt idx="240">
                  <c:v>116.34967470574236</c:v>
                </c:pt>
                <c:pt idx="241">
                  <c:v>116.34967470574236</c:v>
                </c:pt>
                <c:pt idx="242">
                  <c:v>116.34967470574236</c:v>
                </c:pt>
                <c:pt idx="243">
                  <c:v>116.07489155853793</c:v>
                </c:pt>
                <c:pt idx="244">
                  <c:v>116.54367176586945</c:v>
                </c:pt>
                <c:pt idx="245">
                  <c:v>116.66750668199442</c:v>
                </c:pt>
                <c:pt idx="246">
                  <c:v>116.52845763137779</c:v>
                </c:pt>
                <c:pt idx="247">
                  <c:v>116.7857751816931</c:v>
                </c:pt>
                <c:pt idx="248">
                  <c:v>116.78577518169311</c:v>
                </c:pt>
                <c:pt idx="249">
                  <c:v>116.78577518169311</c:v>
                </c:pt>
                <c:pt idx="250">
                  <c:v>115.88942273254003</c:v>
                </c:pt>
                <c:pt idx="251">
                  <c:v>116.41005917159764</c:v>
                </c:pt>
                <c:pt idx="252">
                  <c:v>115.93431526967775</c:v>
                </c:pt>
                <c:pt idx="253">
                  <c:v>115.83462259530741</c:v>
                </c:pt>
                <c:pt idx="254">
                  <c:v>116.73292234369751</c:v>
                </c:pt>
                <c:pt idx="255">
                  <c:v>116.73292234369751</c:v>
                </c:pt>
                <c:pt idx="256">
                  <c:v>116.73292234369751</c:v>
                </c:pt>
                <c:pt idx="257">
                  <c:v>116.89212020048106</c:v>
                </c:pt>
                <c:pt idx="258">
                  <c:v>116.17660993513491</c:v>
                </c:pt>
                <c:pt idx="259">
                  <c:v>116.38117557975174</c:v>
                </c:pt>
                <c:pt idx="260">
                  <c:v>115.61648192904964</c:v>
                </c:pt>
                <c:pt idx="261">
                  <c:v>116.68893084838273</c:v>
                </c:pt>
                <c:pt idx="262">
                  <c:v>116.68893084838273</c:v>
                </c:pt>
                <c:pt idx="263">
                  <c:v>116.68893084838273</c:v>
                </c:pt>
                <c:pt idx="264">
                  <c:v>116.86471090071446</c:v>
                </c:pt>
                <c:pt idx="265">
                  <c:v>117.14208650347582</c:v>
                </c:pt>
                <c:pt idx="266">
                  <c:v>117.53336551233767</c:v>
                </c:pt>
                <c:pt idx="267">
                  <c:v>117.03370292854203</c:v>
                </c:pt>
                <c:pt idx="268">
                  <c:v>116.97312647323575</c:v>
                </c:pt>
                <c:pt idx="269">
                  <c:v>116.97312647323575</c:v>
                </c:pt>
                <c:pt idx="270">
                  <c:v>116.97312647323575</c:v>
                </c:pt>
                <c:pt idx="271">
                  <c:v>117.40918211663539</c:v>
                </c:pt>
                <c:pt idx="272">
                  <c:v>118.01804661742896</c:v>
                </c:pt>
                <c:pt idx="273">
                  <c:v>116.65179790623574</c:v>
                </c:pt>
                <c:pt idx="274">
                  <c:v>117.26950247940253</c:v>
                </c:pt>
                <c:pt idx="275">
                  <c:v>116.11954808345936</c:v>
                </c:pt>
                <c:pt idx="276">
                  <c:v>116.11954808345936</c:v>
                </c:pt>
                <c:pt idx="277">
                  <c:v>116.11954808345936</c:v>
                </c:pt>
                <c:pt idx="278">
                  <c:v>117.26323724147953</c:v>
                </c:pt>
                <c:pt idx="279">
                  <c:v>117.31529509893049</c:v>
                </c:pt>
                <c:pt idx="280">
                  <c:v>118.135858587119</c:v>
                </c:pt>
                <c:pt idx="281">
                  <c:v>117.19883666433839</c:v>
                </c:pt>
                <c:pt idx="282">
                  <c:v>117.32360639200874</c:v>
                </c:pt>
                <c:pt idx="283">
                  <c:v>117.32360639200874</c:v>
                </c:pt>
                <c:pt idx="284">
                  <c:v>117.32360639200874</c:v>
                </c:pt>
                <c:pt idx="285">
                  <c:v>116.30520720202459</c:v>
                </c:pt>
                <c:pt idx="286">
                  <c:v>116.7673706125791</c:v>
                </c:pt>
                <c:pt idx="287">
                  <c:v>117.29422097937039</c:v>
                </c:pt>
                <c:pt idx="288">
                  <c:v>117.64658788851622</c:v>
                </c:pt>
                <c:pt idx="289">
                  <c:v>117.79742580225843</c:v>
                </c:pt>
                <c:pt idx="290">
                  <c:v>117.79742580225843</c:v>
                </c:pt>
                <c:pt idx="291">
                  <c:v>117.79742580225843</c:v>
                </c:pt>
                <c:pt idx="292">
                  <c:v>117.56307435113445</c:v>
                </c:pt>
                <c:pt idx="293">
                  <c:v>117.64402100294721</c:v>
                </c:pt>
                <c:pt idx="294">
                  <c:v>118.2322442820569</c:v>
                </c:pt>
                <c:pt idx="295">
                  <c:v>118.24314620004067</c:v>
                </c:pt>
                <c:pt idx="296">
                  <c:v>118.68878487659478</c:v>
                </c:pt>
                <c:pt idx="297">
                  <c:v>118.68878487659478</c:v>
                </c:pt>
                <c:pt idx="298">
                  <c:v>118.68878487659478</c:v>
                </c:pt>
                <c:pt idx="299">
                  <c:v>118.05971309489763</c:v>
                </c:pt>
                <c:pt idx="300">
                  <c:v>118.00314719785635</c:v>
                </c:pt>
                <c:pt idx="301">
                  <c:v>118.38697851713131</c:v>
                </c:pt>
                <c:pt idx="302">
                  <c:v>118.09407966620753</c:v>
                </c:pt>
                <c:pt idx="303">
                  <c:v>118.60496435395218</c:v>
                </c:pt>
                <c:pt idx="304">
                  <c:v>118.60496435395218</c:v>
                </c:pt>
                <c:pt idx="305">
                  <c:v>118.60496435395218</c:v>
                </c:pt>
                <c:pt idx="306">
                  <c:v>118.06755627145823</c:v>
                </c:pt>
                <c:pt idx="307">
                  <c:v>118.44999801469505</c:v>
                </c:pt>
                <c:pt idx="308">
                  <c:v>118.51537373517571</c:v>
                </c:pt>
                <c:pt idx="309">
                  <c:v>117.95056323035294</c:v>
                </c:pt>
                <c:pt idx="310">
                  <c:v>117.89351138608554</c:v>
                </c:pt>
                <c:pt idx="311">
                  <c:v>117.89351138608554</c:v>
                </c:pt>
                <c:pt idx="312">
                  <c:v>117.89351138608554</c:v>
                </c:pt>
                <c:pt idx="313">
                  <c:v>118.57612946235821</c:v>
                </c:pt>
                <c:pt idx="314">
                  <c:v>118.33168702550289</c:v>
                </c:pt>
                <c:pt idx="315">
                  <c:v>118.49405951809798</c:v>
                </c:pt>
                <c:pt idx="316">
                  <c:v>118.4500168200877</c:v>
                </c:pt>
                <c:pt idx="317">
                  <c:v>117.76944744065729</c:v>
                </c:pt>
                <c:pt idx="318">
                  <c:v>117.76944744065729</c:v>
                </c:pt>
                <c:pt idx="319">
                  <c:v>117.76944744065729</c:v>
                </c:pt>
                <c:pt idx="320">
                  <c:v>118.23037857024984</c:v>
                </c:pt>
                <c:pt idx="321">
                  <c:v>118.12583381934934</c:v>
                </c:pt>
                <c:pt idx="322">
                  <c:v>118.03126177416904</c:v>
                </c:pt>
                <c:pt idx="323">
                  <c:v>117.75390740266192</c:v>
                </c:pt>
                <c:pt idx="324">
                  <c:v>117.73100893248881</c:v>
                </c:pt>
                <c:pt idx="325">
                  <c:v>117.73100893248882</c:v>
                </c:pt>
                <c:pt idx="326">
                  <c:v>117.73100893248882</c:v>
                </c:pt>
                <c:pt idx="327">
                  <c:v>116.70380476930191</c:v>
                </c:pt>
                <c:pt idx="328">
                  <c:v>117.41751037116038</c:v>
                </c:pt>
                <c:pt idx="329">
                  <c:v>117.71936308127982</c:v>
                </c:pt>
                <c:pt idx="330">
                  <c:v>117.83866103832432</c:v>
                </c:pt>
                <c:pt idx="331">
                  <c:v>118.20188741882046</c:v>
                </c:pt>
                <c:pt idx="332">
                  <c:v>118.20188741882046</c:v>
                </c:pt>
                <c:pt idx="333">
                  <c:v>118.20188741882046</c:v>
                </c:pt>
                <c:pt idx="334">
                  <c:v>117.46487906970309</c:v>
                </c:pt>
                <c:pt idx="335">
                  <c:v>118.15965669811821</c:v>
                </c:pt>
                <c:pt idx="336">
                  <c:v>117.640920226026</c:v>
                </c:pt>
                <c:pt idx="337">
                  <c:v>117.82494062394095</c:v>
                </c:pt>
                <c:pt idx="338">
                  <c:v>118.08079549427585</c:v>
                </c:pt>
                <c:pt idx="339">
                  <c:v>118.08079549427585</c:v>
                </c:pt>
                <c:pt idx="340">
                  <c:v>118.08079549427585</c:v>
                </c:pt>
                <c:pt idx="341">
                  <c:v>118.03739258768842</c:v>
                </c:pt>
                <c:pt idx="342">
                  <c:v>117.73187843278082</c:v>
                </c:pt>
                <c:pt idx="343">
                  <c:v>117.67880741789831</c:v>
                </c:pt>
                <c:pt idx="344">
                  <c:v>116.59248662933572</c:v>
                </c:pt>
                <c:pt idx="345">
                  <c:v>116.85951122159585</c:v>
                </c:pt>
                <c:pt idx="346">
                  <c:v>116.85951122159585</c:v>
                </c:pt>
                <c:pt idx="347">
                  <c:v>116.85951122159585</c:v>
                </c:pt>
                <c:pt idx="348">
                  <c:v>116.78733595583616</c:v>
                </c:pt>
                <c:pt idx="349">
                  <c:v>116.35096453165576</c:v>
                </c:pt>
                <c:pt idx="350">
                  <c:v>116.32457067023962</c:v>
                </c:pt>
                <c:pt idx="351">
                  <c:v>115.55353209408102</c:v>
                </c:pt>
                <c:pt idx="352">
                  <c:v>115.16638630550068</c:v>
                </c:pt>
                <c:pt idx="353">
                  <c:v>115.16638630550069</c:v>
                </c:pt>
                <c:pt idx="354">
                  <c:v>115.16638630550069</c:v>
                </c:pt>
                <c:pt idx="355">
                  <c:v>115.12494191269866</c:v>
                </c:pt>
                <c:pt idx="356">
                  <c:v>115.08197264192296</c:v>
                </c:pt>
                <c:pt idx="357">
                  <c:v>115.08197264192296</c:v>
                </c:pt>
                <c:pt idx="358">
                  <c:v>115.08197264192296</c:v>
                </c:pt>
                <c:pt idx="359">
                  <c:v>115.08197264192296</c:v>
                </c:pt>
                <c:pt idx="360">
                  <c:v>115.08197264192296</c:v>
                </c:pt>
                <c:pt idx="361">
                  <c:v>115.08197264192296</c:v>
                </c:pt>
                <c:pt idx="362">
                  <c:v>114.77045499316107</c:v>
                </c:pt>
                <c:pt idx="363">
                  <c:v>114.60897158096506</c:v>
                </c:pt>
                <c:pt idx="364">
                  <c:v>114.54985121592502</c:v>
                </c:pt>
                <c:pt idx="365">
                  <c:v>114.54985121592503</c:v>
                </c:pt>
                <c:pt idx="366">
                  <c:v>114.56992686800378</c:v>
                </c:pt>
                <c:pt idx="367">
                  <c:v>114.56992686800376</c:v>
                </c:pt>
                <c:pt idx="368">
                  <c:v>114.56992686800376</c:v>
                </c:pt>
                <c:pt idx="369">
                  <c:v>114.96929208718436</c:v>
                </c:pt>
                <c:pt idx="370">
                  <c:v>114.93758682788784</c:v>
                </c:pt>
                <c:pt idx="371">
                  <c:v>115.92587173547268</c:v>
                </c:pt>
                <c:pt idx="372">
                  <c:v>116.27184916515452</c:v>
                </c:pt>
                <c:pt idx="373">
                  <c:v>116.95029426091399</c:v>
                </c:pt>
                <c:pt idx="374">
                  <c:v>116.95029426091399</c:v>
                </c:pt>
                <c:pt idx="375">
                  <c:v>116.95029426091399</c:v>
                </c:pt>
                <c:pt idx="376">
                  <c:v>117.20719289383359</c:v>
                </c:pt>
                <c:pt idx="377">
                  <c:v>117.46177918199309</c:v>
                </c:pt>
                <c:pt idx="378">
                  <c:v>117.69540246006889</c:v>
                </c:pt>
                <c:pt idx="379">
                  <c:v>118.12093257478342</c:v>
                </c:pt>
                <c:pt idx="380">
                  <c:v>118.15972794050153</c:v>
                </c:pt>
                <c:pt idx="381">
                  <c:v>118.15972794050153</c:v>
                </c:pt>
                <c:pt idx="382">
                  <c:v>118.15972794050153</c:v>
                </c:pt>
                <c:pt idx="383">
                  <c:v>118.35587604294015</c:v>
                </c:pt>
                <c:pt idx="384">
                  <c:v>118.4471037255052</c:v>
                </c:pt>
                <c:pt idx="385">
                  <c:v>118.16830709650503</c:v>
                </c:pt>
                <c:pt idx="386">
                  <c:v>118.41233820022067</c:v>
                </c:pt>
                <c:pt idx="387">
                  <c:v>118.24303500753203</c:v>
                </c:pt>
                <c:pt idx="388">
                  <c:v>118.24303500753203</c:v>
                </c:pt>
                <c:pt idx="389">
                  <c:v>118.24303500753203</c:v>
                </c:pt>
                <c:pt idx="390">
                  <c:v>118.58749369721167</c:v>
                </c:pt>
                <c:pt idx="391">
                  <c:v>119.00422314774603</c:v>
                </c:pt>
                <c:pt idx="392">
                  <c:v>118.4486701661629</c:v>
                </c:pt>
                <c:pt idx="393">
                  <c:v>118.7715216885756</c:v>
                </c:pt>
                <c:pt idx="394">
                  <c:v>119.83614380898305</c:v>
                </c:pt>
                <c:pt idx="395">
                  <c:v>119.83614380898305</c:v>
                </c:pt>
                <c:pt idx="396">
                  <c:v>119.83614380898305</c:v>
                </c:pt>
                <c:pt idx="397">
                  <c:v>119.99483219657616</c:v>
                </c:pt>
                <c:pt idx="398">
                  <c:v>119.61301204971936</c:v>
                </c:pt>
                <c:pt idx="399">
                  <c:v>119.36660218043595</c:v>
                </c:pt>
                <c:pt idx="400">
                  <c:v>119.95243362655867</c:v>
                </c:pt>
                <c:pt idx="401">
                  <c:v>119.9685912229739</c:v>
                </c:pt>
                <c:pt idx="402">
                  <c:v>119.9685912229739</c:v>
                </c:pt>
                <c:pt idx="403">
                  <c:v>119.9685912229739</c:v>
                </c:pt>
                <c:pt idx="404">
                  <c:v>119.64847449794553</c:v>
                </c:pt>
                <c:pt idx="405">
                  <c:v>120.05599583946211</c:v>
                </c:pt>
                <c:pt idx="406">
                  <c:v>120.44209012673386</c:v>
                </c:pt>
                <c:pt idx="407">
                  <c:v>121.39313321892864</c:v>
                </c:pt>
                <c:pt idx="408">
                  <c:v>121.84562652352255</c:v>
                </c:pt>
                <c:pt idx="409">
                  <c:v>121.84562652352255</c:v>
                </c:pt>
                <c:pt idx="410">
                  <c:v>121.84562652352255</c:v>
                </c:pt>
                <c:pt idx="411">
                  <c:v>121.64853855971153</c:v>
                </c:pt>
                <c:pt idx="412">
                  <c:v>121.3215909789289</c:v>
                </c:pt>
                <c:pt idx="413">
                  <c:v>122.30103016186233</c:v>
                </c:pt>
                <c:pt idx="414">
                  <c:v>121.14952401468516</c:v>
                </c:pt>
                <c:pt idx="415">
                  <c:v>121.14352301426278</c:v>
                </c:pt>
                <c:pt idx="416">
                  <c:v>121.14352301426278</c:v>
                </c:pt>
                <c:pt idx="417">
                  <c:v>121.14352301426278</c:v>
                </c:pt>
                <c:pt idx="418">
                  <c:v>121.12583902397762</c:v>
                </c:pt>
                <c:pt idx="419">
                  <c:v>121.60019376279509</c:v>
                </c:pt>
                <c:pt idx="420">
                  <c:v>121.0450674774649</c:v>
                </c:pt>
                <c:pt idx="421">
                  <c:v>121.17695279359843</c:v>
                </c:pt>
                <c:pt idx="422">
                  <c:v>121.96481114892197</c:v>
                </c:pt>
                <c:pt idx="423">
                  <c:v>121.96481114892197</c:v>
                </c:pt>
                <c:pt idx="424">
                  <c:v>121.96481114892197</c:v>
                </c:pt>
                <c:pt idx="425">
                  <c:v>121.74988911727763</c:v>
                </c:pt>
                <c:pt idx="426">
                  <c:v>121.68922302180718</c:v>
                </c:pt>
                <c:pt idx="427">
                  <c:v>122.0995147224622</c:v>
                </c:pt>
                <c:pt idx="428">
                  <c:v>121.84651695490946</c:v>
                </c:pt>
                <c:pt idx="429">
                  <c:v>122.44134835833785</c:v>
                </c:pt>
                <c:pt idx="430">
                  <c:v>122.44134835833785</c:v>
                </c:pt>
                <c:pt idx="431">
                  <c:v>122.44134835833785</c:v>
                </c:pt>
                <c:pt idx="432">
                  <c:v>122.48644951589726</c:v>
                </c:pt>
                <c:pt idx="433">
                  <c:v>122.4396755541749</c:v>
                </c:pt>
                <c:pt idx="434">
                  <c:v>121.23906266586269</c:v>
                </c:pt>
                <c:pt idx="435">
                  <c:v>121.62575899091551</c:v>
                </c:pt>
                <c:pt idx="436">
                  <c:v>121.83291362885919</c:v>
                </c:pt>
                <c:pt idx="437">
                  <c:v>121.83291362885919</c:v>
                </c:pt>
                <c:pt idx="438">
                  <c:v>121.83291362885919</c:v>
                </c:pt>
                <c:pt idx="439">
                  <c:v>121.72233507703746</c:v>
                </c:pt>
                <c:pt idx="440">
                  <c:v>121.31218234090169</c:v>
                </c:pt>
                <c:pt idx="441">
                  <c:v>121.18458571141065</c:v>
                </c:pt>
                <c:pt idx="442">
                  <c:v>121.65984573387901</c:v>
                </c:pt>
                <c:pt idx="443">
                  <c:v>121.95579409454889</c:v>
                </c:pt>
                <c:pt idx="444">
                  <c:v>121.95579409454889</c:v>
                </c:pt>
                <c:pt idx="445">
                  <c:v>121.95579409454889</c:v>
                </c:pt>
                <c:pt idx="446">
                  <c:v>122.23731061329079</c:v>
                </c:pt>
                <c:pt idx="447">
                  <c:v>122.55143158170119</c:v>
                </c:pt>
                <c:pt idx="448">
                  <c:v>122.97370688329231</c:v>
                </c:pt>
                <c:pt idx="449">
                  <c:v>123.18277309436549</c:v>
                </c:pt>
                <c:pt idx="450">
                  <c:v>123.1983434507095</c:v>
                </c:pt>
                <c:pt idx="451">
                  <c:v>123.1983434507095</c:v>
                </c:pt>
                <c:pt idx="452">
                  <c:v>123.1983434507095</c:v>
                </c:pt>
                <c:pt idx="453">
                  <c:v>122.64559870931137</c:v>
                </c:pt>
                <c:pt idx="454">
                  <c:v>122.52812561940087</c:v>
                </c:pt>
                <c:pt idx="455">
                  <c:v>123.06580033750264</c:v>
                </c:pt>
                <c:pt idx="456">
                  <c:v>122.92594826220903</c:v>
                </c:pt>
                <c:pt idx="457">
                  <c:v>122.19414096324599</c:v>
                </c:pt>
                <c:pt idx="458">
                  <c:v>122.19414096324599</c:v>
                </c:pt>
                <c:pt idx="459">
                  <c:v>122.19414096324599</c:v>
                </c:pt>
                <c:pt idx="460">
                  <c:v>121.9495619372243</c:v>
                </c:pt>
                <c:pt idx="461">
                  <c:v>122.29369863614679</c:v>
                </c:pt>
                <c:pt idx="462">
                  <c:v>122.641480006666</c:v>
                </c:pt>
                <c:pt idx="463">
                  <c:v>122.54896901688124</c:v>
                </c:pt>
                <c:pt idx="464">
                  <c:v>122.54896901688124</c:v>
                </c:pt>
                <c:pt idx="465">
                  <c:v>122.54896901688124</c:v>
                </c:pt>
                <c:pt idx="466">
                  <c:v>122.54896901688124</c:v>
                </c:pt>
                <c:pt idx="467">
                  <c:v>122.54896901688124</c:v>
                </c:pt>
                <c:pt idx="468">
                  <c:v>122.04441134597</c:v>
                </c:pt>
                <c:pt idx="469">
                  <c:v>122.20380437296298</c:v>
                </c:pt>
                <c:pt idx="470">
                  <c:v>122.05372478807256</c:v>
                </c:pt>
                <c:pt idx="471">
                  <c:v>121.5953210100225</c:v>
                </c:pt>
                <c:pt idx="472">
                  <c:v>121.5953210100225</c:v>
                </c:pt>
                <c:pt idx="473">
                  <c:v>121.5953210100225</c:v>
                </c:pt>
                <c:pt idx="474">
                  <c:v>121.64356536463222</c:v>
                </c:pt>
                <c:pt idx="475">
                  <c:v>122.04880397649811</c:v>
                </c:pt>
                <c:pt idx="476">
                  <c:v>121.98828543617178</c:v>
                </c:pt>
                <c:pt idx="477">
                  <c:v>121.73921935703601</c:v>
                </c:pt>
                <c:pt idx="478">
                  <c:v>122.29341265460123</c:v>
                </c:pt>
                <c:pt idx="479">
                  <c:v>122.29341265460123</c:v>
                </c:pt>
                <c:pt idx="480">
                  <c:v>122.29341265460123</c:v>
                </c:pt>
                <c:pt idx="481">
                  <c:v>122.57609451865348</c:v>
                </c:pt>
                <c:pt idx="482">
                  <c:v>122.64275849104091</c:v>
                </c:pt>
                <c:pt idx="483">
                  <c:v>123.17690757200715</c:v>
                </c:pt>
                <c:pt idx="484">
                  <c:v>122.58967322128194</c:v>
                </c:pt>
                <c:pt idx="485">
                  <c:v>122.78763971071663</c:v>
                </c:pt>
                <c:pt idx="486">
                  <c:v>122.78763971071663</c:v>
                </c:pt>
                <c:pt idx="487">
                  <c:v>122.78763971071663</c:v>
                </c:pt>
                <c:pt idx="488">
                  <c:v>122.65944362947607</c:v>
                </c:pt>
                <c:pt idx="489">
                  <c:v>122.04552451942182</c:v>
                </c:pt>
                <c:pt idx="490">
                  <c:v>121.46113446281062</c:v>
                </c:pt>
                <c:pt idx="491">
                  <c:v>121.69725384472459</c:v>
                </c:pt>
                <c:pt idx="492">
                  <c:v>121.23560727799718</c:v>
                </c:pt>
                <c:pt idx="493">
                  <c:v>121.23560727799718</c:v>
                </c:pt>
                <c:pt idx="494">
                  <c:v>121.23560727799718</c:v>
                </c:pt>
                <c:pt idx="495">
                  <c:v>120.91838826791843</c:v>
                </c:pt>
                <c:pt idx="496">
                  <c:v>120.54019668292929</c:v>
                </c:pt>
                <c:pt idx="497">
                  <c:v>121.13435367333624</c:v>
                </c:pt>
                <c:pt idx="498">
                  <c:v>120.55517062594268</c:v>
                </c:pt>
                <c:pt idx="499">
                  <c:v>120.55456487783745</c:v>
                </c:pt>
                <c:pt idx="500">
                  <c:v>120.55456487783745</c:v>
                </c:pt>
                <c:pt idx="501">
                  <c:v>120.55456487783745</c:v>
                </c:pt>
                <c:pt idx="502">
                  <c:v>120.24782781146035</c:v>
                </c:pt>
                <c:pt idx="503">
                  <c:v>120.48825378199021</c:v>
                </c:pt>
                <c:pt idx="504">
                  <c:v>120.72478460711267</c:v>
                </c:pt>
                <c:pt idx="505">
                  <c:v>120.82034190865026</c:v>
                </c:pt>
                <c:pt idx="506">
                  <c:v>121.28974445542494</c:v>
                </c:pt>
                <c:pt idx="507">
                  <c:v>121.28974445542494</c:v>
                </c:pt>
                <c:pt idx="508">
                  <c:v>121.28974445542494</c:v>
                </c:pt>
                <c:pt idx="509">
                  <c:v>121.4019179384145</c:v>
                </c:pt>
                <c:pt idx="510">
                  <c:v>121.39562116049434</c:v>
                </c:pt>
                <c:pt idx="511">
                  <c:v>121.47106194830225</c:v>
                </c:pt>
                <c:pt idx="512">
                  <c:v>121.36374112847486</c:v>
                </c:pt>
                <c:pt idx="513">
                  <c:v>122.19610306278912</c:v>
                </c:pt>
                <c:pt idx="514">
                  <c:v>122.19610306278912</c:v>
                </c:pt>
                <c:pt idx="515">
                  <c:v>122.19610306278912</c:v>
                </c:pt>
                <c:pt idx="516">
                  <c:v>122.19610306278912</c:v>
                </c:pt>
                <c:pt idx="517">
                  <c:v>122.19991540431204</c:v>
                </c:pt>
                <c:pt idx="518">
                  <c:v>122.44257161699215</c:v>
                </c:pt>
                <c:pt idx="519">
                  <c:v>121.95105687705082</c:v>
                </c:pt>
                <c:pt idx="520">
                  <c:v>122.07104977117602</c:v>
                </c:pt>
                <c:pt idx="521">
                  <c:v>122.07104977117602</c:v>
                </c:pt>
                <c:pt idx="522">
                  <c:v>122.07104977117602</c:v>
                </c:pt>
                <c:pt idx="523">
                  <c:v>121.85360638425952</c:v>
                </c:pt>
                <c:pt idx="524">
                  <c:v>121.86820869422694</c:v>
                </c:pt>
                <c:pt idx="525">
                  <c:v>122.09025827620704</c:v>
                </c:pt>
                <c:pt idx="526">
                  <c:v>121.71118761776749</c:v>
                </c:pt>
                <c:pt idx="527">
                  <c:v>121.70000843001112</c:v>
                </c:pt>
                <c:pt idx="528">
                  <c:v>121.70000843001112</c:v>
                </c:pt>
                <c:pt idx="529">
                  <c:v>121.70000843001112</c:v>
                </c:pt>
                <c:pt idx="530">
                  <c:v>122.26184493120154</c:v>
                </c:pt>
                <c:pt idx="531">
                  <c:v>121.73249704676837</c:v>
                </c:pt>
                <c:pt idx="532">
                  <c:v>121.28277717323596</c:v>
                </c:pt>
                <c:pt idx="533">
                  <c:v>121.33566039285259</c:v>
                </c:pt>
                <c:pt idx="534">
                  <c:v>121.18794633748215</c:v>
                </c:pt>
                <c:pt idx="535">
                  <c:v>121.18794633748215</c:v>
                </c:pt>
                <c:pt idx="536">
                  <c:v>121.18794633748215</c:v>
                </c:pt>
                <c:pt idx="537">
                  <c:v>121.58290443633916</c:v>
                </c:pt>
                <c:pt idx="538">
                  <c:v>122.49764516646466</c:v>
                </c:pt>
                <c:pt idx="539">
                  <c:v>122.3508120499249</c:v>
                </c:pt>
                <c:pt idx="540">
                  <c:v>122.18773092150251</c:v>
                </c:pt>
                <c:pt idx="541">
                  <c:v>122.68523606184444</c:v>
                </c:pt>
                <c:pt idx="542">
                  <c:v>122.68523606184444</c:v>
                </c:pt>
                <c:pt idx="543">
                  <c:v>122.68523606184444</c:v>
                </c:pt>
                <c:pt idx="544">
                  <c:v>122.6658350317916</c:v>
                </c:pt>
                <c:pt idx="545">
                  <c:v>123.12441759825548</c:v>
                </c:pt>
                <c:pt idx="546">
                  <c:v>124.33405590843186</c:v>
                </c:pt>
                <c:pt idx="547">
                  <c:v>124.530211385863</c:v>
                </c:pt>
                <c:pt idx="548">
                  <c:v>124.53828895369755</c:v>
                </c:pt>
                <c:pt idx="549">
                  <c:v>124.53828895369753</c:v>
                </c:pt>
                <c:pt idx="550">
                  <c:v>124.53828895369753</c:v>
                </c:pt>
                <c:pt idx="551">
                  <c:v>124.19026913939666</c:v>
                </c:pt>
                <c:pt idx="552">
                  <c:v>124.16878460167793</c:v>
                </c:pt>
                <c:pt idx="553">
                  <c:v>124.17926824351899</c:v>
                </c:pt>
                <c:pt idx="554">
                  <c:v>123.36607209324882</c:v>
                </c:pt>
                <c:pt idx="555">
                  <c:v>123.31994141515349</c:v>
                </c:pt>
                <c:pt idx="556">
                  <c:v>123.31994141515349</c:v>
                </c:pt>
                <c:pt idx="557">
                  <c:v>123.31994141515349</c:v>
                </c:pt>
                <c:pt idx="558">
                  <c:v>123.92107037213819</c:v>
                </c:pt>
                <c:pt idx="559">
                  <c:v>123.99877847756267</c:v>
                </c:pt>
                <c:pt idx="560">
                  <c:v>123.34795362151353</c:v>
                </c:pt>
                <c:pt idx="561">
                  <c:v>124.10211383486119</c:v>
                </c:pt>
                <c:pt idx="562">
                  <c:v>124.38362968741373</c:v>
                </c:pt>
                <c:pt idx="563">
                  <c:v>124.38362968741373</c:v>
                </c:pt>
                <c:pt idx="564">
                  <c:v>124.38362968741373</c:v>
                </c:pt>
                <c:pt idx="565">
                  <c:v>124.54137063606585</c:v>
                </c:pt>
                <c:pt idx="566">
                  <c:v>123.90080108356908</c:v>
                </c:pt>
                <c:pt idx="567">
                  <c:v>123.65773628366553</c:v>
                </c:pt>
                <c:pt idx="568">
                  <c:v>124.33785615613616</c:v>
                </c:pt>
                <c:pt idx="569">
                  <c:v>123.98566135487233</c:v>
                </c:pt>
                <c:pt idx="570">
                  <c:v>123.98566135487233</c:v>
                </c:pt>
                <c:pt idx="571">
                  <c:v>123.98566135487233</c:v>
                </c:pt>
                <c:pt idx="572">
                  <c:v>124.12316857839896</c:v>
                </c:pt>
                <c:pt idx="573">
                  <c:v>123.45096919313777</c:v>
                </c:pt>
                <c:pt idx="574">
                  <c:v>123.1062328318727</c:v>
                </c:pt>
                <c:pt idx="575">
                  <c:v>122.26436554898088</c:v>
                </c:pt>
                <c:pt idx="576">
                  <c:v>122.2574671966309</c:v>
                </c:pt>
                <c:pt idx="577">
                  <c:v>122.2574671966309</c:v>
                </c:pt>
                <c:pt idx="578">
                  <c:v>122.2574671966309</c:v>
                </c:pt>
                <c:pt idx="579">
                  <c:v>122.26277792144887</c:v>
                </c:pt>
                <c:pt idx="580">
                  <c:v>122.17279625119996</c:v>
                </c:pt>
                <c:pt idx="581">
                  <c:v>121.53808754499248</c:v>
                </c:pt>
                <c:pt idx="582">
                  <c:v>121.3685488701185</c:v>
                </c:pt>
                <c:pt idx="583">
                  <c:v>121.92694835169156</c:v>
                </c:pt>
                <c:pt idx="584">
                  <c:v>121.92694835169156</c:v>
                </c:pt>
                <c:pt idx="585">
                  <c:v>121.92694835169156</c:v>
                </c:pt>
                <c:pt idx="586">
                  <c:v>121.61543860406857</c:v>
                </c:pt>
                <c:pt idx="587">
                  <c:v>121.6417399030193</c:v>
                </c:pt>
                <c:pt idx="588">
                  <c:v>121.95379080758283</c:v>
                </c:pt>
                <c:pt idx="589">
                  <c:v>121.58500609379136</c:v>
                </c:pt>
                <c:pt idx="590">
                  <c:v>122.33502636023492</c:v>
                </c:pt>
                <c:pt idx="591">
                  <c:v>122.33502636023492</c:v>
                </c:pt>
                <c:pt idx="592">
                  <c:v>122.33502636023492</c:v>
                </c:pt>
                <c:pt idx="593">
                  <c:v>121.59379090361054</c:v>
                </c:pt>
                <c:pt idx="594">
                  <c:v>122.17108496854313</c:v>
                </c:pt>
                <c:pt idx="595">
                  <c:v>122.39957593610418</c:v>
                </c:pt>
                <c:pt idx="596">
                  <c:v>122.61858215928257</c:v>
                </c:pt>
                <c:pt idx="597">
                  <c:v>122.72801367463151</c:v>
                </c:pt>
                <c:pt idx="598">
                  <c:v>122.72801367463151</c:v>
                </c:pt>
                <c:pt idx="599">
                  <c:v>122.72801367463151</c:v>
                </c:pt>
                <c:pt idx="600">
                  <c:v>122.27624916343322</c:v>
                </c:pt>
                <c:pt idx="601">
                  <c:v>122.74939519050776</c:v>
                </c:pt>
                <c:pt idx="602">
                  <c:v>122.54091688326049</c:v>
                </c:pt>
                <c:pt idx="603">
                  <c:v>121.96120901967053</c:v>
                </c:pt>
                <c:pt idx="604">
                  <c:v>121.21236023893395</c:v>
                </c:pt>
                <c:pt idx="605">
                  <c:v>121.21236023893395</c:v>
                </c:pt>
                <c:pt idx="606">
                  <c:v>121.21236023893395</c:v>
                </c:pt>
                <c:pt idx="607">
                  <c:v>121.51063236808035</c:v>
                </c:pt>
                <c:pt idx="608">
                  <c:v>122.23665427568986</c:v>
                </c:pt>
                <c:pt idx="609">
                  <c:v>121.86267043992795</c:v>
                </c:pt>
                <c:pt idx="610">
                  <c:v>121.80711751019811</c:v>
                </c:pt>
                <c:pt idx="611">
                  <c:v>121.22086239078084</c:v>
                </c:pt>
                <c:pt idx="612">
                  <c:v>121.22086239078084</c:v>
                </c:pt>
                <c:pt idx="613">
                  <c:v>121.22086239078084</c:v>
                </c:pt>
                <c:pt idx="614">
                  <c:v>121.26465022677436</c:v>
                </c:pt>
                <c:pt idx="615">
                  <c:v>121.56810543441514</c:v>
                </c:pt>
                <c:pt idx="616">
                  <c:v>121.7608353331017</c:v>
                </c:pt>
                <c:pt idx="617">
                  <c:v>121.97174960538715</c:v>
                </c:pt>
                <c:pt idx="618">
                  <c:v>122.32563201930955</c:v>
                </c:pt>
                <c:pt idx="619">
                  <c:v>122.32563201930955</c:v>
                </c:pt>
                <c:pt idx="620">
                  <c:v>122.32563201930955</c:v>
                </c:pt>
                <c:pt idx="621">
                  <c:v>122.1951743048654</c:v>
                </c:pt>
                <c:pt idx="622">
                  <c:v>122.29810358704282</c:v>
                </c:pt>
                <c:pt idx="623">
                  <c:v>122.49618680908087</c:v>
                </c:pt>
                <c:pt idx="624">
                  <c:v>122.4023704403089</c:v>
                </c:pt>
                <c:pt idx="625">
                  <c:v>122.02479457453722</c:v>
                </c:pt>
                <c:pt idx="626">
                  <c:v>122.02479457453722</c:v>
                </c:pt>
                <c:pt idx="627">
                  <c:v>122.02479457453722</c:v>
                </c:pt>
                <c:pt idx="628">
                  <c:v>122.04014615061271</c:v>
                </c:pt>
                <c:pt idx="629">
                  <c:v>121.63264582649784</c:v>
                </c:pt>
                <c:pt idx="630">
                  <c:v>121.94939118524451</c:v>
                </c:pt>
                <c:pt idx="631">
                  <c:v>122.07265174669786</c:v>
                </c:pt>
                <c:pt idx="632">
                  <c:v>122.21488309427134</c:v>
                </c:pt>
                <c:pt idx="633">
                  <c:v>122.21488309427134</c:v>
                </c:pt>
                <c:pt idx="634">
                  <c:v>122.21488309427134</c:v>
                </c:pt>
                <c:pt idx="635">
                  <c:v>122.56077548372323</c:v>
                </c:pt>
                <c:pt idx="636">
                  <c:v>121.95885957579496</c:v>
                </c:pt>
                <c:pt idx="637">
                  <c:v>122.15573142128068</c:v>
                </c:pt>
                <c:pt idx="638">
                  <c:v>123.04039826863273</c:v>
                </c:pt>
                <c:pt idx="639">
                  <c:v>121.72945430637738</c:v>
                </c:pt>
                <c:pt idx="640">
                  <c:v>121.72945430637738</c:v>
                </c:pt>
                <c:pt idx="641">
                  <c:v>121.72945430637738</c:v>
                </c:pt>
                <c:pt idx="642">
                  <c:v>121.8919791831523</c:v>
                </c:pt>
                <c:pt idx="643">
                  <c:v>121.37954797958042</c:v>
                </c:pt>
                <c:pt idx="644">
                  <c:v>121.11052257974391</c:v>
                </c:pt>
                <c:pt idx="645">
                  <c:v>121.46318754203617</c:v>
                </c:pt>
                <c:pt idx="646">
                  <c:v>121.78858573597357</c:v>
                </c:pt>
                <c:pt idx="647">
                  <c:v>121.78858573597357</c:v>
                </c:pt>
                <c:pt idx="648">
                  <c:v>121.78858573597357</c:v>
                </c:pt>
                <c:pt idx="649">
                  <c:v>121.61029514765539</c:v>
                </c:pt>
                <c:pt idx="650">
                  <c:v>121.77883981689084</c:v>
                </c:pt>
                <c:pt idx="651">
                  <c:v>121.69476417317809</c:v>
                </c:pt>
                <c:pt idx="652">
                  <c:v>121.66898571559075</c:v>
                </c:pt>
                <c:pt idx="653">
                  <c:v>121.9862650075366</c:v>
                </c:pt>
                <c:pt idx="654">
                  <c:v>121.9862650075366</c:v>
                </c:pt>
                <c:pt idx="655">
                  <c:v>121.9862650075366</c:v>
                </c:pt>
                <c:pt idx="656">
                  <c:v>121.66389383058184</c:v>
                </c:pt>
                <c:pt idx="657">
                  <c:v>121.24818929932297</c:v>
                </c:pt>
                <c:pt idx="658">
                  <c:v>121.66210306590317</c:v>
                </c:pt>
                <c:pt idx="659">
                  <c:v>121.79970985907435</c:v>
                </c:pt>
                <c:pt idx="660">
                  <c:v>122.3552863091324</c:v>
                </c:pt>
                <c:pt idx="661">
                  <c:v>122.35528630913238</c:v>
                </c:pt>
                <c:pt idx="662">
                  <c:v>122.35528630913238</c:v>
                </c:pt>
                <c:pt idx="663">
                  <c:v>123.06789070055625</c:v>
                </c:pt>
                <c:pt idx="664">
                  <c:v>123.03097009160781</c:v>
                </c:pt>
                <c:pt idx="665">
                  <c:v>122.44604534099821</c:v>
                </c:pt>
                <c:pt idx="666">
                  <c:v>122.27518897866413</c:v>
                </c:pt>
                <c:pt idx="667">
                  <c:v>122.57905247791935</c:v>
                </c:pt>
                <c:pt idx="668">
                  <c:v>122.57905247791935</c:v>
                </c:pt>
                <c:pt idx="669">
                  <c:v>122.57905247791935</c:v>
                </c:pt>
                <c:pt idx="670">
                  <c:v>122.17354981356495</c:v>
                </c:pt>
                <c:pt idx="671">
                  <c:v>122.16337289946959</c:v>
                </c:pt>
                <c:pt idx="672">
                  <c:v>122.14030573448812</c:v>
                </c:pt>
                <c:pt idx="673">
                  <c:v>122.20057243041852</c:v>
                </c:pt>
                <c:pt idx="674">
                  <c:v>122.31237040408631</c:v>
                </c:pt>
                <c:pt idx="675">
                  <c:v>122.31237040408631</c:v>
                </c:pt>
                <c:pt idx="676">
                  <c:v>122.31237040408631</c:v>
                </c:pt>
                <c:pt idx="677">
                  <c:v>122.07725479053371</c:v>
                </c:pt>
                <c:pt idx="678">
                  <c:v>122.3712881786326</c:v>
                </c:pt>
                <c:pt idx="679">
                  <c:v>122.55657024566281</c:v>
                </c:pt>
                <c:pt idx="680">
                  <c:v>122.28969131872661</c:v>
                </c:pt>
                <c:pt idx="681">
                  <c:v>122.28032482501726</c:v>
                </c:pt>
                <c:pt idx="682">
                  <c:v>122.28032482501726</c:v>
                </c:pt>
                <c:pt idx="683">
                  <c:v>122.28032482501726</c:v>
                </c:pt>
                <c:pt idx="684">
                  <c:v>122.35459220334531</c:v>
                </c:pt>
                <c:pt idx="685">
                  <c:v>122.57637422759757</c:v>
                </c:pt>
                <c:pt idx="686">
                  <c:v>122.36055808666315</c:v>
                </c:pt>
                <c:pt idx="687">
                  <c:v>122.53362647926303</c:v>
                </c:pt>
                <c:pt idx="688">
                  <c:v>123.57431021776064</c:v>
                </c:pt>
                <c:pt idx="689">
                  <c:v>123.57431021776064</c:v>
                </c:pt>
                <c:pt idx="690">
                  <c:v>123.57431021776064</c:v>
                </c:pt>
                <c:pt idx="691">
                  <c:v>123.5743626520964</c:v>
                </c:pt>
                <c:pt idx="692">
                  <c:v>123.90017239963873</c:v>
                </c:pt>
                <c:pt idx="693">
                  <c:v>124.39255424063114</c:v>
                </c:pt>
                <c:pt idx="694">
                  <c:v>123.93619428639484</c:v>
                </c:pt>
                <c:pt idx="695">
                  <c:v>124.05931347409907</c:v>
                </c:pt>
                <c:pt idx="696">
                  <c:v>124.05931347409907</c:v>
                </c:pt>
                <c:pt idx="697">
                  <c:v>124.05931347409907</c:v>
                </c:pt>
                <c:pt idx="698">
                  <c:v>124.40348417797263</c:v>
                </c:pt>
                <c:pt idx="699">
                  <c:v>125.14016894198248</c:v>
                </c:pt>
                <c:pt idx="700">
                  <c:v>124.32695024755462</c:v>
                </c:pt>
                <c:pt idx="701">
                  <c:v>124.28381189660537</c:v>
                </c:pt>
                <c:pt idx="702">
                  <c:v>125.07525277014796</c:v>
                </c:pt>
                <c:pt idx="703">
                  <c:v>125.07525277014796</c:v>
                </c:pt>
                <c:pt idx="704">
                  <c:v>125.07525277014796</c:v>
                </c:pt>
                <c:pt idx="705">
                  <c:v>125.43250739644967</c:v>
                </c:pt>
                <c:pt idx="706">
                  <c:v>125.2553592231459</c:v>
                </c:pt>
                <c:pt idx="707">
                  <c:v>125.51241124746801</c:v>
                </c:pt>
                <c:pt idx="708">
                  <c:v>125.59629144565615</c:v>
                </c:pt>
                <c:pt idx="709">
                  <c:v>125.716790681097</c:v>
                </c:pt>
                <c:pt idx="710">
                  <c:v>125.716790681097</c:v>
                </c:pt>
                <c:pt idx="711">
                  <c:v>125.716790681097</c:v>
                </c:pt>
                <c:pt idx="712">
                  <c:v>125.49172273609325</c:v>
                </c:pt>
                <c:pt idx="713">
                  <c:v>125.39892280380681</c:v>
                </c:pt>
                <c:pt idx="714">
                  <c:v>125.97109165968284</c:v>
                </c:pt>
                <c:pt idx="715">
                  <c:v>125.95586038652135</c:v>
                </c:pt>
                <c:pt idx="716">
                  <c:v>127.06416793512417</c:v>
                </c:pt>
                <c:pt idx="717">
                  <c:v>127.06416793512417</c:v>
                </c:pt>
                <c:pt idx="718">
                  <c:v>127.06416793512417</c:v>
                </c:pt>
                <c:pt idx="719">
                  <c:v>126.94308010687026</c:v>
                </c:pt>
                <c:pt idx="720">
                  <c:v>127.19277786008648</c:v>
                </c:pt>
                <c:pt idx="721">
                  <c:v>126.66049906443941</c:v>
                </c:pt>
                <c:pt idx="722">
                  <c:v>126.79058641680278</c:v>
                </c:pt>
                <c:pt idx="723">
                  <c:v>126.79058641680278</c:v>
                </c:pt>
                <c:pt idx="724">
                  <c:v>126.79058641680278</c:v>
                </c:pt>
                <c:pt idx="725">
                  <c:v>126.79058641680278</c:v>
                </c:pt>
                <c:pt idx="726">
                  <c:v>126.83800576711329</c:v>
                </c:pt>
                <c:pt idx="727">
                  <c:v>126.90219411814084</c:v>
                </c:pt>
                <c:pt idx="728">
                  <c:v>127.12963658361784</c:v>
                </c:pt>
                <c:pt idx="729">
                  <c:v>127.33416824537809</c:v>
                </c:pt>
                <c:pt idx="730">
                  <c:v>127.33416824537809</c:v>
                </c:pt>
                <c:pt idx="731">
                  <c:v>127.33416824537809</c:v>
                </c:pt>
                <c:pt idx="732">
                  <c:v>127.33416824537809</c:v>
                </c:pt>
                <c:pt idx="733">
                  <c:v>127.58215548212843</c:v>
                </c:pt>
                <c:pt idx="734">
                  <c:v>127.68677538846386</c:v>
                </c:pt>
                <c:pt idx="735">
                  <c:v>127.82805429864246</c:v>
                </c:pt>
                <c:pt idx="736">
                  <c:v>127.3282997294336</c:v>
                </c:pt>
                <c:pt idx="737">
                  <c:v>127.52187129171332</c:v>
                </c:pt>
                <c:pt idx="738">
                  <c:v>127.52187129171332</c:v>
                </c:pt>
                <c:pt idx="739">
                  <c:v>127.52187129171332</c:v>
                </c:pt>
                <c:pt idx="740">
                  <c:v>127.70134070851599</c:v>
                </c:pt>
                <c:pt idx="741">
                  <c:v>128.04920711426502</c:v>
                </c:pt>
                <c:pt idx="742">
                  <c:v>128.90155954745441</c:v>
                </c:pt>
                <c:pt idx="743">
                  <c:v>129.21015239242433</c:v>
                </c:pt>
                <c:pt idx="744">
                  <c:v>129.04849618164349</c:v>
                </c:pt>
                <c:pt idx="745">
                  <c:v>129.04849618164349</c:v>
                </c:pt>
                <c:pt idx="746">
                  <c:v>129.04849618164349</c:v>
                </c:pt>
                <c:pt idx="747">
                  <c:v>128.90580054420579</c:v>
                </c:pt>
                <c:pt idx="748">
                  <c:v>129.14528005898225</c:v>
                </c:pt>
                <c:pt idx="749">
                  <c:v>129.52349696561612</c:v>
                </c:pt>
                <c:pt idx="750">
                  <c:v>129.85778767798334</c:v>
                </c:pt>
                <c:pt idx="751">
                  <c:v>129.81692847479385</c:v>
                </c:pt>
                <c:pt idx="752">
                  <c:v>129.81692847479385</c:v>
                </c:pt>
                <c:pt idx="753">
                  <c:v>129.81692847479385</c:v>
                </c:pt>
                <c:pt idx="754">
                  <c:v>129.44467950995514</c:v>
                </c:pt>
                <c:pt idx="755">
                  <c:v>129.56688902784532</c:v>
                </c:pt>
                <c:pt idx="756">
                  <c:v>129.91733290500554</c:v>
                </c:pt>
                <c:pt idx="757">
                  <c:v>129.54793963698808</c:v>
                </c:pt>
                <c:pt idx="758">
                  <c:v>130.28296498713229</c:v>
                </c:pt>
                <c:pt idx="759">
                  <c:v>130.28296498713229</c:v>
                </c:pt>
                <c:pt idx="760">
                  <c:v>130.28296498713229</c:v>
                </c:pt>
                <c:pt idx="761">
                  <c:v>130.17907263899997</c:v>
                </c:pt>
                <c:pt idx="762">
                  <c:v>129.91773247933139</c:v>
                </c:pt>
                <c:pt idx="763">
                  <c:v>129.99147885531633</c:v>
                </c:pt>
                <c:pt idx="764">
                  <c:v>130.89840525531929</c:v>
                </c:pt>
                <c:pt idx="765">
                  <c:v>130.50207173995329</c:v>
                </c:pt>
                <c:pt idx="766">
                  <c:v>130.50207173995329</c:v>
                </c:pt>
                <c:pt idx="767">
                  <c:v>130.50207173995329</c:v>
                </c:pt>
                <c:pt idx="768">
                  <c:v>130.37153579089079</c:v>
                </c:pt>
                <c:pt idx="769">
                  <c:v>130.77561162150113</c:v>
                </c:pt>
                <c:pt idx="770">
                  <c:v>131.08285709820623</c:v>
                </c:pt>
                <c:pt idx="771">
                  <c:v>130.6929175560511</c:v>
                </c:pt>
                <c:pt idx="772">
                  <c:v>130.39488655006784</c:v>
                </c:pt>
                <c:pt idx="773">
                  <c:v>130.39488655006784</c:v>
                </c:pt>
                <c:pt idx="774">
                  <c:v>130.39488655006784</c:v>
                </c:pt>
                <c:pt idx="775">
                  <c:v>130.61108359527643</c:v>
                </c:pt>
                <c:pt idx="776">
                  <c:v>130.20876143502358</c:v>
                </c:pt>
                <c:pt idx="777">
                  <c:v>130.45524594584981</c:v>
                </c:pt>
                <c:pt idx="778">
                  <c:v>130.57667838847618</c:v>
                </c:pt>
                <c:pt idx="779">
                  <c:v>130.36113863254761</c:v>
                </c:pt>
                <c:pt idx="780">
                  <c:v>130.36113863254761</c:v>
                </c:pt>
                <c:pt idx="781">
                  <c:v>130.36113863254761</c:v>
                </c:pt>
                <c:pt idx="782">
                  <c:v>129.5343059323819</c:v>
                </c:pt>
                <c:pt idx="783">
                  <c:v>129.3490238838456</c:v>
                </c:pt>
                <c:pt idx="784">
                  <c:v>129.74874521521437</c:v>
                </c:pt>
                <c:pt idx="785">
                  <c:v>130.21455595279556</c:v>
                </c:pt>
                <c:pt idx="786">
                  <c:v>130.08557117067954</c:v>
                </c:pt>
                <c:pt idx="787">
                  <c:v>130.08557117067954</c:v>
                </c:pt>
                <c:pt idx="788">
                  <c:v>130.08557117067954</c:v>
                </c:pt>
                <c:pt idx="789">
                  <c:v>130.89651390961251</c:v>
                </c:pt>
                <c:pt idx="790">
                  <c:v>130.29056070970086</c:v>
                </c:pt>
                <c:pt idx="791">
                  <c:v>130.0684336635652</c:v>
                </c:pt>
                <c:pt idx="792">
                  <c:v>130.05792956382297</c:v>
                </c:pt>
                <c:pt idx="793">
                  <c:v>129.82218202214247</c:v>
                </c:pt>
                <c:pt idx="794">
                  <c:v>129.82218202214247</c:v>
                </c:pt>
                <c:pt idx="795">
                  <c:v>129.82218202214247</c:v>
                </c:pt>
                <c:pt idx="796">
                  <c:v>129.87221386990973</c:v>
                </c:pt>
                <c:pt idx="797">
                  <c:v>130.13376654499783</c:v>
                </c:pt>
                <c:pt idx="798">
                  <c:v>130.44942688712987</c:v>
                </c:pt>
                <c:pt idx="799">
                  <c:v>130.73146576807213</c:v>
                </c:pt>
                <c:pt idx="800">
                  <c:v>130.68589644001995</c:v>
                </c:pt>
                <c:pt idx="801">
                  <c:v>130.68589644001995</c:v>
                </c:pt>
                <c:pt idx="802">
                  <c:v>130.68589644001995</c:v>
                </c:pt>
                <c:pt idx="803">
                  <c:v>130.42327231851218</c:v>
                </c:pt>
                <c:pt idx="804">
                  <c:v>129.99506327190059</c:v>
                </c:pt>
                <c:pt idx="805">
                  <c:v>130.96027577968511</c:v>
                </c:pt>
                <c:pt idx="806">
                  <c:v>130.85683878334876</c:v>
                </c:pt>
                <c:pt idx="807">
                  <c:v>130.83925435997961</c:v>
                </c:pt>
                <c:pt idx="808">
                  <c:v>130.83925435997961</c:v>
                </c:pt>
                <c:pt idx="809">
                  <c:v>130.83925435997961</c:v>
                </c:pt>
                <c:pt idx="810">
                  <c:v>130.80393140106295</c:v>
                </c:pt>
                <c:pt idx="811">
                  <c:v>130.51045784798035</c:v>
                </c:pt>
                <c:pt idx="812">
                  <c:v>129.84262283228276</c:v>
                </c:pt>
                <c:pt idx="813">
                  <c:v>130.05110133469245</c:v>
                </c:pt>
                <c:pt idx="814">
                  <c:v>130.05110133469245</c:v>
                </c:pt>
                <c:pt idx="815">
                  <c:v>130.05110133469245</c:v>
                </c:pt>
                <c:pt idx="816">
                  <c:v>130.05110133469245</c:v>
                </c:pt>
                <c:pt idx="817">
                  <c:v>130.05110133469245</c:v>
                </c:pt>
                <c:pt idx="818">
                  <c:v>129.57260343495153</c:v>
                </c:pt>
                <c:pt idx="819">
                  <c:v>129.85575678022516</c:v>
                </c:pt>
                <c:pt idx="820">
                  <c:v>130.4940502829383</c:v>
                </c:pt>
                <c:pt idx="821">
                  <c:v>130.91612037913626</c:v>
                </c:pt>
                <c:pt idx="822">
                  <c:v>130.91612037913626</c:v>
                </c:pt>
                <c:pt idx="823">
                  <c:v>130.91612037913626</c:v>
                </c:pt>
                <c:pt idx="824">
                  <c:v>130.91778298148972</c:v>
                </c:pt>
                <c:pt idx="825">
                  <c:v>130.38602870393504</c:v>
                </c:pt>
                <c:pt idx="826">
                  <c:v>130.68711529116058</c:v>
                </c:pt>
                <c:pt idx="827">
                  <c:v>130.73077421994259</c:v>
                </c:pt>
                <c:pt idx="828">
                  <c:v>131.2806133079481</c:v>
                </c:pt>
                <c:pt idx="829">
                  <c:v>131.2806133079481</c:v>
                </c:pt>
                <c:pt idx="830">
                  <c:v>131.2806133079481</c:v>
                </c:pt>
                <c:pt idx="831">
                  <c:v>131.38718257051903</c:v>
                </c:pt>
                <c:pt idx="832">
                  <c:v>131.72748589628372</c:v>
                </c:pt>
                <c:pt idx="833">
                  <c:v>131.70859799873452</c:v>
                </c:pt>
                <c:pt idx="834">
                  <c:v>130.948738543264</c:v>
                </c:pt>
                <c:pt idx="835">
                  <c:v>130.48141856152264</c:v>
                </c:pt>
                <c:pt idx="836">
                  <c:v>130.48141856152264</c:v>
                </c:pt>
                <c:pt idx="837">
                  <c:v>130.48141856152264</c:v>
                </c:pt>
                <c:pt idx="838">
                  <c:v>130.13895110371215</c:v>
                </c:pt>
                <c:pt idx="839">
                  <c:v>130.63153350877582</c:v>
                </c:pt>
                <c:pt idx="840">
                  <c:v>131.6091689026556</c:v>
                </c:pt>
                <c:pt idx="841">
                  <c:v>131.51184644182979</c:v>
                </c:pt>
                <c:pt idx="842">
                  <c:v>131.09957282849592</c:v>
                </c:pt>
                <c:pt idx="843">
                  <c:v>131.09957282849592</c:v>
                </c:pt>
                <c:pt idx="844">
                  <c:v>131.09957282849592</c:v>
                </c:pt>
                <c:pt idx="845">
                  <c:v>130.74120093499351</c:v>
                </c:pt>
                <c:pt idx="846">
                  <c:v>130.42500962542726</c:v>
                </c:pt>
                <c:pt idx="847">
                  <c:v>129.85713718028322</c:v>
                </c:pt>
                <c:pt idx="848">
                  <c:v>128.79503011847623</c:v>
                </c:pt>
                <c:pt idx="849">
                  <c:v>128.53022588532625</c:v>
                </c:pt>
                <c:pt idx="850">
                  <c:v>128.53022588532625</c:v>
                </c:pt>
                <c:pt idx="851">
                  <c:v>128.53022588532625</c:v>
                </c:pt>
                <c:pt idx="852">
                  <c:v>129.00716041799231</c:v>
                </c:pt>
                <c:pt idx="853">
                  <c:v>128.35820045784712</c:v>
                </c:pt>
                <c:pt idx="854">
                  <c:v>127.158457825146</c:v>
                </c:pt>
                <c:pt idx="855">
                  <c:v>127.15572458769945</c:v>
                </c:pt>
                <c:pt idx="856">
                  <c:v>126.8744407411701</c:v>
                </c:pt>
                <c:pt idx="857">
                  <c:v>126.8744407411701</c:v>
                </c:pt>
                <c:pt idx="858">
                  <c:v>126.8744407411701</c:v>
                </c:pt>
                <c:pt idx="859">
                  <c:v>127.3078941653618</c:v>
                </c:pt>
                <c:pt idx="860">
                  <c:v>127.45413294666373</c:v>
                </c:pt>
                <c:pt idx="861">
                  <c:v>127.976144921296</c:v>
                </c:pt>
                <c:pt idx="862">
                  <c:v>128.13736652527129</c:v>
                </c:pt>
                <c:pt idx="863">
                  <c:v>128.24115740127007</c:v>
                </c:pt>
                <c:pt idx="864">
                  <c:v>128.24115740127007</c:v>
                </c:pt>
                <c:pt idx="865">
                  <c:v>128.24115740127007</c:v>
                </c:pt>
                <c:pt idx="866">
                  <c:v>128.63218897335332</c:v>
                </c:pt>
                <c:pt idx="867">
                  <c:v>128.56920616652263</c:v>
                </c:pt>
                <c:pt idx="868">
                  <c:v>127.91284142947092</c:v>
                </c:pt>
                <c:pt idx="869">
                  <c:v>128.42144142717464</c:v>
                </c:pt>
                <c:pt idx="870">
                  <c:v>128.46311790159154</c:v>
                </c:pt>
                <c:pt idx="871">
                  <c:v>128.46311790159154</c:v>
                </c:pt>
                <c:pt idx="872">
                  <c:v>128.46311790159154</c:v>
                </c:pt>
                <c:pt idx="873">
                  <c:v>128.40993182997531</c:v>
                </c:pt>
                <c:pt idx="874">
                  <c:v>128.7452617667376</c:v>
                </c:pt>
                <c:pt idx="875">
                  <c:v>129.16967494995382</c:v>
                </c:pt>
                <c:pt idx="876">
                  <c:v>129.40340284441459</c:v>
                </c:pt>
                <c:pt idx="877">
                  <c:v>129.45373339180236</c:v>
                </c:pt>
                <c:pt idx="878">
                  <c:v>129.45373339180236</c:v>
                </c:pt>
                <c:pt idx="879">
                  <c:v>129.45373339180236</c:v>
                </c:pt>
                <c:pt idx="880">
                  <c:v>129.51209562667754</c:v>
                </c:pt>
                <c:pt idx="881">
                  <c:v>130.14748043585095</c:v>
                </c:pt>
                <c:pt idx="882">
                  <c:v>129.61026389645372</c:v>
                </c:pt>
                <c:pt idx="883">
                  <c:v>129.64008445489776</c:v>
                </c:pt>
                <c:pt idx="884">
                  <c:v>130.25803530573975</c:v>
                </c:pt>
                <c:pt idx="885">
                  <c:v>130.25803530573975</c:v>
                </c:pt>
                <c:pt idx="886">
                  <c:v>130.25803530573975</c:v>
                </c:pt>
                <c:pt idx="887">
                  <c:v>130.59855533526897</c:v>
                </c:pt>
                <c:pt idx="888">
                  <c:v>130.25077980500234</c:v>
                </c:pt>
                <c:pt idx="889">
                  <c:v>130.71908128088663</c:v>
                </c:pt>
                <c:pt idx="890">
                  <c:v>130.78781639786953</c:v>
                </c:pt>
                <c:pt idx="891">
                  <c:v>130.78903163915172</c:v>
                </c:pt>
                <c:pt idx="892">
                  <c:v>130.78903163915172</c:v>
                </c:pt>
                <c:pt idx="893">
                  <c:v>130.78903163915172</c:v>
                </c:pt>
                <c:pt idx="894">
                  <c:v>130.86313849816287</c:v>
                </c:pt>
                <c:pt idx="895">
                  <c:v>131.02862939065511</c:v>
                </c:pt>
                <c:pt idx="896">
                  <c:v>131.17189801264706</c:v>
                </c:pt>
                <c:pt idx="897">
                  <c:v>131.41583070606592</c:v>
                </c:pt>
                <c:pt idx="898">
                  <c:v>131.31042159591306</c:v>
                </c:pt>
                <c:pt idx="899">
                  <c:v>131.31042159591306</c:v>
                </c:pt>
                <c:pt idx="900">
                  <c:v>131.31042159591306</c:v>
                </c:pt>
                <c:pt idx="901">
                  <c:v>131.22806261434434</c:v>
                </c:pt>
                <c:pt idx="902">
                  <c:v>130.62812252710074</c:v>
                </c:pt>
                <c:pt idx="903">
                  <c:v>130.6335170780178</c:v>
                </c:pt>
                <c:pt idx="904">
                  <c:v>130.61035306459212</c:v>
                </c:pt>
                <c:pt idx="905">
                  <c:v>131.05790992678527</c:v>
                </c:pt>
                <c:pt idx="906">
                  <c:v>131.05790992678527</c:v>
                </c:pt>
                <c:pt idx="907">
                  <c:v>131.05790992678527</c:v>
                </c:pt>
                <c:pt idx="908">
                  <c:v>130.89031367641513</c:v>
                </c:pt>
                <c:pt idx="909">
                  <c:v>130.63583199506823</c:v>
                </c:pt>
                <c:pt idx="910">
                  <c:v>130.81102212962912</c:v>
                </c:pt>
                <c:pt idx="911">
                  <c:v>131.1807200029869</c:v>
                </c:pt>
                <c:pt idx="912">
                  <c:v>130.77145793811854</c:v>
                </c:pt>
                <c:pt idx="913">
                  <c:v>130.77145793811854</c:v>
                </c:pt>
                <c:pt idx="914">
                  <c:v>130.77145793811854</c:v>
                </c:pt>
                <c:pt idx="915">
                  <c:v>130.52760032861869</c:v>
                </c:pt>
                <c:pt idx="916">
                  <c:v>130.53347571494942</c:v>
                </c:pt>
                <c:pt idx="917">
                  <c:v>130.67364480811969</c:v>
                </c:pt>
                <c:pt idx="918">
                  <c:v>131.1934266936228</c:v>
                </c:pt>
                <c:pt idx="919">
                  <c:v>131.23278703714141</c:v>
                </c:pt>
                <c:pt idx="920">
                  <c:v>131.23278703714141</c:v>
                </c:pt>
                <c:pt idx="921">
                  <c:v>131.23278703714141</c:v>
                </c:pt>
                <c:pt idx="922">
                  <c:v>131.6275870138644</c:v>
                </c:pt>
                <c:pt idx="923">
                  <c:v>132.0211082584625</c:v>
                </c:pt>
                <c:pt idx="924">
                  <c:v>131.64934308448974</c:v>
                </c:pt>
                <c:pt idx="925">
                  <c:v>130.96077059611957</c:v>
                </c:pt>
                <c:pt idx="926">
                  <c:v>130.97005550371355</c:v>
                </c:pt>
                <c:pt idx="927">
                  <c:v>130.97005550371355</c:v>
                </c:pt>
                <c:pt idx="928">
                  <c:v>130.97005550371355</c:v>
                </c:pt>
                <c:pt idx="929">
                  <c:v>131.24146330252356</c:v>
                </c:pt>
                <c:pt idx="930">
                  <c:v>130.98569493925081</c:v>
                </c:pt>
                <c:pt idx="931">
                  <c:v>130.94895249654618</c:v>
                </c:pt>
                <c:pt idx="932">
                  <c:v>131.45614451462552</c:v>
                </c:pt>
                <c:pt idx="933">
                  <c:v>131.52393698813142</c:v>
                </c:pt>
                <c:pt idx="934">
                  <c:v>131.52393698813142</c:v>
                </c:pt>
                <c:pt idx="935">
                  <c:v>131.52393698813142</c:v>
                </c:pt>
                <c:pt idx="936">
                  <c:v>130.77102245431712</c:v>
                </c:pt>
                <c:pt idx="937">
                  <c:v>131.18114616043593</c:v>
                </c:pt>
                <c:pt idx="938">
                  <c:v>131.38519861583853</c:v>
                </c:pt>
                <c:pt idx="939">
                  <c:v>131.18136299973068</c:v>
                </c:pt>
                <c:pt idx="940">
                  <c:v>131.37830821207092</c:v>
                </c:pt>
                <c:pt idx="941">
                  <c:v>131.37830821207092</c:v>
                </c:pt>
                <c:pt idx="942">
                  <c:v>131.37830821207092</c:v>
                </c:pt>
                <c:pt idx="943">
                  <c:v>131.64649244224825</c:v>
                </c:pt>
                <c:pt idx="944">
                  <c:v>131.07384368671234</c:v>
                </c:pt>
                <c:pt idx="945">
                  <c:v>131.36892295977015</c:v>
                </c:pt>
                <c:pt idx="946">
                  <c:v>131.90457846239198</c:v>
                </c:pt>
                <c:pt idx="947">
                  <c:v>131.87267012790653</c:v>
                </c:pt>
                <c:pt idx="948">
                  <c:v>131.87267012790653</c:v>
                </c:pt>
                <c:pt idx="949">
                  <c:v>131.87267012790653</c:v>
                </c:pt>
                <c:pt idx="950">
                  <c:v>131.70194661464373</c:v>
                </c:pt>
                <c:pt idx="951">
                  <c:v>131.20912589154224</c:v>
                </c:pt>
                <c:pt idx="952">
                  <c:v>130.83089642275328</c:v>
                </c:pt>
                <c:pt idx="953">
                  <c:v>130.48488048643713</c:v>
                </c:pt>
                <c:pt idx="954">
                  <c:v>130.80023174146842</c:v>
                </c:pt>
                <c:pt idx="955">
                  <c:v>130.80023174146842</c:v>
                </c:pt>
                <c:pt idx="956">
                  <c:v>130.80023174146842</c:v>
                </c:pt>
                <c:pt idx="957">
                  <c:v>131.03895700433199</c:v>
                </c:pt>
                <c:pt idx="958">
                  <c:v>131.50639618951357</c:v>
                </c:pt>
                <c:pt idx="959">
                  <c:v>131.4356088708943</c:v>
                </c:pt>
                <c:pt idx="960">
                  <c:v>131.41676884982544</c:v>
                </c:pt>
                <c:pt idx="961">
                  <c:v>130.86623174298802</c:v>
                </c:pt>
                <c:pt idx="962">
                  <c:v>130.86623174298802</c:v>
                </c:pt>
                <c:pt idx="963">
                  <c:v>130.86623174298802</c:v>
                </c:pt>
                <c:pt idx="964">
                  <c:v>131.38331545523167</c:v>
                </c:pt>
                <c:pt idx="965">
                  <c:v>131.81916640621256</c:v>
                </c:pt>
                <c:pt idx="966">
                  <c:v>131.96080212035818</c:v>
                </c:pt>
                <c:pt idx="967">
                  <c:v>132.36828353334897</c:v>
                </c:pt>
                <c:pt idx="968">
                  <c:v>133.33876526065026</c:v>
                </c:pt>
                <c:pt idx="969">
                  <c:v>133.33876526065026</c:v>
                </c:pt>
                <c:pt idx="970">
                  <c:v>133.33876526065026</c:v>
                </c:pt>
                <c:pt idx="971">
                  <c:v>132.73781710027029</c:v>
                </c:pt>
                <c:pt idx="972">
                  <c:v>133.11607843695671</c:v>
                </c:pt>
                <c:pt idx="973">
                  <c:v>132.69991154318475</c:v>
                </c:pt>
                <c:pt idx="974">
                  <c:v>133.09444880302456</c:v>
                </c:pt>
                <c:pt idx="975">
                  <c:v>133.40512289230219</c:v>
                </c:pt>
                <c:pt idx="976">
                  <c:v>133.40512289230219</c:v>
                </c:pt>
                <c:pt idx="977">
                  <c:v>133.40512289230219</c:v>
                </c:pt>
                <c:pt idx="978">
                  <c:v>133.19442519329237</c:v>
                </c:pt>
                <c:pt idx="979">
                  <c:v>132.77973247088829</c:v>
                </c:pt>
                <c:pt idx="980">
                  <c:v>133.22512612226393</c:v>
                </c:pt>
                <c:pt idx="981">
                  <c:v>133.2140402793552</c:v>
                </c:pt>
                <c:pt idx="982">
                  <c:v>133.25157392433763</c:v>
                </c:pt>
                <c:pt idx="983">
                  <c:v>133.25157392433763</c:v>
                </c:pt>
                <c:pt idx="984">
                  <c:v>133.25157392433763</c:v>
                </c:pt>
                <c:pt idx="985">
                  <c:v>133.42247897245622</c:v>
                </c:pt>
                <c:pt idx="986">
                  <c:v>133.49579332179533</c:v>
                </c:pt>
                <c:pt idx="987">
                  <c:v>133.59292511481763</c:v>
                </c:pt>
                <c:pt idx="988">
                  <c:v>133.26118326440658</c:v>
                </c:pt>
                <c:pt idx="989">
                  <c:v>133.03899849504134</c:v>
                </c:pt>
                <c:pt idx="990">
                  <c:v>133.03899849504134</c:v>
                </c:pt>
                <c:pt idx="991">
                  <c:v>133.03899849504134</c:v>
                </c:pt>
                <c:pt idx="992">
                  <c:v>133.49400910414596</c:v>
                </c:pt>
                <c:pt idx="993">
                  <c:v>133.54699828280462</c:v>
                </c:pt>
                <c:pt idx="994">
                  <c:v>134.2842480901337</c:v>
                </c:pt>
                <c:pt idx="995">
                  <c:v>133.82488513215179</c:v>
                </c:pt>
                <c:pt idx="996">
                  <c:v>133.4036449525542</c:v>
                </c:pt>
                <c:pt idx="997">
                  <c:v>133.4036449525542</c:v>
                </c:pt>
                <c:pt idx="998">
                  <c:v>133.4036449525542</c:v>
                </c:pt>
                <c:pt idx="999">
                  <c:v>132.47018923052298</c:v>
                </c:pt>
                <c:pt idx="1000">
                  <c:v>132.70408914551234</c:v>
                </c:pt>
                <c:pt idx="1001">
                  <c:v>132.04917970548149</c:v>
                </c:pt>
                <c:pt idx="1002">
                  <c:v>132.38808938440184</c:v>
                </c:pt>
                <c:pt idx="1003">
                  <c:v>132.83490244045834</c:v>
                </c:pt>
                <c:pt idx="1004">
                  <c:v>132.83490244045834</c:v>
                </c:pt>
                <c:pt idx="1005">
                  <c:v>132.83490244045834</c:v>
                </c:pt>
                <c:pt idx="1006">
                  <c:v>132.33602325868563</c:v>
                </c:pt>
                <c:pt idx="1007">
                  <c:v>132.29245106748769</c:v>
                </c:pt>
                <c:pt idx="1008">
                  <c:v>132.8400738472051</c:v>
                </c:pt>
                <c:pt idx="1009">
                  <c:v>132.36001158087203</c:v>
                </c:pt>
                <c:pt idx="1010">
                  <c:v>132.15763744691577</c:v>
                </c:pt>
                <c:pt idx="1011">
                  <c:v>132.15763744691577</c:v>
                </c:pt>
                <c:pt idx="1012">
                  <c:v>132.15763744691577</c:v>
                </c:pt>
                <c:pt idx="1013">
                  <c:v>132.20541606361522</c:v>
                </c:pt>
                <c:pt idx="1014">
                  <c:v>132.49308505917134</c:v>
                </c:pt>
                <c:pt idx="1015">
                  <c:v>132.69197991309355</c:v>
                </c:pt>
                <c:pt idx="1016">
                  <c:v>131.5090230766597</c:v>
                </c:pt>
                <c:pt idx="1017">
                  <c:v>130.57754051397507</c:v>
                </c:pt>
                <c:pt idx="1018">
                  <c:v>130.57754051397507</c:v>
                </c:pt>
                <c:pt idx="1019">
                  <c:v>130.57754051397507</c:v>
                </c:pt>
                <c:pt idx="1020">
                  <c:v>130.60139167936771</c:v>
                </c:pt>
                <c:pt idx="1021">
                  <c:v>130.57502731249696</c:v>
                </c:pt>
                <c:pt idx="1022">
                  <c:v>129.37285210767277</c:v>
                </c:pt>
                <c:pt idx="1023">
                  <c:v>129.6736799841907</c:v>
                </c:pt>
                <c:pt idx="1024">
                  <c:v>129.2531072395187</c:v>
                </c:pt>
                <c:pt idx="1025">
                  <c:v>129.2531072395187</c:v>
                </c:pt>
                <c:pt idx="1026">
                  <c:v>129.2531072395187</c:v>
                </c:pt>
                <c:pt idx="1027">
                  <c:v>129.92832738721387</c:v>
                </c:pt>
                <c:pt idx="1028">
                  <c:v>130.61637627366557</c:v>
                </c:pt>
                <c:pt idx="1029">
                  <c:v>130.38681211908883</c:v>
                </c:pt>
                <c:pt idx="1030">
                  <c:v>130.19769379549189</c:v>
                </c:pt>
                <c:pt idx="1031">
                  <c:v>129.6472099173412</c:v>
                </c:pt>
                <c:pt idx="1032">
                  <c:v>129.6472099173412</c:v>
                </c:pt>
                <c:pt idx="1033">
                  <c:v>129.6472099173412</c:v>
                </c:pt>
                <c:pt idx="1034">
                  <c:v>129.67792849815828</c:v>
                </c:pt>
                <c:pt idx="1035">
                  <c:v>129.79136933327095</c:v>
                </c:pt>
                <c:pt idx="1036">
                  <c:v>130.03342248074946</c:v>
                </c:pt>
                <c:pt idx="1037">
                  <c:v>129.54607658306051</c:v>
                </c:pt>
                <c:pt idx="1038">
                  <c:v>129.44956432618363</c:v>
                </c:pt>
                <c:pt idx="1039">
                  <c:v>129.44956432618363</c:v>
                </c:pt>
                <c:pt idx="1040">
                  <c:v>129.44956432618363</c:v>
                </c:pt>
                <c:pt idx="1041">
                  <c:v>129.3770979958617</c:v>
                </c:pt>
                <c:pt idx="1042">
                  <c:v>129.42325606510673</c:v>
                </c:pt>
                <c:pt idx="1043">
                  <c:v>129.79108158255679</c:v>
                </c:pt>
                <c:pt idx="1044">
                  <c:v>130.12337246141581</c:v>
                </c:pt>
                <c:pt idx="1045">
                  <c:v>129.48923876065669</c:v>
                </c:pt>
                <c:pt idx="1046">
                  <c:v>129.48923876065669</c:v>
                </c:pt>
                <c:pt idx="1047">
                  <c:v>129.48923876065669</c:v>
                </c:pt>
                <c:pt idx="1048">
                  <c:v>129.55195974308373</c:v>
                </c:pt>
                <c:pt idx="1049">
                  <c:v>129.68116417925569</c:v>
                </c:pt>
                <c:pt idx="1050">
                  <c:v>129.98421640107321</c:v>
                </c:pt>
                <c:pt idx="1051">
                  <c:v>130.04598928555095</c:v>
                </c:pt>
                <c:pt idx="1052">
                  <c:v>129.54498279244015</c:v>
                </c:pt>
                <c:pt idx="1053">
                  <c:v>129.54498279244015</c:v>
                </c:pt>
                <c:pt idx="1054">
                  <c:v>129.54498279244015</c:v>
                </c:pt>
                <c:pt idx="1055">
                  <c:v>129.62957423222201</c:v>
                </c:pt>
                <c:pt idx="1056">
                  <c:v>129.75610647754013</c:v>
                </c:pt>
                <c:pt idx="1057">
                  <c:v>130.12530415872965</c:v>
                </c:pt>
                <c:pt idx="1058">
                  <c:v>130.31659097927627</c:v>
                </c:pt>
                <c:pt idx="1059">
                  <c:v>130.40115501925365</c:v>
                </c:pt>
                <c:pt idx="1060">
                  <c:v>130.40115501925365</c:v>
                </c:pt>
                <c:pt idx="1061">
                  <c:v>130.40115501925365</c:v>
                </c:pt>
                <c:pt idx="1062">
                  <c:v>130.68567649848657</c:v>
                </c:pt>
                <c:pt idx="1063">
                  <c:v>130.41715940286258</c:v>
                </c:pt>
                <c:pt idx="1064">
                  <c:v>131.16450653874492</c:v>
                </c:pt>
                <c:pt idx="1065">
                  <c:v>130.4097140247415</c:v>
                </c:pt>
                <c:pt idx="1066">
                  <c:v>130.44919597614705</c:v>
                </c:pt>
                <c:pt idx="1067">
                  <c:v>130.44919597614705</c:v>
                </c:pt>
                <c:pt idx="1068">
                  <c:v>130.44919597614705</c:v>
                </c:pt>
                <c:pt idx="1069">
                  <c:v>130.82670738415459</c:v>
                </c:pt>
                <c:pt idx="1070">
                  <c:v>130.39613503866329</c:v>
                </c:pt>
                <c:pt idx="1071">
                  <c:v>130.81448619512199</c:v>
                </c:pt>
                <c:pt idx="1072">
                  <c:v>130.42053879995461</c:v>
                </c:pt>
                <c:pt idx="1073">
                  <c:v>130.9079824419079</c:v>
                </c:pt>
                <c:pt idx="1074">
                  <c:v>130.9079824419079</c:v>
                </c:pt>
                <c:pt idx="1075">
                  <c:v>130.9079824419079</c:v>
                </c:pt>
                <c:pt idx="1076">
                  <c:v>131.15825114859211</c:v>
                </c:pt>
                <c:pt idx="1077">
                  <c:v>130.88551557610467</c:v>
                </c:pt>
                <c:pt idx="1078">
                  <c:v>130.81377661986258</c:v>
                </c:pt>
                <c:pt idx="1079">
                  <c:v>131.02655304345947</c:v>
                </c:pt>
                <c:pt idx="1080">
                  <c:v>130.88999671357078</c:v>
                </c:pt>
                <c:pt idx="1081">
                  <c:v>130.88999671357078</c:v>
                </c:pt>
                <c:pt idx="1082">
                  <c:v>130.88999671357078</c:v>
                </c:pt>
                <c:pt idx="1083">
                  <c:v>130.89231645245204</c:v>
                </c:pt>
                <c:pt idx="1084">
                  <c:v>130.70894439284385</c:v>
                </c:pt>
                <c:pt idx="1085">
                  <c:v>130.59859491303112</c:v>
                </c:pt>
                <c:pt idx="1086">
                  <c:v>130.98053188642888</c:v>
                </c:pt>
                <c:pt idx="1087">
                  <c:v>131.43570772935988</c:v>
                </c:pt>
                <c:pt idx="1088">
                  <c:v>131.43570772935988</c:v>
                </c:pt>
                <c:pt idx="1089">
                  <c:v>131.43570772935988</c:v>
                </c:pt>
                <c:pt idx="1090">
                  <c:v>131.43570772935988</c:v>
                </c:pt>
                <c:pt idx="1091">
                  <c:v>131.50333721651654</c:v>
                </c:pt>
                <c:pt idx="1092">
                  <c:v>131.50146890849746</c:v>
                </c:pt>
                <c:pt idx="1093">
                  <c:v>131.55349346575778</c:v>
                </c:pt>
                <c:pt idx="1094">
                  <c:v>132.29401894915188</c:v>
                </c:pt>
                <c:pt idx="1095">
                  <c:v>132.29401894915188</c:v>
                </c:pt>
                <c:pt idx="1096">
                  <c:v>132.29401894915188</c:v>
                </c:pt>
                <c:pt idx="1097">
                  <c:v>132.36683874376703</c:v>
                </c:pt>
                <c:pt idx="1098">
                  <c:v>132.91972617106882</c:v>
                </c:pt>
                <c:pt idx="1099">
                  <c:v>133.24660523137339</c:v>
                </c:pt>
                <c:pt idx="1100">
                  <c:v>133.26598588909243</c:v>
                </c:pt>
                <c:pt idx="1101">
                  <c:v>132.82719873725171</c:v>
                </c:pt>
                <c:pt idx="1102">
                  <c:v>132.82719873725171</c:v>
                </c:pt>
                <c:pt idx="1103">
                  <c:v>132.82719873725171</c:v>
                </c:pt>
                <c:pt idx="1104">
                  <c:v>132.76925199425324</c:v>
                </c:pt>
                <c:pt idx="1105">
                  <c:v>132.96671722565861</c:v>
                </c:pt>
                <c:pt idx="1106">
                  <c:v>133.24467975873307</c:v>
                </c:pt>
                <c:pt idx="1107">
                  <c:v>133.46836356155856</c:v>
                </c:pt>
                <c:pt idx="1108">
                  <c:v>133.65182540872101</c:v>
                </c:pt>
                <c:pt idx="1109">
                  <c:v>133.65182540872101</c:v>
                </c:pt>
                <c:pt idx="1110">
                  <c:v>133.65182540872101</c:v>
                </c:pt>
                <c:pt idx="1111">
                  <c:v>133.94314922047209</c:v>
                </c:pt>
                <c:pt idx="1112">
                  <c:v>134.11577289225789</c:v>
                </c:pt>
                <c:pt idx="1113">
                  <c:v>134.39704114097384</c:v>
                </c:pt>
                <c:pt idx="1114">
                  <c:v>135.09689136558276</c:v>
                </c:pt>
                <c:pt idx="1115">
                  <c:v>136.04240488443958</c:v>
                </c:pt>
                <c:pt idx="1116">
                  <c:v>136.04240488443958</c:v>
                </c:pt>
                <c:pt idx="1117">
                  <c:v>136.04240488443958</c:v>
                </c:pt>
                <c:pt idx="1118">
                  <c:v>135.82210658452993</c:v>
                </c:pt>
                <c:pt idx="1119">
                  <c:v>136.70472215308783</c:v>
                </c:pt>
                <c:pt idx="1120">
                  <c:v>136.66223720790501</c:v>
                </c:pt>
                <c:pt idx="1121">
                  <c:v>136.10845403604404</c:v>
                </c:pt>
                <c:pt idx="1122">
                  <c:v>136.06508043030959</c:v>
                </c:pt>
                <c:pt idx="1123">
                  <c:v>136.06508043030959</c:v>
                </c:pt>
                <c:pt idx="1124">
                  <c:v>136.06508043030959</c:v>
                </c:pt>
                <c:pt idx="1125">
                  <c:v>136.07297439399193</c:v>
                </c:pt>
                <c:pt idx="1126">
                  <c:v>135.80780337659644</c:v>
                </c:pt>
                <c:pt idx="1127">
                  <c:v>136.32405898422095</c:v>
                </c:pt>
                <c:pt idx="1128">
                  <c:v>137.25751223093158</c:v>
                </c:pt>
                <c:pt idx="1129">
                  <c:v>136.79667229567141</c:v>
                </c:pt>
                <c:pt idx="1130">
                  <c:v>136.79667229567141</c:v>
                </c:pt>
                <c:pt idx="1131">
                  <c:v>136.79667229567141</c:v>
                </c:pt>
                <c:pt idx="1132">
                  <c:v>137.09157087557222</c:v>
                </c:pt>
                <c:pt idx="1133">
                  <c:v>136.88904134389065</c:v>
                </c:pt>
                <c:pt idx="1134">
                  <c:v>137.11425640480059</c:v>
                </c:pt>
                <c:pt idx="1135">
                  <c:v>136.86220137481874</c:v>
                </c:pt>
                <c:pt idx="1136">
                  <c:v>137.426323203782</c:v>
                </c:pt>
                <c:pt idx="1137">
                  <c:v>137.426323203782</c:v>
                </c:pt>
                <c:pt idx="1138">
                  <c:v>137.426323203782</c:v>
                </c:pt>
                <c:pt idx="1139">
                  <c:v>136.6716325468519</c:v>
                </c:pt>
                <c:pt idx="1140">
                  <c:v>136.66145164372458</c:v>
                </c:pt>
                <c:pt idx="1141">
                  <c:v>137.54629346490867</c:v>
                </c:pt>
                <c:pt idx="1142">
                  <c:v>137.46247731576764</c:v>
                </c:pt>
                <c:pt idx="1143">
                  <c:v>138.18559306040558</c:v>
                </c:pt>
                <c:pt idx="1144">
                  <c:v>138.18559306040558</c:v>
                </c:pt>
                <c:pt idx="1145">
                  <c:v>138.18559306040558</c:v>
                </c:pt>
                <c:pt idx="1146">
                  <c:v>138.38302997577617</c:v>
                </c:pt>
                <c:pt idx="1147">
                  <c:v>138.33988854000407</c:v>
                </c:pt>
                <c:pt idx="1148">
                  <c:v>137.89592500914091</c:v>
                </c:pt>
                <c:pt idx="1149">
                  <c:v>138.64930377302076</c:v>
                </c:pt>
                <c:pt idx="1150">
                  <c:v>138.54503881790723</c:v>
                </c:pt>
                <c:pt idx="1151">
                  <c:v>138.54503881790723</c:v>
                </c:pt>
                <c:pt idx="1152">
                  <c:v>138.54503881790723</c:v>
                </c:pt>
                <c:pt idx="1153">
                  <c:v>138.96844888997907</c:v>
                </c:pt>
                <c:pt idx="1154">
                  <c:v>139.49495927715725</c:v>
                </c:pt>
                <c:pt idx="1155">
                  <c:v>139.24211889538387</c:v>
                </c:pt>
                <c:pt idx="1156">
                  <c:v>139.55267676261136</c:v>
                </c:pt>
                <c:pt idx="1157">
                  <c:v>139.61599937654233</c:v>
                </c:pt>
                <c:pt idx="1158">
                  <c:v>139.61599937654233</c:v>
                </c:pt>
                <c:pt idx="1159">
                  <c:v>139.61599937654233</c:v>
                </c:pt>
                <c:pt idx="1160">
                  <c:v>139.42674733172296</c:v>
                </c:pt>
                <c:pt idx="1161">
                  <c:v>139.1041604993018</c:v>
                </c:pt>
                <c:pt idx="1162">
                  <c:v>138.75398091638505</c:v>
                </c:pt>
                <c:pt idx="1163">
                  <c:v>138.53931567865192</c:v>
                </c:pt>
                <c:pt idx="1164">
                  <c:v>137.73260627048612</c:v>
                </c:pt>
                <c:pt idx="1165">
                  <c:v>137.73260627048612</c:v>
                </c:pt>
                <c:pt idx="1166">
                  <c:v>137.73260627048612</c:v>
                </c:pt>
                <c:pt idx="1167">
                  <c:v>138.32592393012689</c:v>
                </c:pt>
                <c:pt idx="1168">
                  <c:v>138.5817627322397</c:v>
                </c:pt>
                <c:pt idx="1169">
                  <c:v>139.0850385729554</c:v>
                </c:pt>
                <c:pt idx="1170">
                  <c:v>139.34893006186422</c:v>
                </c:pt>
                <c:pt idx="1171">
                  <c:v>139.90841436841799</c:v>
                </c:pt>
                <c:pt idx="1172">
                  <c:v>139.90841436841799</c:v>
                </c:pt>
                <c:pt idx="1173">
                  <c:v>139.90841436841799</c:v>
                </c:pt>
                <c:pt idx="1174">
                  <c:v>140.20813609467433</c:v>
                </c:pt>
                <c:pt idx="1175">
                  <c:v>140.15505852176426</c:v>
                </c:pt>
                <c:pt idx="1176">
                  <c:v>139.66267512203333</c:v>
                </c:pt>
                <c:pt idx="1177">
                  <c:v>140.08954108732681</c:v>
                </c:pt>
                <c:pt idx="1178">
                  <c:v>139.86604920038798</c:v>
                </c:pt>
                <c:pt idx="1179">
                  <c:v>139.86604920038798</c:v>
                </c:pt>
                <c:pt idx="1180">
                  <c:v>139.86604920038798</c:v>
                </c:pt>
                <c:pt idx="1181">
                  <c:v>140.79595294037503</c:v>
                </c:pt>
                <c:pt idx="1182">
                  <c:v>140.75894376622816</c:v>
                </c:pt>
                <c:pt idx="1183">
                  <c:v>140.3357015883644</c:v>
                </c:pt>
                <c:pt idx="1184">
                  <c:v>139.71391504373369</c:v>
                </c:pt>
                <c:pt idx="1185">
                  <c:v>140.3685012964045</c:v>
                </c:pt>
                <c:pt idx="1186">
                  <c:v>140.3685012964045</c:v>
                </c:pt>
                <c:pt idx="1187">
                  <c:v>140.3685012964045</c:v>
                </c:pt>
                <c:pt idx="1188">
                  <c:v>140.22208931899735</c:v>
                </c:pt>
                <c:pt idx="1189">
                  <c:v>140.61515544575761</c:v>
                </c:pt>
                <c:pt idx="1190">
                  <c:v>140.54167334740083</c:v>
                </c:pt>
                <c:pt idx="1191">
                  <c:v>141.0997452214159</c:v>
                </c:pt>
                <c:pt idx="1192">
                  <c:v>141.11296077772101</c:v>
                </c:pt>
                <c:pt idx="1193">
                  <c:v>141.11296077772101</c:v>
                </c:pt>
                <c:pt idx="1194">
                  <c:v>141.11296077772101</c:v>
                </c:pt>
                <c:pt idx="1195">
                  <c:v>140.38101910687155</c:v>
                </c:pt>
                <c:pt idx="1196">
                  <c:v>140.44568272978412</c:v>
                </c:pt>
                <c:pt idx="1197">
                  <c:v>139.83679601758624</c:v>
                </c:pt>
                <c:pt idx="1198">
                  <c:v>140.1804956140399</c:v>
                </c:pt>
                <c:pt idx="1199">
                  <c:v>140.1804956140399</c:v>
                </c:pt>
                <c:pt idx="1200">
                  <c:v>140.1804956140399</c:v>
                </c:pt>
                <c:pt idx="1201">
                  <c:v>140.1804956140399</c:v>
                </c:pt>
                <c:pt idx="1202">
                  <c:v>140.1804956140399</c:v>
                </c:pt>
                <c:pt idx="1203">
                  <c:v>140.58890003404875</c:v>
                </c:pt>
                <c:pt idx="1204">
                  <c:v>140.60878179429423</c:v>
                </c:pt>
                <c:pt idx="1205">
                  <c:v>140.56037782156037</c:v>
                </c:pt>
                <c:pt idx="1206">
                  <c:v>140.83450002503773</c:v>
                </c:pt>
                <c:pt idx="1207">
                  <c:v>140.83450002503773</c:v>
                </c:pt>
                <c:pt idx="1208">
                  <c:v>140.83450002503773</c:v>
                </c:pt>
                <c:pt idx="1209">
                  <c:v>141.63196241637075</c:v>
                </c:pt>
                <c:pt idx="1210">
                  <c:v>141.88518511552837</c:v>
                </c:pt>
                <c:pt idx="1211">
                  <c:v>141.61679703813519</c:v>
                </c:pt>
                <c:pt idx="1212">
                  <c:v>141.29802321538739</c:v>
                </c:pt>
                <c:pt idx="1213">
                  <c:v>141.39772837502952</c:v>
                </c:pt>
                <c:pt idx="1214">
                  <c:v>141.39772837502952</c:v>
                </c:pt>
                <c:pt idx="1215">
                  <c:v>141.39772837502952</c:v>
                </c:pt>
                <c:pt idx="1216">
                  <c:v>141.39772837502952</c:v>
                </c:pt>
                <c:pt idx="1217">
                  <c:v>141.88507193712564</c:v>
                </c:pt>
                <c:pt idx="1218">
                  <c:v>142.66919169133826</c:v>
                </c:pt>
                <c:pt idx="1219">
                  <c:v>143.06675652892224</c:v>
                </c:pt>
                <c:pt idx="1220">
                  <c:v>143.21848708789403</c:v>
                </c:pt>
                <c:pt idx="1221">
                  <c:v>143.21848708789403</c:v>
                </c:pt>
                <c:pt idx="1222">
                  <c:v>143.21848708789403</c:v>
                </c:pt>
                <c:pt idx="1223">
                  <c:v>143.91268281760384</c:v>
                </c:pt>
                <c:pt idx="1224">
                  <c:v>143.43104962434506</c:v>
                </c:pt>
                <c:pt idx="1225">
                  <c:v>144.06085963558215</c:v>
                </c:pt>
                <c:pt idx="1226">
                  <c:v>144.90191605426</c:v>
                </c:pt>
                <c:pt idx="1227">
                  <c:v>144.62044617667726</c:v>
                </c:pt>
                <c:pt idx="1228">
                  <c:v>144.62044617667726</c:v>
                </c:pt>
                <c:pt idx="1229">
                  <c:v>144.62044617667726</c:v>
                </c:pt>
                <c:pt idx="1230">
                  <c:v>142.89942468107296</c:v>
                </c:pt>
                <c:pt idx="1231">
                  <c:v>141.90118051134047</c:v>
                </c:pt>
                <c:pt idx="1232">
                  <c:v>142.60886510795945</c:v>
                </c:pt>
                <c:pt idx="1233">
                  <c:v>140.05771559038072</c:v>
                </c:pt>
                <c:pt idx="1234">
                  <c:v>139.86983349643691</c:v>
                </c:pt>
                <c:pt idx="1235">
                  <c:v>139.86983349643691</c:v>
                </c:pt>
                <c:pt idx="1236">
                  <c:v>139.86983349643691</c:v>
                </c:pt>
                <c:pt idx="1237">
                  <c:v>136.76275022182256</c:v>
                </c:pt>
                <c:pt idx="1238">
                  <c:v>138.6242068451248</c:v>
                </c:pt>
                <c:pt idx="1239">
                  <c:v>138.39863600894367</c:v>
                </c:pt>
                <c:pt idx="1240">
                  <c:v>137.84144360736005</c:v>
                </c:pt>
                <c:pt idx="1241">
                  <c:v>139.24381446446961</c:v>
                </c:pt>
                <c:pt idx="1242">
                  <c:v>139.24381446446961</c:v>
                </c:pt>
                <c:pt idx="1243">
                  <c:v>139.24381446446961</c:v>
                </c:pt>
                <c:pt idx="1244">
                  <c:v>140.38435928421694</c:v>
                </c:pt>
                <c:pt idx="1245">
                  <c:v>140.29245556050043</c:v>
                </c:pt>
                <c:pt idx="1246">
                  <c:v>140.30068401726714</c:v>
                </c:pt>
                <c:pt idx="1247">
                  <c:v>139.95955993426986</c:v>
                </c:pt>
                <c:pt idx="1248">
                  <c:v>141.30537176226372</c:v>
                </c:pt>
                <c:pt idx="1249">
                  <c:v>141.30537176226372</c:v>
                </c:pt>
                <c:pt idx="1250">
                  <c:v>141.30537176226372</c:v>
                </c:pt>
                <c:pt idx="1251">
                  <c:v>141.22630078464783</c:v>
                </c:pt>
                <c:pt idx="1252">
                  <c:v>140.21483714690825</c:v>
                </c:pt>
                <c:pt idx="1253">
                  <c:v>138.77615268367069</c:v>
                </c:pt>
                <c:pt idx="1254">
                  <c:v>137.67137357421907</c:v>
                </c:pt>
                <c:pt idx="1255">
                  <c:v>137.71211815591857</c:v>
                </c:pt>
                <c:pt idx="1256">
                  <c:v>137.71211815591857</c:v>
                </c:pt>
                <c:pt idx="1257">
                  <c:v>137.71211815591857</c:v>
                </c:pt>
                <c:pt idx="1258">
                  <c:v>137.41437627672164</c:v>
                </c:pt>
                <c:pt idx="1259">
                  <c:v>136.14523107365031</c:v>
                </c:pt>
                <c:pt idx="1260">
                  <c:v>136.35218979786166</c:v>
                </c:pt>
                <c:pt idx="1261">
                  <c:v>138.40154302504612</c:v>
                </c:pt>
                <c:pt idx="1262">
                  <c:v>138.59958556178063</c:v>
                </c:pt>
                <c:pt idx="1263">
                  <c:v>138.59958556178063</c:v>
                </c:pt>
                <c:pt idx="1264">
                  <c:v>138.59958556178063</c:v>
                </c:pt>
                <c:pt idx="1265">
                  <c:v>138.88843770592379</c:v>
                </c:pt>
                <c:pt idx="1266">
                  <c:v>138.20733649001949</c:v>
                </c:pt>
                <c:pt idx="1267">
                  <c:v>138.08161551158983</c:v>
                </c:pt>
                <c:pt idx="1268">
                  <c:v>138.63177091975902</c:v>
                </c:pt>
                <c:pt idx="1269">
                  <c:v>138.75609812858011</c:v>
                </c:pt>
                <c:pt idx="1270">
                  <c:v>138.75609812858011</c:v>
                </c:pt>
                <c:pt idx="1271">
                  <c:v>138.75609812858011</c:v>
                </c:pt>
                <c:pt idx="1272">
                  <c:v>139.37477498990376</c:v>
                </c:pt>
                <c:pt idx="1273">
                  <c:v>139.96957440102312</c:v>
                </c:pt>
                <c:pt idx="1274">
                  <c:v>139.23567175303185</c:v>
                </c:pt>
                <c:pt idx="1275">
                  <c:v>138.57584030617346</c:v>
                </c:pt>
                <c:pt idx="1276">
                  <c:v>138.86661767749968</c:v>
                </c:pt>
                <c:pt idx="1277">
                  <c:v>138.86661767749968</c:v>
                </c:pt>
                <c:pt idx="1278">
                  <c:v>138.86661767749968</c:v>
                </c:pt>
                <c:pt idx="1279">
                  <c:v>139.43892866473692</c:v>
                </c:pt>
                <c:pt idx="1280">
                  <c:v>139.54925368214774</c:v>
                </c:pt>
                <c:pt idx="1281">
                  <c:v>139.69050779710938</c:v>
                </c:pt>
                <c:pt idx="1282">
                  <c:v>139.43704830695236</c:v>
                </c:pt>
                <c:pt idx="1283">
                  <c:v>138.87140146327485</c:v>
                </c:pt>
                <c:pt idx="1284">
                  <c:v>138.87140146327485</c:v>
                </c:pt>
                <c:pt idx="1285">
                  <c:v>138.87140146327485</c:v>
                </c:pt>
                <c:pt idx="1286">
                  <c:v>138.43538141012169</c:v>
                </c:pt>
                <c:pt idx="1287">
                  <c:v>138.6059413100354</c:v>
                </c:pt>
                <c:pt idx="1288">
                  <c:v>139.03970984179236</c:v>
                </c:pt>
                <c:pt idx="1289">
                  <c:v>139.02429071190676</c:v>
                </c:pt>
                <c:pt idx="1290">
                  <c:v>139.07008664255463</c:v>
                </c:pt>
                <c:pt idx="1291">
                  <c:v>139.07008664255463</c:v>
                </c:pt>
                <c:pt idx="1292">
                  <c:v>139.07008664255463</c:v>
                </c:pt>
                <c:pt idx="1293">
                  <c:v>137.48484374611564</c:v>
                </c:pt>
                <c:pt idx="1294">
                  <c:v>136.66926387283954</c:v>
                </c:pt>
                <c:pt idx="1295">
                  <c:v>136.98182671774575</c:v>
                </c:pt>
                <c:pt idx="1296">
                  <c:v>137.6803550502834</c:v>
                </c:pt>
                <c:pt idx="1297">
                  <c:v>137.33829637443003</c:v>
                </c:pt>
                <c:pt idx="1298">
                  <c:v>137.33829637443003</c:v>
                </c:pt>
                <c:pt idx="1299">
                  <c:v>137.33829637443003</c:v>
                </c:pt>
                <c:pt idx="1300">
                  <c:v>136.52062404352372</c:v>
                </c:pt>
                <c:pt idx="1301">
                  <c:v>137.29163597966206</c:v>
                </c:pt>
                <c:pt idx="1302">
                  <c:v>137.18015070359198</c:v>
                </c:pt>
                <c:pt idx="1303">
                  <c:v>137.31225135907559</c:v>
                </c:pt>
                <c:pt idx="1304">
                  <c:v>136.50049838917653</c:v>
                </c:pt>
                <c:pt idx="1305">
                  <c:v>136.50049838917653</c:v>
                </c:pt>
                <c:pt idx="1306">
                  <c:v>136.50049838917653</c:v>
                </c:pt>
                <c:pt idx="1307">
                  <c:v>137.27051046143947</c:v>
                </c:pt>
                <c:pt idx="1308">
                  <c:v>138.33315711547206</c:v>
                </c:pt>
                <c:pt idx="1309">
                  <c:v>137.96340839664185</c:v>
                </c:pt>
                <c:pt idx="1310">
                  <c:v>138.10590901517742</c:v>
                </c:pt>
                <c:pt idx="1311">
                  <c:v>137.71398396320609</c:v>
                </c:pt>
                <c:pt idx="1312">
                  <c:v>137.71398396320609</c:v>
                </c:pt>
                <c:pt idx="1313">
                  <c:v>137.71398396320609</c:v>
                </c:pt>
                <c:pt idx="1314">
                  <c:v>138.38103744526828</c:v>
                </c:pt>
                <c:pt idx="1315">
                  <c:v>138.65877317948298</c:v>
                </c:pt>
                <c:pt idx="1316">
                  <c:v>137.6600924358209</c:v>
                </c:pt>
                <c:pt idx="1317">
                  <c:v>137.47365540327868</c:v>
                </c:pt>
                <c:pt idx="1318">
                  <c:v>137.5804715331094</c:v>
                </c:pt>
                <c:pt idx="1319">
                  <c:v>137.5804715331094</c:v>
                </c:pt>
                <c:pt idx="1320">
                  <c:v>137.5804715331094</c:v>
                </c:pt>
                <c:pt idx="1321">
                  <c:v>137.16428022435394</c:v>
                </c:pt>
                <c:pt idx="1322">
                  <c:v>136.45961726919285</c:v>
                </c:pt>
                <c:pt idx="1323">
                  <c:v>137.37400310695864</c:v>
                </c:pt>
                <c:pt idx="1324">
                  <c:v>137.80877336218322</c:v>
                </c:pt>
                <c:pt idx="1325">
                  <c:v>138.08424333771154</c:v>
                </c:pt>
                <c:pt idx="1326">
                  <c:v>138.08424333771154</c:v>
                </c:pt>
                <c:pt idx="1327">
                  <c:v>138.08424333771154</c:v>
                </c:pt>
                <c:pt idx="1328">
                  <c:v>138.27265394689374</c:v>
                </c:pt>
                <c:pt idx="1329">
                  <c:v>138.01041476926747</c:v>
                </c:pt>
                <c:pt idx="1330">
                  <c:v>138.62054502951912</c:v>
                </c:pt>
                <c:pt idx="1331">
                  <c:v>138.33442719109581</c:v>
                </c:pt>
                <c:pt idx="1332">
                  <c:v>138.24050309166651</c:v>
                </c:pt>
                <c:pt idx="1333">
                  <c:v>138.24050309166651</c:v>
                </c:pt>
                <c:pt idx="1334">
                  <c:v>138.24050309166651</c:v>
                </c:pt>
                <c:pt idx="1335">
                  <c:v>138.02572360393145</c:v>
                </c:pt>
                <c:pt idx="1336">
                  <c:v>138.36058907079294</c:v>
                </c:pt>
                <c:pt idx="1337">
                  <c:v>138.36784266643772</c:v>
                </c:pt>
                <c:pt idx="1338">
                  <c:v>138.85257488674941</c:v>
                </c:pt>
                <c:pt idx="1339">
                  <c:v>139.40726217042518</c:v>
                </c:pt>
                <c:pt idx="1340">
                  <c:v>139.40726217042518</c:v>
                </c:pt>
                <c:pt idx="1341">
                  <c:v>139.40726217042518</c:v>
                </c:pt>
                <c:pt idx="1342">
                  <c:v>139.71022179966698</c:v>
                </c:pt>
                <c:pt idx="1343">
                  <c:v>139.85774791298783</c:v>
                </c:pt>
                <c:pt idx="1344">
                  <c:v>140.55583215901862</c:v>
                </c:pt>
                <c:pt idx="1345">
                  <c:v>140.4091999746426</c:v>
                </c:pt>
                <c:pt idx="1346">
                  <c:v>140.7062719507002</c:v>
                </c:pt>
                <c:pt idx="1347">
                  <c:v>140.7062719507002</c:v>
                </c:pt>
                <c:pt idx="1348">
                  <c:v>140.7062719507002</c:v>
                </c:pt>
                <c:pt idx="1349">
                  <c:v>139.8538201286064</c:v>
                </c:pt>
                <c:pt idx="1350">
                  <c:v>139.24619690456382</c:v>
                </c:pt>
                <c:pt idx="1351">
                  <c:v>139.80284120157421</c:v>
                </c:pt>
                <c:pt idx="1352">
                  <c:v>140.86528105769739</c:v>
                </c:pt>
                <c:pt idx="1353">
                  <c:v>140.86972044544345</c:v>
                </c:pt>
                <c:pt idx="1354">
                  <c:v>140.86972044544345</c:v>
                </c:pt>
                <c:pt idx="1355">
                  <c:v>140.86972044544345</c:v>
                </c:pt>
                <c:pt idx="1356">
                  <c:v>140.85660563947545</c:v>
                </c:pt>
                <c:pt idx="1357">
                  <c:v>141.4571433700354</c:v>
                </c:pt>
                <c:pt idx="1358">
                  <c:v>140.73876895721838</c:v>
                </c:pt>
                <c:pt idx="1359">
                  <c:v>140.81960358613946</c:v>
                </c:pt>
                <c:pt idx="1360">
                  <c:v>141.16729424421703</c:v>
                </c:pt>
                <c:pt idx="1361">
                  <c:v>141.16729424421703</c:v>
                </c:pt>
                <c:pt idx="1362">
                  <c:v>141.16729424421703</c:v>
                </c:pt>
                <c:pt idx="1363">
                  <c:v>140.71402168147162</c:v>
                </c:pt>
                <c:pt idx="1364">
                  <c:v>140.31094225918415</c:v>
                </c:pt>
                <c:pt idx="1365">
                  <c:v>140.30179641528946</c:v>
                </c:pt>
                <c:pt idx="1366">
                  <c:v>140.70207354218761</c:v>
                </c:pt>
                <c:pt idx="1367">
                  <c:v>141.49114231472845</c:v>
                </c:pt>
                <c:pt idx="1368">
                  <c:v>141.49114231472845</c:v>
                </c:pt>
                <c:pt idx="1369">
                  <c:v>141.49114231472845</c:v>
                </c:pt>
                <c:pt idx="1370">
                  <c:v>140.98142308796628</c:v>
                </c:pt>
                <c:pt idx="1371">
                  <c:v>140.37688926596604</c:v>
                </c:pt>
                <c:pt idx="1372">
                  <c:v>140.17370205026302</c:v>
                </c:pt>
                <c:pt idx="1373">
                  <c:v>141.09192706413697</c:v>
                </c:pt>
                <c:pt idx="1374">
                  <c:v>141.04179150352851</c:v>
                </c:pt>
                <c:pt idx="1375">
                  <c:v>141.04179150352851</c:v>
                </c:pt>
                <c:pt idx="1376">
                  <c:v>141.04179150352851</c:v>
                </c:pt>
                <c:pt idx="1377">
                  <c:v>140.9687077716334</c:v>
                </c:pt>
                <c:pt idx="1378">
                  <c:v>141.13321666258014</c:v>
                </c:pt>
                <c:pt idx="1379">
                  <c:v>140.87112504634231</c:v>
                </c:pt>
                <c:pt idx="1380">
                  <c:v>140.99472501261388</c:v>
                </c:pt>
                <c:pt idx="1381">
                  <c:v>141.10492476406111</c:v>
                </c:pt>
                <c:pt idx="1382">
                  <c:v>141.10492476406111</c:v>
                </c:pt>
                <c:pt idx="1383">
                  <c:v>141.10492476406111</c:v>
                </c:pt>
                <c:pt idx="1384">
                  <c:v>141.30291426195674</c:v>
                </c:pt>
                <c:pt idx="1385">
                  <c:v>140.91021302562507</c:v>
                </c:pt>
                <c:pt idx="1386">
                  <c:v>141.27504883630834</c:v>
                </c:pt>
                <c:pt idx="1387">
                  <c:v>141.54612960048962</c:v>
                </c:pt>
                <c:pt idx="1388">
                  <c:v>141.82990676118033</c:v>
                </c:pt>
                <c:pt idx="1389">
                  <c:v>141.82990676118033</c:v>
                </c:pt>
                <c:pt idx="1390">
                  <c:v>141.82990676118033</c:v>
                </c:pt>
                <c:pt idx="1391">
                  <c:v>141.37284496563694</c:v>
                </c:pt>
                <c:pt idx="1392">
                  <c:v>141.73668491686558</c:v>
                </c:pt>
                <c:pt idx="1393">
                  <c:v>142.03908515045478</c:v>
                </c:pt>
                <c:pt idx="1394">
                  <c:v>142.74812433676223</c:v>
                </c:pt>
                <c:pt idx="1395">
                  <c:v>142.37644122797511</c:v>
                </c:pt>
                <c:pt idx="1396">
                  <c:v>142.37644122797511</c:v>
                </c:pt>
                <c:pt idx="1397">
                  <c:v>142.37644122797511</c:v>
                </c:pt>
                <c:pt idx="1398">
                  <c:v>142.33988870067128</c:v>
                </c:pt>
                <c:pt idx="1399">
                  <c:v>143.12814510990191</c:v>
                </c:pt>
                <c:pt idx="1400">
                  <c:v>142.93953473768644</c:v>
                </c:pt>
                <c:pt idx="1401">
                  <c:v>143.05249270579074</c:v>
                </c:pt>
                <c:pt idx="1402">
                  <c:v>143.09547244017907</c:v>
                </c:pt>
                <c:pt idx="1403">
                  <c:v>143.09547244017907</c:v>
                </c:pt>
                <c:pt idx="1404">
                  <c:v>143.09547244017907</c:v>
                </c:pt>
                <c:pt idx="1405">
                  <c:v>142.93926704502252</c:v>
                </c:pt>
                <c:pt idx="1406">
                  <c:v>142.81991725012475</c:v>
                </c:pt>
                <c:pt idx="1407">
                  <c:v>142.82726140293158</c:v>
                </c:pt>
                <c:pt idx="1408">
                  <c:v>143.57041785877877</c:v>
                </c:pt>
                <c:pt idx="1409">
                  <c:v>144.37338374447111</c:v>
                </c:pt>
                <c:pt idx="1410">
                  <c:v>144.37338374447111</c:v>
                </c:pt>
                <c:pt idx="1411">
                  <c:v>144.37338374447111</c:v>
                </c:pt>
                <c:pt idx="1412">
                  <c:v>144.60210194214952</c:v>
                </c:pt>
                <c:pt idx="1413">
                  <c:v>144.75435408771125</c:v>
                </c:pt>
                <c:pt idx="1414">
                  <c:v>144.82484547849708</c:v>
                </c:pt>
                <c:pt idx="1415">
                  <c:v>144.97641292523011</c:v>
                </c:pt>
                <c:pt idx="1416">
                  <c:v>144.65436317674386</c:v>
                </c:pt>
                <c:pt idx="1417">
                  <c:v>144.65436317674386</c:v>
                </c:pt>
                <c:pt idx="1418">
                  <c:v>144.65436317674386</c:v>
                </c:pt>
                <c:pt idx="1419">
                  <c:v>144.39683289370475</c:v>
                </c:pt>
                <c:pt idx="1420">
                  <c:v>145.19680678180393</c:v>
                </c:pt>
                <c:pt idx="1421">
                  <c:v>145.83499013088908</c:v>
                </c:pt>
                <c:pt idx="1422">
                  <c:v>145.84611159724739</c:v>
                </c:pt>
                <c:pt idx="1423">
                  <c:v>146.14297471702474</c:v>
                </c:pt>
                <c:pt idx="1424">
                  <c:v>146.14297471702474</c:v>
                </c:pt>
                <c:pt idx="1425">
                  <c:v>146.14297471702474</c:v>
                </c:pt>
                <c:pt idx="1426">
                  <c:v>146.21265103558554</c:v>
                </c:pt>
                <c:pt idx="1427">
                  <c:v>145.4240703916318</c:v>
                </c:pt>
                <c:pt idx="1428">
                  <c:v>146.1995889867695</c:v>
                </c:pt>
                <c:pt idx="1429">
                  <c:v>146.89294138255053</c:v>
                </c:pt>
                <c:pt idx="1430">
                  <c:v>148.34131972094448</c:v>
                </c:pt>
                <c:pt idx="1431">
                  <c:v>148.34131972094448</c:v>
                </c:pt>
                <c:pt idx="1432">
                  <c:v>148.34131972094448</c:v>
                </c:pt>
                <c:pt idx="1433">
                  <c:v>148.21390906289585</c:v>
                </c:pt>
                <c:pt idx="1434">
                  <c:v>148.09145131529223</c:v>
                </c:pt>
                <c:pt idx="1435">
                  <c:v>148.5173744714134</c:v>
                </c:pt>
                <c:pt idx="1436">
                  <c:v>148.41221182170469</c:v>
                </c:pt>
                <c:pt idx="1437">
                  <c:v>148.72552232136783</c:v>
                </c:pt>
                <c:pt idx="1438">
                  <c:v>148.72552232136783</c:v>
                </c:pt>
                <c:pt idx="1439">
                  <c:v>148.72552232136783</c:v>
                </c:pt>
                <c:pt idx="1440">
                  <c:v>149.2467429309053</c:v>
                </c:pt>
                <c:pt idx="1441">
                  <c:v>148.66462219165328</c:v>
                </c:pt>
                <c:pt idx="1442">
                  <c:v>148.61941864560174</c:v>
                </c:pt>
                <c:pt idx="1443">
                  <c:v>148.48266249812164</c:v>
                </c:pt>
                <c:pt idx="1444">
                  <c:v>148.50249791732963</c:v>
                </c:pt>
                <c:pt idx="1445">
                  <c:v>148.50249791732963</c:v>
                </c:pt>
                <c:pt idx="1446">
                  <c:v>148.50249791732963</c:v>
                </c:pt>
                <c:pt idx="1447">
                  <c:v>148.94594577803221</c:v>
                </c:pt>
                <c:pt idx="1448">
                  <c:v>148.98935741121636</c:v>
                </c:pt>
                <c:pt idx="1449">
                  <c:v>149.4439233167254</c:v>
                </c:pt>
                <c:pt idx="1450">
                  <c:v>149.91548978901224</c:v>
                </c:pt>
                <c:pt idx="1451">
                  <c:v>150.26859468681184</c:v>
                </c:pt>
                <c:pt idx="1452">
                  <c:v>150.26859468681184</c:v>
                </c:pt>
                <c:pt idx="1453">
                  <c:v>150.26859468681184</c:v>
                </c:pt>
                <c:pt idx="1454">
                  <c:v>150.26859468681184</c:v>
                </c:pt>
                <c:pt idx="1455">
                  <c:v>150.26859468681184</c:v>
                </c:pt>
                <c:pt idx="1456">
                  <c:v>149.55076712144822</c:v>
                </c:pt>
                <c:pt idx="1457">
                  <c:v>149.91776855515846</c:v>
                </c:pt>
                <c:pt idx="1458">
                  <c:v>150.52303258315303</c:v>
                </c:pt>
                <c:pt idx="1459">
                  <c:v>150.52303258315303</c:v>
                </c:pt>
                <c:pt idx="1460">
                  <c:v>150.52303258315303</c:v>
                </c:pt>
                <c:pt idx="1461">
                  <c:v>150.52303258315303</c:v>
                </c:pt>
                <c:pt idx="1462">
                  <c:v>150.57949664950522</c:v>
                </c:pt>
                <c:pt idx="1463">
                  <c:v>150.08471843332319</c:v>
                </c:pt>
                <c:pt idx="1464">
                  <c:v>148.79068665791502</c:v>
                </c:pt>
                <c:pt idx="1465">
                  <c:v>149.65317181072706</c:v>
                </c:pt>
                <c:pt idx="1466">
                  <c:v>149.65317181072706</c:v>
                </c:pt>
                <c:pt idx="1467">
                  <c:v>149.65317181072706</c:v>
                </c:pt>
                <c:pt idx="1468">
                  <c:v>150.25657766631278</c:v>
                </c:pt>
                <c:pt idx="1469">
                  <c:v>150.42786333179646</c:v>
                </c:pt>
                <c:pt idx="1470">
                  <c:v>150.29839465546829</c:v>
                </c:pt>
                <c:pt idx="1471">
                  <c:v>149.45504863470319</c:v>
                </c:pt>
                <c:pt idx="1472">
                  <c:v>149.13213039693943</c:v>
                </c:pt>
                <c:pt idx="1473">
                  <c:v>149.13213039693943</c:v>
                </c:pt>
                <c:pt idx="1474">
                  <c:v>149.13213039693943</c:v>
                </c:pt>
                <c:pt idx="1475">
                  <c:v>149.74181072241615</c:v>
                </c:pt>
                <c:pt idx="1476">
                  <c:v>150.04293415056907</c:v>
                </c:pt>
                <c:pt idx="1477">
                  <c:v>150.32779409562991</c:v>
                </c:pt>
                <c:pt idx="1478">
                  <c:v>150.4761369427591</c:v>
                </c:pt>
                <c:pt idx="1479">
                  <c:v>150.11410344695037</c:v>
                </c:pt>
                <c:pt idx="1480">
                  <c:v>150.11410344695037</c:v>
                </c:pt>
                <c:pt idx="1481">
                  <c:v>150.11410344695037</c:v>
                </c:pt>
                <c:pt idx="1482">
                  <c:v>150.90797131126428</c:v>
                </c:pt>
                <c:pt idx="1483">
                  <c:v>150.21582118141066</c:v>
                </c:pt>
                <c:pt idx="1484">
                  <c:v>150.13039631343449</c:v>
                </c:pt>
                <c:pt idx="1485">
                  <c:v>150.32758341868328</c:v>
                </c:pt>
                <c:pt idx="1486">
                  <c:v>150.45044186737519</c:v>
                </c:pt>
                <c:pt idx="1487">
                  <c:v>150.45044186737519</c:v>
                </c:pt>
                <c:pt idx="1488">
                  <c:v>150.45044186737519</c:v>
                </c:pt>
                <c:pt idx="1489">
                  <c:v>150.36201533433029</c:v>
                </c:pt>
                <c:pt idx="1490">
                  <c:v>149.96549397756004</c:v>
                </c:pt>
                <c:pt idx="1491">
                  <c:v>151.00672113869859</c:v>
                </c:pt>
                <c:pt idx="1492">
                  <c:v>150.9294416536153</c:v>
                </c:pt>
                <c:pt idx="1493">
                  <c:v>151.35881907912173</c:v>
                </c:pt>
                <c:pt idx="1494">
                  <c:v>151.35881907912173</c:v>
                </c:pt>
                <c:pt idx="1495">
                  <c:v>151.35881907912173</c:v>
                </c:pt>
                <c:pt idx="1496">
                  <c:v>151.56927334146732</c:v>
                </c:pt>
                <c:pt idx="1497">
                  <c:v>151.75386772339911</c:v>
                </c:pt>
                <c:pt idx="1498">
                  <c:v>152.40313423530796</c:v>
                </c:pt>
                <c:pt idx="1499">
                  <c:v>152.41154273441322</c:v>
                </c:pt>
                <c:pt idx="1500">
                  <c:v>152.72226700927266</c:v>
                </c:pt>
                <c:pt idx="1501">
                  <c:v>152.72226700927266</c:v>
                </c:pt>
                <c:pt idx="1502">
                  <c:v>152.72226700927266</c:v>
                </c:pt>
                <c:pt idx="1503">
                  <c:v>152.54175012511374</c:v>
                </c:pt>
                <c:pt idx="1504">
                  <c:v>152.63725774506207</c:v>
                </c:pt>
                <c:pt idx="1505">
                  <c:v>153.2083792289246</c:v>
                </c:pt>
                <c:pt idx="1506">
                  <c:v>153.22410010865542</c:v>
                </c:pt>
                <c:pt idx="1507">
                  <c:v>153.25532798697856</c:v>
                </c:pt>
                <c:pt idx="1508">
                  <c:v>153.25532798697856</c:v>
                </c:pt>
                <c:pt idx="1509">
                  <c:v>153.25532798697856</c:v>
                </c:pt>
                <c:pt idx="1510">
                  <c:v>153.59096664423299</c:v>
                </c:pt>
                <c:pt idx="1511">
                  <c:v>153.33932973142265</c:v>
                </c:pt>
                <c:pt idx="1512">
                  <c:v>153.65802104614903</c:v>
                </c:pt>
                <c:pt idx="1513">
                  <c:v>153.76380797748581</c:v>
                </c:pt>
                <c:pt idx="1514">
                  <c:v>153.35407475209553</c:v>
                </c:pt>
                <c:pt idx="1515">
                  <c:v>153.35407475209553</c:v>
                </c:pt>
                <c:pt idx="1516">
                  <c:v>153.35407475209553</c:v>
                </c:pt>
                <c:pt idx="1517">
                  <c:v>153.21855925553746</c:v>
                </c:pt>
                <c:pt idx="1518">
                  <c:v>151.03062165759849</c:v>
                </c:pt>
                <c:pt idx="1519">
                  <c:v>152.11960125806249</c:v>
                </c:pt>
                <c:pt idx="1520">
                  <c:v>151.79530549246778</c:v>
                </c:pt>
                <c:pt idx="1521">
                  <c:v>152.81458753461933</c:v>
                </c:pt>
                <c:pt idx="1522">
                  <c:v>152.81458753461933</c:v>
                </c:pt>
                <c:pt idx="1523">
                  <c:v>152.81458753461933</c:v>
                </c:pt>
                <c:pt idx="1524">
                  <c:v>151.65883581827393</c:v>
                </c:pt>
                <c:pt idx="1525">
                  <c:v>151.63526084518989</c:v>
                </c:pt>
                <c:pt idx="1526">
                  <c:v>152.83062093627109</c:v>
                </c:pt>
                <c:pt idx="1527">
                  <c:v>153.54207096337797</c:v>
                </c:pt>
                <c:pt idx="1528">
                  <c:v>153.46383297562696</c:v>
                </c:pt>
                <c:pt idx="1529">
                  <c:v>153.46383297562696</c:v>
                </c:pt>
                <c:pt idx="1530">
                  <c:v>153.46383297562696</c:v>
                </c:pt>
                <c:pt idx="1531">
                  <c:v>154.15910490286544</c:v>
                </c:pt>
                <c:pt idx="1532">
                  <c:v>154.31615314334439</c:v>
                </c:pt>
                <c:pt idx="1533">
                  <c:v>154.05865264296392</c:v>
                </c:pt>
                <c:pt idx="1534">
                  <c:v>154.23413308068208</c:v>
                </c:pt>
                <c:pt idx="1535">
                  <c:v>155.18228079414993</c:v>
                </c:pt>
                <c:pt idx="1536">
                  <c:v>155.18228079414993</c:v>
                </c:pt>
                <c:pt idx="1537">
                  <c:v>155.18228079414993</c:v>
                </c:pt>
                <c:pt idx="1538">
                  <c:v>155.35403096653542</c:v>
                </c:pt>
                <c:pt idx="1539">
                  <c:v>154.82160995232394</c:v>
                </c:pt>
                <c:pt idx="1540">
                  <c:v>155.63133858384518</c:v>
                </c:pt>
                <c:pt idx="1541">
                  <c:v>155.21806896360437</c:v>
                </c:pt>
                <c:pt idx="1542">
                  <c:v>154.49737982317004</c:v>
                </c:pt>
                <c:pt idx="1543">
                  <c:v>154.49737982317004</c:v>
                </c:pt>
                <c:pt idx="1544">
                  <c:v>154.49737982317004</c:v>
                </c:pt>
                <c:pt idx="1545">
                  <c:v>155.52458102691324</c:v>
                </c:pt>
                <c:pt idx="1546">
                  <c:v>155.0437609793388</c:v>
                </c:pt>
                <c:pt idx="1547">
                  <c:v>154.94446226438959</c:v>
                </c:pt>
                <c:pt idx="1548">
                  <c:v>154.65741868301296</c:v>
                </c:pt>
                <c:pt idx="1549">
                  <c:v>155.21026241459816</c:v>
                </c:pt>
                <c:pt idx="1550">
                  <c:v>155.21026241459816</c:v>
                </c:pt>
                <c:pt idx="1551">
                  <c:v>155.21026241459816</c:v>
                </c:pt>
                <c:pt idx="1552">
                  <c:v>155.50819270451848</c:v>
                </c:pt>
                <c:pt idx="1553">
                  <c:v>155.67977734021059</c:v>
                </c:pt>
                <c:pt idx="1554">
                  <c:v>155.77239308255503</c:v>
                </c:pt>
                <c:pt idx="1555">
                  <c:v>155.59867884358408</c:v>
                </c:pt>
                <c:pt idx="1556">
                  <c:v>155.59867884358408</c:v>
                </c:pt>
                <c:pt idx="1557">
                  <c:v>155.59867884358408</c:v>
                </c:pt>
                <c:pt idx="1558">
                  <c:v>155.59867884358408</c:v>
                </c:pt>
                <c:pt idx="1559">
                  <c:v>155.59867884358408</c:v>
                </c:pt>
                <c:pt idx="1560">
                  <c:v>156.05844401933382</c:v>
                </c:pt>
                <c:pt idx="1561">
                  <c:v>155.71497102626546</c:v>
                </c:pt>
                <c:pt idx="1562">
                  <c:v>155.24429584187081</c:v>
                </c:pt>
                <c:pt idx="1563">
                  <c:v>154.72764015941215</c:v>
                </c:pt>
                <c:pt idx="1564">
                  <c:v>154.72764015941215</c:v>
                </c:pt>
                <c:pt idx="1565">
                  <c:v>154.72764015941215</c:v>
                </c:pt>
                <c:pt idx="1566">
                  <c:v>154.1679245662759</c:v>
                </c:pt>
                <c:pt idx="1567">
                  <c:v>153.9163533218948</c:v>
                </c:pt>
                <c:pt idx="1568">
                  <c:v>153.83641559644545</c:v>
                </c:pt>
                <c:pt idx="1569">
                  <c:v>153.44708731849821</c:v>
                </c:pt>
                <c:pt idx="1570">
                  <c:v>153.53083894956976</c:v>
                </c:pt>
                <c:pt idx="1571">
                  <c:v>153.53083894956976</c:v>
                </c:pt>
                <c:pt idx="1572">
                  <c:v>153.53083894956976</c:v>
                </c:pt>
                <c:pt idx="1573">
                  <c:v>153.8493024449769</c:v>
                </c:pt>
                <c:pt idx="1574">
                  <c:v>153.19528735693569</c:v>
                </c:pt>
                <c:pt idx="1575">
                  <c:v>153.21196790734817</c:v>
                </c:pt>
                <c:pt idx="1576">
                  <c:v>153.07682448625343</c:v>
                </c:pt>
                <c:pt idx="1577">
                  <c:v>153.68466880462034</c:v>
                </c:pt>
                <c:pt idx="1578">
                  <c:v>153.68466880462034</c:v>
                </c:pt>
                <c:pt idx="1579">
                  <c:v>153.68466880462034</c:v>
                </c:pt>
                <c:pt idx="1580">
                  <c:v>153.70081641605924</c:v>
                </c:pt>
                <c:pt idx="1581">
                  <c:v>153.70081641605924</c:v>
                </c:pt>
                <c:pt idx="1582">
                  <c:v>154.34063365822198</c:v>
                </c:pt>
                <c:pt idx="1583">
                  <c:v>153.24870820506979</c:v>
                </c:pt>
                <c:pt idx="1584">
                  <c:v>153.67567323872063</c:v>
                </c:pt>
                <c:pt idx="1585">
                  <c:v>153.67567323872063</c:v>
                </c:pt>
                <c:pt idx="1586">
                  <c:v>153.67567323872063</c:v>
                </c:pt>
                <c:pt idx="1587">
                  <c:v>153.91633011051275</c:v>
                </c:pt>
                <c:pt idx="1588">
                  <c:v>153.60938231457612</c:v>
                </c:pt>
                <c:pt idx="1589">
                  <c:v>153.10296348246314</c:v>
                </c:pt>
                <c:pt idx="1590">
                  <c:v>153.67002928041984</c:v>
                </c:pt>
                <c:pt idx="1591">
                  <c:v>152.74836195072126</c:v>
                </c:pt>
                <c:pt idx="1592">
                  <c:v>152.74836195072126</c:v>
                </c:pt>
                <c:pt idx="1593">
                  <c:v>152.74836195072126</c:v>
                </c:pt>
                <c:pt idx="1594">
                  <c:v>152.89870967178504</c:v>
                </c:pt>
                <c:pt idx="1595">
                  <c:v>152.83300904154763</c:v>
                </c:pt>
                <c:pt idx="1596">
                  <c:v>153.26924070910914</c:v>
                </c:pt>
                <c:pt idx="1597">
                  <c:v>153.36781901325455</c:v>
                </c:pt>
                <c:pt idx="1598">
                  <c:v>152.95776697705017</c:v>
                </c:pt>
                <c:pt idx="1599">
                  <c:v>152.95776697705017</c:v>
                </c:pt>
                <c:pt idx="1600">
                  <c:v>152.95776697705017</c:v>
                </c:pt>
                <c:pt idx="1601">
                  <c:v>153.5796639714946</c:v>
                </c:pt>
                <c:pt idx="1602">
                  <c:v>154.3934182242169</c:v>
                </c:pt>
                <c:pt idx="1603">
                  <c:v>154.39800246991248</c:v>
                </c:pt>
                <c:pt idx="1604">
                  <c:v>154.77882993138641</c:v>
                </c:pt>
                <c:pt idx="1605">
                  <c:v>154.3130147915536</c:v>
                </c:pt>
                <c:pt idx="1606">
                  <c:v>154.3130147915536</c:v>
                </c:pt>
                <c:pt idx="1607">
                  <c:v>154.3130147915536</c:v>
                </c:pt>
                <c:pt idx="1608">
                  <c:v>154.3130147915536</c:v>
                </c:pt>
                <c:pt idx="1609">
                  <c:v>154.42790503156343</c:v>
                </c:pt>
                <c:pt idx="1610">
                  <c:v>153.73488590011536</c:v>
                </c:pt>
                <c:pt idx="1611">
                  <c:v>154.53436778670152</c:v>
                </c:pt>
                <c:pt idx="1612">
                  <c:v>153.72991365235021</c:v>
                </c:pt>
                <c:pt idx="1613">
                  <c:v>153.72991365235021</c:v>
                </c:pt>
                <c:pt idx="1614">
                  <c:v>153.72991365235021</c:v>
                </c:pt>
                <c:pt idx="1615">
                  <c:v>153.19864164969826</c:v>
                </c:pt>
                <c:pt idx="1616">
                  <c:v>153.55091179034801</c:v>
                </c:pt>
                <c:pt idx="1617">
                  <c:v>152.51369998983864</c:v>
                </c:pt>
                <c:pt idx="1618">
                  <c:v>151.6090949139851</c:v>
                </c:pt>
                <c:pt idx="1619">
                  <c:v>150.97029340751968</c:v>
                </c:pt>
                <c:pt idx="1620">
                  <c:v>150.97029340751968</c:v>
                </c:pt>
                <c:pt idx="1621">
                  <c:v>150.97029340751968</c:v>
                </c:pt>
                <c:pt idx="1622">
                  <c:v>151.57735438030997</c:v>
                </c:pt>
                <c:pt idx="1623">
                  <c:v>151.32690067649264</c:v>
                </c:pt>
                <c:pt idx="1624">
                  <c:v>150.91147397609387</c:v>
                </c:pt>
                <c:pt idx="1625">
                  <c:v>150.93799845639271</c:v>
                </c:pt>
                <c:pt idx="1626">
                  <c:v>150.71531210219385</c:v>
                </c:pt>
                <c:pt idx="1627">
                  <c:v>150.71531210219385</c:v>
                </c:pt>
                <c:pt idx="1628">
                  <c:v>150.71531210219385</c:v>
                </c:pt>
                <c:pt idx="1629">
                  <c:v>150.86933044708152</c:v>
                </c:pt>
                <c:pt idx="1630">
                  <c:v>150.71671606387744</c:v>
                </c:pt>
                <c:pt idx="1631">
                  <c:v>150.74553170489165</c:v>
                </c:pt>
                <c:pt idx="1632">
                  <c:v>150.60320679798608</c:v>
                </c:pt>
                <c:pt idx="1633">
                  <c:v>150.82030109086944</c:v>
                </c:pt>
                <c:pt idx="1634">
                  <c:v>150.82030109086944</c:v>
                </c:pt>
                <c:pt idx="1635">
                  <c:v>150.82030109086944</c:v>
                </c:pt>
                <c:pt idx="1636">
                  <c:v>150.04968613701848</c:v>
                </c:pt>
                <c:pt idx="1637">
                  <c:v>150.24523471276905</c:v>
                </c:pt>
                <c:pt idx="1638">
                  <c:v>149.91976135090255</c:v>
                </c:pt>
                <c:pt idx="1639">
                  <c:v>150.36820587437282</c:v>
                </c:pt>
                <c:pt idx="1640">
                  <c:v>150.05414015250935</c:v>
                </c:pt>
                <c:pt idx="1641">
                  <c:v>150.05414015250935</c:v>
                </c:pt>
                <c:pt idx="1642">
                  <c:v>150.05414015250935</c:v>
                </c:pt>
                <c:pt idx="1643">
                  <c:v>150.8671688727292</c:v>
                </c:pt>
                <c:pt idx="1644">
                  <c:v>151.22703538403161</c:v>
                </c:pt>
                <c:pt idx="1645">
                  <c:v>151.66621033283184</c:v>
                </c:pt>
                <c:pt idx="1646">
                  <c:v>152.12117122060022</c:v>
                </c:pt>
                <c:pt idx="1647">
                  <c:v>151.7216410368236</c:v>
                </c:pt>
                <c:pt idx="1648">
                  <c:v>151.7216410368236</c:v>
                </c:pt>
                <c:pt idx="1649">
                  <c:v>151.7216410368236</c:v>
                </c:pt>
                <c:pt idx="1650">
                  <c:v>151.43613174390342</c:v>
                </c:pt>
                <c:pt idx="1651">
                  <c:v>151.85768861264032</c:v>
                </c:pt>
                <c:pt idx="1652">
                  <c:v>151.86908809347199</c:v>
                </c:pt>
                <c:pt idx="1653">
                  <c:v>151.62769707228895</c:v>
                </c:pt>
                <c:pt idx="1654">
                  <c:v>151.83653853115175</c:v>
                </c:pt>
                <c:pt idx="1655">
                  <c:v>151.83653853115175</c:v>
                </c:pt>
                <c:pt idx="1656">
                  <c:v>151.83653853115175</c:v>
                </c:pt>
                <c:pt idx="1657">
                  <c:v>151.82595294310821</c:v>
                </c:pt>
                <c:pt idx="1658">
                  <c:v>151.52103791406645</c:v>
                </c:pt>
                <c:pt idx="1659">
                  <c:v>152.07988328243655</c:v>
                </c:pt>
                <c:pt idx="1660">
                  <c:v>151.92339131418242</c:v>
                </c:pt>
                <c:pt idx="1661">
                  <c:v>152.95964508943146</c:v>
                </c:pt>
                <c:pt idx="1662">
                  <c:v>152.95964508943146</c:v>
                </c:pt>
                <c:pt idx="1663">
                  <c:v>152.95964508943146</c:v>
                </c:pt>
                <c:pt idx="1664">
                  <c:v>152.18473568115132</c:v>
                </c:pt>
                <c:pt idx="1665">
                  <c:v>152.08576708993576</c:v>
                </c:pt>
                <c:pt idx="1666">
                  <c:v>151.69773360528686</c:v>
                </c:pt>
                <c:pt idx="1667">
                  <c:v>151.66277617663877</c:v>
                </c:pt>
                <c:pt idx="1668">
                  <c:v>151.1448126610114</c:v>
                </c:pt>
                <c:pt idx="1669">
                  <c:v>151.1448126610114</c:v>
                </c:pt>
                <c:pt idx="1670">
                  <c:v>151.1448126610114</c:v>
                </c:pt>
                <c:pt idx="1671">
                  <c:v>151.84620190703137</c:v>
                </c:pt>
                <c:pt idx="1672">
                  <c:v>151.63361026211663</c:v>
                </c:pt>
                <c:pt idx="1673">
                  <c:v>151.10488253576671</c:v>
                </c:pt>
                <c:pt idx="1674">
                  <c:v>150.96683755449541</c:v>
                </c:pt>
                <c:pt idx="1675">
                  <c:v>151.06772086043057</c:v>
                </c:pt>
                <c:pt idx="1676">
                  <c:v>151.06772086043057</c:v>
                </c:pt>
                <c:pt idx="1677">
                  <c:v>151.06772086043057</c:v>
                </c:pt>
                <c:pt idx="1678">
                  <c:v>149.75421047185642</c:v>
                </c:pt>
                <c:pt idx="1679">
                  <c:v>149.6268742863071</c:v>
                </c:pt>
                <c:pt idx="1680">
                  <c:v>150.28806706114361</c:v>
                </c:pt>
                <c:pt idx="1681">
                  <c:v>149.98787542035845</c:v>
                </c:pt>
                <c:pt idx="1682">
                  <c:v>150.36112873913862</c:v>
                </c:pt>
                <c:pt idx="1683">
                  <c:v>150.36112873913862</c:v>
                </c:pt>
                <c:pt idx="1684">
                  <c:v>150.36112873913862</c:v>
                </c:pt>
                <c:pt idx="1685">
                  <c:v>149.74797914127592</c:v>
                </c:pt>
                <c:pt idx="1686">
                  <c:v>150.11737351626593</c:v>
                </c:pt>
                <c:pt idx="1687">
                  <c:v>148.93720845363922</c:v>
                </c:pt>
                <c:pt idx="1688">
                  <c:v>146.78232377870347</c:v>
                </c:pt>
                <c:pt idx="1689">
                  <c:v>145.65123010684687</c:v>
                </c:pt>
                <c:pt idx="1690">
                  <c:v>145.65123010684687</c:v>
                </c:pt>
                <c:pt idx="1691">
                  <c:v>145.65123010684687</c:v>
                </c:pt>
                <c:pt idx="1692">
                  <c:v>146.38403525298028</c:v>
                </c:pt>
                <c:pt idx="1693">
                  <c:v>146.03819396191233</c:v>
                </c:pt>
                <c:pt idx="1694">
                  <c:v>147.75266107094177</c:v>
                </c:pt>
                <c:pt idx="1695">
                  <c:v>148.12689696255225</c:v>
                </c:pt>
                <c:pt idx="1696">
                  <c:v>148.15723276356727</c:v>
                </c:pt>
                <c:pt idx="1697">
                  <c:v>148.15723276356727</c:v>
                </c:pt>
                <c:pt idx="1698">
                  <c:v>148.15723276356727</c:v>
                </c:pt>
                <c:pt idx="1699">
                  <c:v>148.3169301444135</c:v>
                </c:pt>
                <c:pt idx="1700">
                  <c:v>148.40165208812374</c:v>
                </c:pt>
                <c:pt idx="1701">
                  <c:v>148.5458507065984</c:v>
                </c:pt>
                <c:pt idx="1702">
                  <c:v>148.54809820930026</c:v>
                </c:pt>
                <c:pt idx="1703">
                  <c:v>149.39633683073848</c:v>
                </c:pt>
                <c:pt idx="1704">
                  <c:v>149.39633683073848</c:v>
                </c:pt>
                <c:pt idx="1705">
                  <c:v>149.39633683073848</c:v>
                </c:pt>
                <c:pt idx="1706">
                  <c:v>150.04349382884416</c:v>
                </c:pt>
                <c:pt idx="1707">
                  <c:v>150.02995085728836</c:v>
                </c:pt>
                <c:pt idx="1708">
                  <c:v>150.01592584131583</c:v>
                </c:pt>
                <c:pt idx="1709">
                  <c:v>150.02327674866609</c:v>
                </c:pt>
                <c:pt idx="1710">
                  <c:v>149.64222416172271</c:v>
                </c:pt>
                <c:pt idx="1711">
                  <c:v>149.64222416172271</c:v>
                </c:pt>
                <c:pt idx="1712">
                  <c:v>149.64222416172271</c:v>
                </c:pt>
                <c:pt idx="1713">
                  <c:v>148.87354273261661</c:v>
                </c:pt>
                <c:pt idx="1714">
                  <c:v>149.08402192776791</c:v>
                </c:pt>
                <c:pt idx="1715">
                  <c:v>148.53944423956918</c:v>
                </c:pt>
                <c:pt idx="1716">
                  <c:v>147.16902057112284</c:v>
                </c:pt>
                <c:pt idx="1717">
                  <c:v>146.72503707594998</c:v>
                </c:pt>
                <c:pt idx="1718">
                  <c:v>146.72503707594998</c:v>
                </c:pt>
                <c:pt idx="1719">
                  <c:v>146.72503707594998</c:v>
                </c:pt>
                <c:pt idx="1720">
                  <c:v>145.91567522901099</c:v>
                </c:pt>
                <c:pt idx="1721">
                  <c:v>145.58523088658859</c:v>
                </c:pt>
                <c:pt idx="1722">
                  <c:v>146.0914302876638</c:v>
                </c:pt>
                <c:pt idx="1723">
                  <c:v>145.73671925712077</c:v>
                </c:pt>
                <c:pt idx="1724">
                  <c:v>146.37852429820924</c:v>
                </c:pt>
                <c:pt idx="1725">
                  <c:v>146.37852429820924</c:v>
                </c:pt>
                <c:pt idx="1726">
                  <c:v>146.37852429820924</c:v>
                </c:pt>
                <c:pt idx="1727">
                  <c:v>146.44769525771991</c:v>
                </c:pt>
                <c:pt idx="1728">
                  <c:v>145.50568909964124</c:v>
                </c:pt>
                <c:pt idx="1729">
                  <c:v>145.86883585184438</c:v>
                </c:pt>
                <c:pt idx="1730">
                  <c:v>146.19688398842447</c:v>
                </c:pt>
                <c:pt idx="1731">
                  <c:v>146.46827546259675</c:v>
                </c:pt>
                <c:pt idx="1732">
                  <c:v>146.46827546259675</c:v>
                </c:pt>
                <c:pt idx="1733">
                  <c:v>146.46827546259675</c:v>
                </c:pt>
                <c:pt idx="1734">
                  <c:v>146.68737532875875</c:v>
                </c:pt>
                <c:pt idx="1735">
                  <c:v>147.4301287425628</c:v>
                </c:pt>
                <c:pt idx="1736">
                  <c:v>148.00239987439863</c:v>
                </c:pt>
                <c:pt idx="1737">
                  <c:v>148.0078902163352</c:v>
                </c:pt>
                <c:pt idx="1738">
                  <c:v>147.71475217003575</c:v>
                </c:pt>
                <c:pt idx="1739">
                  <c:v>147.71475217003575</c:v>
                </c:pt>
                <c:pt idx="1740">
                  <c:v>147.71475217003575</c:v>
                </c:pt>
                <c:pt idx="1741">
                  <c:v>148.66668621318323</c:v>
                </c:pt>
                <c:pt idx="1742">
                  <c:v>148.59731773642051</c:v>
                </c:pt>
                <c:pt idx="1743">
                  <c:v>149.14194581301069</c:v>
                </c:pt>
                <c:pt idx="1744">
                  <c:v>148.88410857119865</c:v>
                </c:pt>
                <c:pt idx="1745">
                  <c:v>148.29410428474881</c:v>
                </c:pt>
                <c:pt idx="1746">
                  <c:v>148.29410428474881</c:v>
                </c:pt>
                <c:pt idx="1747">
                  <c:v>148.29410428474881</c:v>
                </c:pt>
                <c:pt idx="1748">
                  <c:v>148.57893291388871</c:v>
                </c:pt>
                <c:pt idx="1749">
                  <c:v>148.08334211939257</c:v>
                </c:pt>
                <c:pt idx="1750">
                  <c:v>148.87791598290084</c:v>
                </c:pt>
                <c:pt idx="1751">
                  <c:v>148.06415401453668</c:v>
                </c:pt>
                <c:pt idx="1752">
                  <c:v>147.6406614427577</c:v>
                </c:pt>
                <c:pt idx="1753">
                  <c:v>147.6406614427577</c:v>
                </c:pt>
                <c:pt idx="1754">
                  <c:v>147.6406614427577</c:v>
                </c:pt>
                <c:pt idx="1755">
                  <c:v>147.22848971129224</c:v>
                </c:pt>
                <c:pt idx="1756">
                  <c:v>148.61026077072748</c:v>
                </c:pt>
                <c:pt idx="1757">
                  <c:v>148.30973905959897</c:v>
                </c:pt>
                <c:pt idx="1758">
                  <c:v>148.70495956742366</c:v>
                </c:pt>
                <c:pt idx="1759">
                  <c:v>147.67555575846967</c:v>
                </c:pt>
                <c:pt idx="1760">
                  <c:v>147.67555575846967</c:v>
                </c:pt>
                <c:pt idx="1761">
                  <c:v>147.67555575846967</c:v>
                </c:pt>
                <c:pt idx="1762">
                  <c:v>147.66108017856229</c:v>
                </c:pt>
                <c:pt idx="1763">
                  <c:v>147.7268463136142</c:v>
                </c:pt>
                <c:pt idx="1764">
                  <c:v>148.11756215232231</c:v>
                </c:pt>
                <c:pt idx="1765">
                  <c:v>149.09001134497336</c:v>
                </c:pt>
                <c:pt idx="1766">
                  <c:v>149.11085825469095</c:v>
                </c:pt>
                <c:pt idx="1767">
                  <c:v>149.11085825469095</c:v>
                </c:pt>
                <c:pt idx="1768">
                  <c:v>149.11085825469095</c:v>
                </c:pt>
                <c:pt idx="1769">
                  <c:v>148.83831322208451</c:v>
                </c:pt>
                <c:pt idx="1770">
                  <c:v>148.81814768553537</c:v>
                </c:pt>
                <c:pt idx="1771">
                  <c:v>147.99847891847602</c:v>
                </c:pt>
                <c:pt idx="1772">
                  <c:v>147.97528913561968</c:v>
                </c:pt>
                <c:pt idx="1773">
                  <c:v>147.92002805349605</c:v>
                </c:pt>
                <c:pt idx="1774">
                  <c:v>147.92002805349605</c:v>
                </c:pt>
                <c:pt idx="1775">
                  <c:v>147.92002805349605</c:v>
                </c:pt>
                <c:pt idx="1776">
                  <c:v>147.28918655440717</c:v>
                </c:pt>
                <c:pt idx="1777">
                  <c:v>146.35904546732695</c:v>
                </c:pt>
                <c:pt idx="1778">
                  <c:v>146.524189728518</c:v>
                </c:pt>
                <c:pt idx="1779">
                  <c:v>145.50820940229289</c:v>
                </c:pt>
                <c:pt idx="1780">
                  <c:v>144.88217064940395</c:v>
                </c:pt>
                <c:pt idx="1781">
                  <c:v>144.88217064940395</c:v>
                </c:pt>
                <c:pt idx="1782">
                  <c:v>144.88217064940395</c:v>
                </c:pt>
                <c:pt idx="1783">
                  <c:v>143.27527801381146</c:v>
                </c:pt>
                <c:pt idx="1784">
                  <c:v>142.67726595895004</c:v>
                </c:pt>
                <c:pt idx="1785">
                  <c:v>141.77808385848502</c:v>
                </c:pt>
                <c:pt idx="1786">
                  <c:v>141.09745683396156</c:v>
                </c:pt>
                <c:pt idx="1787">
                  <c:v>141.50671905217703</c:v>
                </c:pt>
                <c:pt idx="1788">
                  <c:v>141.50671905217703</c:v>
                </c:pt>
                <c:pt idx="1789">
                  <c:v>141.50671905217703</c:v>
                </c:pt>
                <c:pt idx="1790">
                  <c:v>142.18108871365769</c:v>
                </c:pt>
                <c:pt idx="1791">
                  <c:v>141.37911117929278</c:v>
                </c:pt>
                <c:pt idx="1792">
                  <c:v>141.41704927255827</c:v>
                </c:pt>
                <c:pt idx="1793">
                  <c:v>141.45212200120071</c:v>
                </c:pt>
                <c:pt idx="1794">
                  <c:v>141.55112986476189</c:v>
                </c:pt>
                <c:pt idx="1795">
                  <c:v>141.55112986476189</c:v>
                </c:pt>
                <c:pt idx="1796">
                  <c:v>141.55112986476189</c:v>
                </c:pt>
                <c:pt idx="1797">
                  <c:v>141.42137084381625</c:v>
                </c:pt>
                <c:pt idx="1798">
                  <c:v>139.97594614290617</c:v>
                </c:pt>
                <c:pt idx="1799">
                  <c:v>140.1965319629447</c:v>
                </c:pt>
                <c:pt idx="1800">
                  <c:v>139.69648418063753</c:v>
                </c:pt>
                <c:pt idx="1801">
                  <c:v>140.50145028425533</c:v>
                </c:pt>
                <c:pt idx="1802">
                  <c:v>140.50145028425533</c:v>
                </c:pt>
                <c:pt idx="1803">
                  <c:v>140.50145028425533</c:v>
                </c:pt>
                <c:pt idx="1804">
                  <c:v>140.19251336898358</c:v>
                </c:pt>
                <c:pt idx="1805">
                  <c:v>141.15877453162497</c:v>
                </c:pt>
                <c:pt idx="1806">
                  <c:v>140.66341069585351</c:v>
                </c:pt>
                <c:pt idx="1807">
                  <c:v>140.59288133696597</c:v>
                </c:pt>
                <c:pt idx="1808">
                  <c:v>140.60881350156689</c:v>
                </c:pt>
                <c:pt idx="1809">
                  <c:v>140.60881350156689</c:v>
                </c:pt>
                <c:pt idx="1810">
                  <c:v>140.60881350156689</c:v>
                </c:pt>
                <c:pt idx="1811">
                  <c:v>139.60230921527278</c:v>
                </c:pt>
                <c:pt idx="1812">
                  <c:v>139.80956508951508</c:v>
                </c:pt>
                <c:pt idx="1813">
                  <c:v>139.80049896049863</c:v>
                </c:pt>
                <c:pt idx="1814">
                  <c:v>139.74630057834182</c:v>
                </c:pt>
                <c:pt idx="1815">
                  <c:v>139.36392780477598</c:v>
                </c:pt>
                <c:pt idx="1816">
                  <c:v>139.36392780477598</c:v>
                </c:pt>
                <c:pt idx="1817">
                  <c:v>139.36392780477598</c:v>
                </c:pt>
                <c:pt idx="1818">
                  <c:v>139.27926813414433</c:v>
                </c:pt>
                <c:pt idx="1819">
                  <c:v>139.27926813414433</c:v>
                </c:pt>
                <c:pt idx="1820">
                  <c:v>139.27926813414433</c:v>
                </c:pt>
                <c:pt idx="1821">
                  <c:v>139.21355183977681</c:v>
                </c:pt>
                <c:pt idx="1822">
                  <c:v>139.78722705926759</c:v>
                </c:pt>
                <c:pt idx="1823">
                  <c:v>139.78722705926759</c:v>
                </c:pt>
                <c:pt idx="1824">
                  <c:v>139.78722705926759</c:v>
                </c:pt>
                <c:pt idx="1825">
                  <c:v>140.02367733745024</c:v>
                </c:pt>
                <c:pt idx="1826">
                  <c:v>140.02367733745024</c:v>
                </c:pt>
                <c:pt idx="1827">
                  <c:v>140.54762334229002</c:v>
                </c:pt>
                <c:pt idx="1828">
                  <c:v>138.72148935678092</c:v>
                </c:pt>
                <c:pt idx="1829">
                  <c:v>137.90967713536025</c:v>
                </c:pt>
                <c:pt idx="1830">
                  <c:v>137.90967713536025</c:v>
                </c:pt>
                <c:pt idx="1831">
                  <c:v>137.90967713536025</c:v>
                </c:pt>
                <c:pt idx="1832">
                  <c:v>135.10498556829924</c:v>
                </c:pt>
                <c:pt idx="1833">
                  <c:v>134.76271313496761</c:v>
                </c:pt>
                <c:pt idx="1834">
                  <c:v>132.9544657768395</c:v>
                </c:pt>
                <c:pt idx="1835">
                  <c:v>131.57321042466558</c:v>
                </c:pt>
                <c:pt idx="1836">
                  <c:v>132.48886601453685</c:v>
                </c:pt>
                <c:pt idx="1837">
                  <c:v>132.48886601453685</c:v>
                </c:pt>
                <c:pt idx="1838">
                  <c:v>132.48886601453685</c:v>
                </c:pt>
                <c:pt idx="1839">
                  <c:v>133.7598660042101</c:v>
                </c:pt>
                <c:pt idx="1840">
                  <c:v>133.43177393757486</c:v>
                </c:pt>
                <c:pt idx="1841">
                  <c:v>132.93906684004457</c:v>
                </c:pt>
                <c:pt idx="1842">
                  <c:v>133.94211185929265</c:v>
                </c:pt>
                <c:pt idx="1843">
                  <c:v>134.66351883972567</c:v>
                </c:pt>
                <c:pt idx="1844">
                  <c:v>134.66351883972567</c:v>
                </c:pt>
                <c:pt idx="1845">
                  <c:v>134.66351883972567</c:v>
                </c:pt>
                <c:pt idx="1846">
                  <c:v>136.37766821709226</c:v>
                </c:pt>
                <c:pt idx="1847">
                  <c:v>138.54852827330672</c:v>
                </c:pt>
                <c:pt idx="1848">
                  <c:v>140.17654907637228</c:v>
                </c:pt>
                <c:pt idx="1849">
                  <c:v>138.56556577265417</c:v>
                </c:pt>
                <c:pt idx="1850">
                  <c:v>140.14188077948393</c:v>
                </c:pt>
                <c:pt idx="1851">
                  <c:v>140.14188077948393</c:v>
                </c:pt>
                <c:pt idx="1852">
                  <c:v>140.14188077948393</c:v>
                </c:pt>
                <c:pt idx="1853">
                  <c:v>139.73191485273628</c:v>
                </c:pt>
                <c:pt idx="1854">
                  <c:v>141.19717503340297</c:v>
                </c:pt>
                <c:pt idx="1855">
                  <c:v>141.1265786699723</c:v>
                </c:pt>
                <c:pt idx="1856">
                  <c:v>140.35052127359785</c:v>
                </c:pt>
                <c:pt idx="1857">
                  <c:v>141.15695762286532</c:v>
                </c:pt>
                <c:pt idx="1858">
                  <c:v>141.15695762286532</c:v>
                </c:pt>
                <c:pt idx="1859">
                  <c:v>141.15695762286532</c:v>
                </c:pt>
                <c:pt idx="1860">
                  <c:v>142.53360113934158</c:v>
                </c:pt>
                <c:pt idx="1861">
                  <c:v>141.77475015118614</c:v>
                </c:pt>
                <c:pt idx="1862">
                  <c:v>141.34074359538792</c:v>
                </c:pt>
                <c:pt idx="1863">
                  <c:v>141.00657187026022</c:v>
                </c:pt>
                <c:pt idx="1864">
                  <c:v>140.80751365745439</c:v>
                </c:pt>
                <c:pt idx="1865">
                  <c:v>140.80751365745439</c:v>
                </c:pt>
                <c:pt idx="1866">
                  <c:v>140.80751365745439</c:v>
                </c:pt>
                <c:pt idx="1867">
                  <c:v>140.78650999023381</c:v>
                </c:pt>
                <c:pt idx="1868">
                  <c:v>140.74275426816351</c:v>
                </c:pt>
                <c:pt idx="1869">
                  <c:v>141.80299562149136</c:v>
                </c:pt>
                <c:pt idx="1870">
                  <c:v>142.77603840336039</c:v>
                </c:pt>
                <c:pt idx="1871">
                  <c:v>143.6059186142061</c:v>
                </c:pt>
                <c:pt idx="1872">
                  <c:v>143.6059186142061</c:v>
                </c:pt>
                <c:pt idx="1873">
                  <c:v>143.6059186142061</c:v>
                </c:pt>
                <c:pt idx="1874">
                  <c:v>142.90014476838968</c:v>
                </c:pt>
                <c:pt idx="1875">
                  <c:v>143.99983796033376</c:v>
                </c:pt>
                <c:pt idx="1876">
                  <c:v>144.73486791784322</c:v>
                </c:pt>
                <c:pt idx="1877">
                  <c:v>144.73414012419497</c:v>
                </c:pt>
                <c:pt idx="1878">
                  <c:v>144.47624750759624</c:v>
                </c:pt>
                <c:pt idx="1879">
                  <c:v>144.47624750759624</c:v>
                </c:pt>
                <c:pt idx="1880">
                  <c:v>144.47624750759624</c:v>
                </c:pt>
                <c:pt idx="1881">
                  <c:v>144.22725711013513</c:v>
                </c:pt>
                <c:pt idx="1882">
                  <c:v>143.86545267512628</c:v>
                </c:pt>
                <c:pt idx="1883">
                  <c:v>144.28310042621928</c:v>
                </c:pt>
                <c:pt idx="1884">
                  <c:v>144.38713300678066</c:v>
                </c:pt>
                <c:pt idx="1885">
                  <c:v>144.88489360503138</c:v>
                </c:pt>
                <c:pt idx="1886">
                  <c:v>144.88489360503138</c:v>
                </c:pt>
                <c:pt idx="1887">
                  <c:v>144.88489360503138</c:v>
                </c:pt>
                <c:pt idx="1888">
                  <c:v>144.77195477692888</c:v>
                </c:pt>
                <c:pt idx="1889">
                  <c:v>145.08990943180626</c:v>
                </c:pt>
                <c:pt idx="1890">
                  <c:v>145.92125704989394</c:v>
                </c:pt>
                <c:pt idx="1891">
                  <c:v>146.39820198698112</c:v>
                </c:pt>
                <c:pt idx="1892">
                  <c:v>145.7680385457013</c:v>
                </c:pt>
                <c:pt idx="1893">
                  <c:v>145.7680385457013</c:v>
                </c:pt>
                <c:pt idx="1894">
                  <c:v>145.7680385457013</c:v>
                </c:pt>
                <c:pt idx="1895">
                  <c:v>144.84234444524532</c:v>
                </c:pt>
                <c:pt idx="1896">
                  <c:v>145.22791791894565</c:v>
                </c:pt>
                <c:pt idx="1897">
                  <c:v>145.29734747584331</c:v>
                </c:pt>
                <c:pt idx="1898">
                  <c:v>144.32374310427664</c:v>
                </c:pt>
                <c:pt idx="1899">
                  <c:v>144.92370815913256</c:v>
                </c:pt>
                <c:pt idx="1900">
                  <c:v>144.92370815913256</c:v>
                </c:pt>
                <c:pt idx="1901">
                  <c:v>144.92370815913256</c:v>
                </c:pt>
                <c:pt idx="1902">
                  <c:v>145.12001006756716</c:v>
                </c:pt>
                <c:pt idx="1903">
                  <c:v>143.97690427807925</c:v>
                </c:pt>
                <c:pt idx="1904">
                  <c:v>143.83458078943397</c:v>
                </c:pt>
                <c:pt idx="1905">
                  <c:v>144.23749696542836</c:v>
                </c:pt>
                <c:pt idx="1906">
                  <c:v>144.23749696542836</c:v>
                </c:pt>
                <c:pt idx="1907">
                  <c:v>144.23749696542836</c:v>
                </c:pt>
                <c:pt idx="1908">
                  <c:v>144.23749696542836</c:v>
                </c:pt>
                <c:pt idx="1909">
                  <c:v>144.23749696542836</c:v>
                </c:pt>
                <c:pt idx="1910">
                  <c:v>144.76840007071107</c:v>
                </c:pt>
                <c:pt idx="1911">
                  <c:v>145.7365549943539</c:v>
                </c:pt>
                <c:pt idx="1912">
                  <c:v>146.98142951813702</c:v>
                </c:pt>
                <c:pt idx="1913">
                  <c:v>147.14096161027129</c:v>
                </c:pt>
                <c:pt idx="1914">
                  <c:v>147.14096161027129</c:v>
                </c:pt>
                <c:pt idx="1915">
                  <c:v>147.14096161027129</c:v>
                </c:pt>
                <c:pt idx="1916">
                  <c:v>147.89441237165337</c:v>
                </c:pt>
                <c:pt idx="1917">
                  <c:v>147.36941684606512</c:v>
                </c:pt>
                <c:pt idx="1918">
                  <c:v>146.48194509426128</c:v>
                </c:pt>
                <c:pt idx="1919">
                  <c:v>145.24979288126607</c:v>
                </c:pt>
                <c:pt idx="1920">
                  <c:v>144.60996181455852</c:v>
                </c:pt>
                <c:pt idx="1921">
                  <c:v>144.60996181455852</c:v>
                </c:pt>
                <c:pt idx="1922">
                  <c:v>144.60996181455852</c:v>
                </c:pt>
                <c:pt idx="1923">
                  <c:v>144.74402371641548</c:v>
                </c:pt>
                <c:pt idx="1924">
                  <c:v>143.55176309879013</c:v>
                </c:pt>
                <c:pt idx="1925">
                  <c:v>143.95350391736886</c:v>
                </c:pt>
                <c:pt idx="1926">
                  <c:v>143.94040027394601</c:v>
                </c:pt>
                <c:pt idx="1927">
                  <c:v>144.17474886596423</c:v>
                </c:pt>
                <c:pt idx="1928">
                  <c:v>144.17474886596423</c:v>
                </c:pt>
                <c:pt idx="1929">
                  <c:v>144.17474886596423</c:v>
                </c:pt>
                <c:pt idx="1930">
                  <c:v>144.01725490699297</c:v>
                </c:pt>
                <c:pt idx="1931">
                  <c:v>143.44947848310338</c:v>
                </c:pt>
                <c:pt idx="1932">
                  <c:v>143.71947752259271</c:v>
                </c:pt>
                <c:pt idx="1933">
                  <c:v>144.52699509885568</c:v>
                </c:pt>
                <c:pt idx="1934">
                  <c:v>144.03721619948416</c:v>
                </c:pt>
                <c:pt idx="1935">
                  <c:v>144.03721619948416</c:v>
                </c:pt>
                <c:pt idx="1936">
                  <c:v>144.03721619948416</c:v>
                </c:pt>
                <c:pt idx="1937">
                  <c:v>143.79388762495316</c:v>
                </c:pt>
                <c:pt idx="1938">
                  <c:v>144.20558599132352</c:v>
                </c:pt>
                <c:pt idx="1939">
                  <c:v>143.81160195870703</c:v>
                </c:pt>
                <c:pt idx="1940">
                  <c:v>142.35478850671879</c:v>
                </c:pt>
                <c:pt idx="1941">
                  <c:v>142.55762835455104</c:v>
                </c:pt>
                <c:pt idx="1942">
                  <c:v>142.55762835455104</c:v>
                </c:pt>
                <c:pt idx="1943">
                  <c:v>142.55762835455104</c:v>
                </c:pt>
                <c:pt idx="1944">
                  <c:v>142.94610416137573</c:v>
                </c:pt>
                <c:pt idx="1945">
                  <c:v>142.37578247824374</c:v>
                </c:pt>
                <c:pt idx="1946">
                  <c:v>143.446669840726</c:v>
                </c:pt>
                <c:pt idx="1947">
                  <c:v>143.446669840726</c:v>
                </c:pt>
                <c:pt idx="1948">
                  <c:v>143.5589953535339</c:v>
                </c:pt>
                <c:pt idx="1949">
                  <c:v>143.5589953535339</c:v>
                </c:pt>
                <c:pt idx="1950">
                  <c:v>143.5589953535339</c:v>
                </c:pt>
                <c:pt idx="1951">
                  <c:v>144.00961236975778</c:v>
                </c:pt>
                <c:pt idx="1952">
                  <c:v>144.80737525682429</c:v>
                </c:pt>
                <c:pt idx="1953">
                  <c:v>145.02919211310683</c:v>
                </c:pt>
                <c:pt idx="1954">
                  <c:v>145.95263995392796</c:v>
                </c:pt>
                <c:pt idx="1955">
                  <c:v>146.09751806512369</c:v>
                </c:pt>
                <c:pt idx="1956">
                  <c:v>146.09751806512369</c:v>
                </c:pt>
                <c:pt idx="1957">
                  <c:v>146.09751806512369</c:v>
                </c:pt>
                <c:pt idx="1958">
                  <c:v>146.64599747676633</c:v>
                </c:pt>
                <c:pt idx="1959">
                  <c:v>145.83065194396738</c:v>
                </c:pt>
                <c:pt idx="1960">
                  <c:v>145.13290696998769</c:v>
                </c:pt>
                <c:pt idx="1961">
                  <c:v>144.57789551250133</c:v>
                </c:pt>
                <c:pt idx="1962">
                  <c:v>145.31998464794714</c:v>
                </c:pt>
                <c:pt idx="1963">
                  <c:v>145.31998464794714</c:v>
                </c:pt>
                <c:pt idx="1964">
                  <c:v>145.31998464794714</c:v>
                </c:pt>
                <c:pt idx="1965">
                  <c:v>145.02587297366438</c:v>
                </c:pt>
                <c:pt idx="1966">
                  <c:v>144.2420389893459</c:v>
                </c:pt>
                <c:pt idx="1967">
                  <c:v>144.0875352964901</c:v>
                </c:pt>
                <c:pt idx="1968">
                  <c:v>143.77397618056156</c:v>
                </c:pt>
                <c:pt idx="1969">
                  <c:v>144.37684072282906</c:v>
                </c:pt>
                <c:pt idx="1970">
                  <c:v>144.37684072282906</c:v>
                </c:pt>
                <c:pt idx="1971">
                  <c:v>144.37684072282906</c:v>
                </c:pt>
                <c:pt idx="1972">
                  <c:v>144.47651950276492</c:v>
                </c:pt>
                <c:pt idx="1973">
                  <c:v>144.08332289428415</c:v>
                </c:pt>
                <c:pt idx="1974">
                  <c:v>144.07071461295149</c:v>
                </c:pt>
                <c:pt idx="1975">
                  <c:v>144.14717071847255</c:v>
                </c:pt>
                <c:pt idx="1976">
                  <c:v>143.80675906437349</c:v>
                </c:pt>
                <c:pt idx="1977">
                  <c:v>143.80675906437349</c:v>
                </c:pt>
                <c:pt idx="1978">
                  <c:v>143.80675906437349</c:v>
                </c:pt>
                <c:pt idx="1979">
                  <c:v>143.98071970174479</c:v>
                </c:pt>
                <c:pt idx="1980">
                  <c:v>144.33804084055001</c:v>
                </c:pt>
                <c:pt idx="1981">
                  <c:v>145.14125328663303</c:v>
                </c:pt>
                <c:pt idx="1982">
                  <c:v>145.52250651746229</c:v>
                </c:pt>
                <c:pt idx="1983">
                  <c:v>146.23578927333645</c:v>
                </c:pt>
                <c:pt idx="1984">
                  <c:v>146.23578927333645</c:v>
                </c:pt>
                <c:pt idx="1985">
                  <c:v>146.23578927333645</c:v>
                </c:pt>
                <c:pt idx="1986">
                  <c:v>144.87947549935217</c:v>
                </c:pt>
                <c:pt idx="1987">
                  <c:v>144.01530996248957</c:v>
                </c:pt>
                <c:pt idx="1988">
                  <c:v>144.11546511161461</c:v>
                </c:pt>
                <c:pt idx="1989">
                  <c:v>144.07844078585532</c:v>
                </c:pt>
                <c:pt idx="1990">
                  <c:v>144.1071407756414</c:v>
                </c:pt>
                <c:pt idx="1991">
                  <c:v>144.1071407756414</c:v>
                </c:pt>
                <c:pt idx="1992">
                  <c:v>144.1071407756414</c:v>
                </c:pt>
                <c:pt idx="1993">
                  <c:v>145.10685769008757</c:v>
                </c:pt>
                <c:pt idx="1994">
                  <c:v>145.31050327868428</c:v>
                </c:pt>
                <c:pt idx="1995">
                  <c:v>143.77183464124016</c:v>
                </c:pt>
                <c:pt idx="1996">
                  <c:v>143.08834215716766</c:v>
                </c:pt>
                <c:pt idx="1997">
                  <c:v>143.95494072640454</c:v>
                </c:pt>
                <c:pt idx="1998">
                  <c:v>143.95494072640454</c:v>
                </c:pt>
                <c:pt idx="1999">
                  <c:v>143.95494072640454</c:v>
                </c:pt>
                <c:pt idx="2000">
                  <c:v>142.81888335193807</c:v>
                </c:pt>
                <c:pt idx="2001">
                  <c:v>141.91129721769158</c:v>
                </c:pt>
                <c:pt idx="2002">
                  <c:v>142.68786013931805</c:v>
                </c:pt>
                <c:pt idx="2003">
                  <c:v>142.89560172057696</c:v>
                </c:pt>
                <c:pt idx="2004">
                  <c:v>143.18620717447183</c:v>
                </c:pt>
                <c:pt idx="2005">
                  <c:v>143.18620717447183</c:v>
                </c:pt>
                <c:pt idx="2006">
                  <c:v>143.18620717447183</c:v>
                </c:pt>
                <c:pt idx="2007">
                  <c:v>142.08295057112301</c:v>
                </c:pt>
                <c:pt idx="2008">
                  <c:v>141.19266659945009</c:v>
                </c:pt>
                <c:pt idx="2009">
                  <c:v>139.81044872853855</c:v>
                </c:pt>
                <c:pt idx="2010">
                  <c:v>138.44689258613738</c:v>
                </c:pt>
                <c:pt idx="2011">
                  <c:v>138.54548678057714</c:v>
                </c:pt>
                <c:pt idx="2012">
                  <c:v>138.54548678057714</c:v>
                </c:pt>
                <c:pt idx="2013">
                  <c:v>138.54548678057714</c:v>
                </c:pt>
                <c:pt idx="2014">
                  <c:v>138.42007362914126</c:v>
                </c:pt>
                <c:pt idx="2015">
                  <c:v>137.5575611195425</c:v>
                </c:pt>
                <c:pt idx="2016">
                  <c:v>137.8051875581032</c:v>
                </c:pt>
                <c:pt idx="2017">
                  <c:v>137.7992705368157</c:v>
                </c:pt>
                <c:pt idx="2018">
                  <c:v>138.2294994879085</c:v>
                </c:pt>
                <c:pt idx="2019">
                  <c:v>138.2294994879085</c:v>
                </c:pt>
                <c:pt idx="2020">
                  <c:v>138.2294994879085</c:v>
                </c:pt>
                <c:pt idx="2021">
                  <c:v>138.17410241595363</c:v>
                </c:pt>
                <c:pt idx="2022">
                  <c:v>137.51988394551515</c:v>
                </c:pt>
                <c:pt idx="2023">
                  <c:v>139.32218765406037</c:v>
                </c:pt>
                <c:pt idx="2024">
                  <c:v>141.43414306946357</c:v>
                </c:pt>
                <c:pt idx="2025">
                  <c:v>141.87997440783835</c:v>
                </c:pt>
                <c:pt idx="2026">
                  <c:v>141.87997440783835</c:v>
                </c:pt>
                <c:pt idx="2027">
                  <c:v>141.87997440783835</c:v>
                </c:pt>
                <c:pt idx="2028">
                  <c:v>142.76522095092051</c:v>
                </c:pt>
                <c:pt idx="2029">
                  <c:v>142.20707201963836</c:v>
                </c:pt>
                <c:pt idx="2030">
                  <c:v>142.98499671141059</c:v>
                </c:pt>
                <c:pt idx="2031">
                  <c:v>141.43277847567481</c:v>
                </c:pt>
                <c:pt idx="2032">
                  <c:v>140.2720189367783</c:v>
                </c:pt>
                <c:pt idx="2033">
                  <c:v>140.2720189367783</c:v>
                </c:pt>
                <c:pt idx="2034">
                  <c:v>140.2720189367783</c:v>
                </c:pt>
                <c:pt idx="2035">
                  <c:v>139.47994083036718</c:v>
                </c:pt>
                <c:pt idx="2036">
                  <c:v>139.21960856194332</c:v>
                </c:pt>
                <c:pt idx="2037">
                  <c:v>140.09738792220253</c:v>
                </c:pt>
                <c:pt idx="2038">
                  <c:v>139.34119522189067</c:v>
                </c:pt>
                <c:pt idx="2039">
                  <c:v>140.08416780458154</c:v>
                </c:pt>
                <c:pt idx="2040">
                  <c:v>140.08416780458154</c:v>
                </c:pt>
                <c:pt idx="2041">
                  <c:v>140.08416780458154</c:v>
                </c:pt>
                <c:pt idx="2042">
                  <c:v>140.32520098919329</c:v>
                </c:pt>
                <c:pt idx="2043">
                  <c:v>141.03213867620744</c:v>
                </c:pt>
                <c:pt idx="2044">
                  <c:v>142.06595543234212</c:v>
                </c:pt>
                <c:pt idx="2045">
                  <c:v>141.68176316472801</c:v>
                </c:pt>
                <c:pt idx="2046">
                  <c:v>142.64873619033335</c:v>
                </c:pt>
                <c:pt idx="2047">
                  <c:v>142.64873619033335</c:v>
                </c:pt>
                <c:pt idx="2048">
                  <c:v>142.64873619033335</c:v>
                </c:pt>
                <c:pt idx="2049">
                  <c:v>143.64614746545462</c:v>
                </c:pt>
                <c:pt idx="2050">
                  <c:v>143.55945068050778</c:v>
                </c:pt>
                <c:pt idx="2051">
                  <c:v>142.60239506845355</c:v>
                </c:pt>
                <c:pt idx="2052">
                  <c:v>142.18590579346727</c:v>
                </c:pt>
                <c:pt idx="2053">
                  <c:v>143.12173279989108</c:v>
                </c:pt>
                <c:pt idx="2054">
                  <c:v>143.12173279989108</c:v>
                </c:pt>
                <c:pt idx="2055">
                  <c:v>143.12173279989108</c:v>
                </c:pt>
                <c:pt idx="2056">
                  <c:v>142.84197789549748</c:v>
                </c:pt>
                <c:pt idx="2057">
                  <c:v>141.93233539441758</c:v>
                </c:pt>
                <c:pt idx="2058">
                  <c:v>141.22952942627188</c:v>
                </c:pt>
                <c:pt idx="2059">
                  <c:v>142.29176661468435</c:v>
                </c:pt>
                <c:pt idx="2060">
                  <c:v>142.99699672682152</c:v>
                </c:pt>
                <c:pt idx="2061">
                  <c:v>142.99699672682152</c:v>
                </c:pt>
                <c:pt idx="2062">
                  <c:v>142.99699672682152</c:v>
                </c:pt>
                <c:pt idx="2063">
                  <c:v>143.19319849473561</c:v>
                </c:pt>
                <c:pt idx="2064">
                  <c:v>143.15963133235036</c:v>
                </c:pt>
                <c:pt idx="2065">
                  <c:v>142.43734282574673</c:v>
                </c:pt>
                <c:pt idx="2066">
                  <c:v>142.35242147868638</c:v>
                </c:pt>
                <c:pt idx="2067">
                  <c:v>143.24091107839669</c:v>
                </c:pt>
                <c:pt idx="2068">
                  <c:v>143.24091107839669</c:v>
                </c:pt>
                <c:pt idx="2069">
                  <c:v>143.24091107839669</c:v>
                </c:pt>
                <c:pt idx="2070">
                  <c:v>143.74444470851921</c:v>
                </c:pt>
                <c:pt idx="2071">
                  <c:v>144.13052647647007</c:v>
                </c:pt>
                <c:pt idx="2072">
                  <c:v>144.04287250158214</c:v>
                </c:pt>
                <c:pt idx="2073">
                  <c:v>144.0851054226076</c:v>
                </c:pt>
                <c:pt idx="2074">
                  <c:v>144.2721913720726</c:v>
                </c:pt>
                <c:pt idx="2075">
                  <c:v>144.2721913720726</c:v>
                </c:pt>
                <c:pt idx="2076">
                  <c:v>144.2721913720726</c:v>
                </c:pt>
                <c:pt idx="2077">
                  <c:v>144.18229494055009</c:v>
                </c:pt>
                <c:pt idx="2078">
                  <c:v>143.09031273269787</c:v>
                </c:pt>
                <c:pt idx="2079">
                  <c:v>142.12365687051039</c:v>
                </c:pt>
                <c:pt idx="2080">
                  <c:v>141.6347967651395</c:v>
                </c:pt>
                <c:pt idx="2081">
                  <c:v>140.84838411052587</c:v>
                </c:pt>
                <c:pt idx="2082">
                  <c:v>140.84838411052587</c:v>
                </c:pt>
                <c:pt idx="2083">
                  <c:v>140.84838411052587</c:v>
                </c:pt>
                <c:pt idx="2084">
                  <c:v>141.96483080285017</c:v>
                </c:pt>
                <c:pt idx="2085">
                  <c:v>143.00312517222855</c:v>
                </c:pt>
                <c:pt idx="2086">
                  <c:v>144.15594888624656</c:v>
                </c:pt>
                <c:pt idx="2087">
                  <c:v>144.41014090885275</c:v>
                </c:pt>
                <c:pt idx="2088">
                  <c:v>142.83227903131171</c:v>
                </c:pt>
                <c:pt idx="2089">
                  <c:v>142.83227903131171</c:v>
                </c:pt>
                <c:pt idx="2090">
                  <c:v>142.83227903131171</c:v>
                </c:pt>
                <c:pt idx="2091">
                  <c:v>143.41781770786497</c:v>
                </c:pt>
                <c:pt idx="2092">
                  <c:v>141.21092587608149</c:v>
                </c:pt>
                <c:pt idx="2093">
                  <c:v>141.46294880436889</c:v>
                </c:pt>
                <c:pt idx="2094">
                  <c:v>139.24711961779684</c:v>
                </c:pt>
                <c:pt idx="2095">
                  <c:v>139.19834584560033</c:v>
                </c:pt>
                <c:pt idx="2096">
                  <c:v>139.19834584560033</c:v>
                </c:pt>
                <c:pt idx="2097">
                  <c:v>139.19834584560033</c:v>
                </c:pt>
                <c:pt idx="2098">
                  <c:v>138.0010227243348</c:v>
                </c:pt>
                <c:pt idx="2099">
                  <c:v>138.37308995538663</c:v>
                </c:pt>
                <c:pt idx="2100">
                  <c:v>136.3743933356096</c:v>
                </c:pt>
                <c:pt idx="2101">
                  <c:v>137.30836502423119</c:v>
                </c:pt>
                <c:pt idx="2102">
                  <c:v>134.02644530920256</c:v>
                </c:pt>
                <c:pt idx="2103">
                  <c:v>134.02644530920256</c:v>
                </c:pt>
                <c:pt idx="2104">
                  <c:v>134.02644530920256</c:v>
                </c:pt>
                <c:pt idx="2105">
                  <c:v>134.80397398593342</c:v>
                </c:pt>
                <c:pt idx="2106">
                  <c:v>132.08285872217448</c:v>
                </c:pt>
                <c:pt idx="2107">
                  <c:v>134.04153473703147</c:v>
                </c:pt>
                <c:pt idx="2108">
                  <c:v>137.04802605192893</c:v>
                </c:pt>
                <c:pt idx="2109">
                  <c:v>140.3800047875271</c:v>
                </c:pt>
                <c:pt idx="2110">
                  <c:v>140.3800047875271</c:v>
                </c:pt>
                <c:pt idx="2111">
                  <c:v>140.3800047875271</c:v>
                </c:pt>
                <c:pt idx="2112">
                  <c:v>135.75037476635273</c:v>
                </c:pt>
                <c:pt idx="2113">
                  <c:v>134.55109731091417</c:v>
                </c:pt>
                <c:pt idx="2114">
                  <c:v>136.19403718855864</c:v>
                </c:pt>
                <c:pt idx="2115">
                  <c:v>136.43041956241242</c:v>
                </c:pt>
                <c:pt idx="2116">
                  <c:v>130.74138301905194</c:v>
                </c:pt>
                <c:pt idx="2117">
                  <c:v>130.74138301905194</c:v>
                </c:pt>
                <c:pt idx="2118">
                  <c:v>130.74138301905194</c:v>
                </c:pt>
                <c:pt idx="2119">
                  <c:v>128.89170150144062</c:v>
                </c:pt>
                <c:pt idx="2120">
                  <c:v>130.44262288645669</c:v>
                </c:pt>
                <c:pt idx="2121">
                  <c:v>131.88889956786386</c:v>
                </c:pt>
                <c:pt idx="2122">
                  <c:v>129.06337101455486</c:v>
                </c:pt>
                <c:pt idx="2123">
                  <c:v>128.57142685885918</c:v>
                </c:pt>
                <c:pt idx="2124">
                  <c:v>128.57142685885918</c:v>
                </c:pt>
                <c:pt idx="2125">
                  <c:v>128.57142685885918</c:v>
                </c:pt>
                <c:pt idx="2126">
                  <c:v>126.0783896286874</c:v>
                </c:pt>
                <c:pt idx="2127">
                  <c:v>124.80136168473452</c:v>
                </c:pt>
                <c:pt idx="2128">
                  <c:v>123.38798977649479</c:v>
                </c:pt>
                <c:pt idx="2129">
                  <c:v>126.52046062620643</c:v>
                </c:pt>
                <c:pt idx="2130">
                  <c:v>125.75330664810275</c:v>
                </c:pt>
                <c:pt idx="2131">
                  <c:v>125.75330664810275</c:v>
                </c:pt>
                <c:pt idx="2132">
                  <c:v>125.75330664810275</c:v>
                </c:pt>
                <c:pt idx="2133">
                  <c:v>127.49564997399797</c:v>
                </c:pt>
                <c:pt idx="2134">
                  <c:v>128.71705644045772</c:v>
                </c:pt>
                <c:pt idx="2135">
                  <c:v>129.18768086447579</c:v>
                </c:pt>
                <c:pt idx="2136">
                  <c:v>130.08585571233473</c:v>
                </c:pt>
                <c:pt idx="2137">
                  <c:v>128.9311952544297</c:v>
                </c:pt>
                <c:pt idx="2138">
                  <c:v>128.9311952544297</c:v>
                </c:pt>
                <c:pt idx="2139">
                  <c:v>128.9311952544297</c:v>
                </c:pt>
                <c:pt idx="2140">
                  <c:v>129.33559968492159</c:v>
                </c:pt>
                <c:pt idx="2141">
                  <c:v>129.72926361166557</c:v>
                </c:pt>
                <c:pt idx="2142">
                  <c:v>129.51964629714323</c:v>
                </c:pt>
                <c:pt idx="2143">
                  <c:v>128.07595448632563</c:v>
                </c:pt>
                <c:pt idx="2144">
                  <c:v>126.44665151577703</c:v>
                </c:pt>
                <c:pt idx="2145">
                  <c:v>126.44665151577703</c:v>
                </c:pt>
                <c:pt idx="2146">
                  <c:v>126.44665151577703</c:v>
                </c:pt>
                <c:pt idx="2147">
                  <c:v>127.23333185683407</c:v>
                </c:pt>
                <c:pt idx="2148">
                  <c:v>124.4747089139146</c:v>
                </c:pt>
                <c:pt idx="2149">
                  <c:v>124.87144720821469</c:v>
                </c:pt>
                <c:pt idx="2150">
                  <c:v>124.68486160005855</c:v>
                </c:pt>
                <c:pt idx="2151">
                  <c:v>127.1526637932494</c:v>
                </c:pt>
                <c:pt idx="2152">
                  <c:v>127.1526637932494</c:v>
                </c:pt>
                <c:pt idx="2153">
                  <c:v>127.1526637932494</c:v>
                </c:pt>
                <c:pt idx="2154">
                  <c:v>122.83805194780325</c:v>
                </c:pt>
                <c:pt idx="2155">
                  <c:v>123.42377748912969</c:v>
                </c:pt>
                <c:pt idx="2156">
                  <c:v>123.76162392437492</c:v>
                </c:pt>
                <c:pt idx="2157">
                  <c:v>124.5428989435367</c:v>
                </c:pt>
                <c:pt idx="2158">
                  <c:v>124.17258334593514</c:v>
                </c:pt>
                <c:pt idx="2159">
                  <c:v>124.17258334593514</c:v>
                </c:pt>
                <c:pt idx="2160">
                  <c:v>124.17258334593514</c:v>
                </c:pt>
                <c:pt idx="2161">
                  <c:v>125.5724265211793</c:v>
                </c:pt>
                <c:pt idx="2162">
                  <c:v>125.07387918240573</c:v>
                </c:pt>
                <c:pt idx="2163">
                  <c:v>124.28133134867646</c:v>
                </c:pt>
                <c:pt idx="2164">
                  <c:v>123.75519021358872</c:v>
                </c:pt>
                <c:pt idx="2165">
                  <c:v>124.25480149416528</c:v>
                </c:pt>
                <c:pt idx="2166">
                  <c:v>124.25480149416528</c:v>
                </c:pt>
                <c:pt idx="2167">
                  <c:v>124.25480149416528</c:v>
                </c:pt>
                <c:pt idx="2168">
                  <c:v>120.73360325567521</c:v>
                </c:pt>
                <c:pt idx="2169">
                  <c:v>121.40601098120608</c:v>
                </c:pt>
                <c:pt idx="2170">
                  <c:v>123.4908412257291</c:v>
                </c:pt>
                <c:pt idx="2171">
                  <c:v>123.24848495442725</c:v>
                </c:pt>
                <c:pt idx="2172">
                  <c:v>124.11656725645523</c:v>
                </c:pt>
                <c:pt idx="2173">
                  <c:v>124.11656725645523</c:v>
                </c:pt>
                <c:pt idx="2174">
                  <c:v>124.11656725645523</c:v>
                </c:pt>
                <c:pt idx="2175">
                  <c:v>124.73711663235753</c:v>
                </c:pt>
                <c:pt idx="2176">
                  <c:v>124.39974980480626</c:v>
                </c:pt>
                <c:pt idx="2177">
                  <c:v>125.14002904513747</c:v>
                </c:pt>
                <c:pt idx="2178">
                  <c:v>125.30137875168057</c:v>
                </c:pt>
                <c:pt idx="2179">
                  <c:v>125.20511580018092</c:v>
                </c:pt>
                <c:pt idx="2180">
                  <c:v>125.20511580018092</c:v>
                </c:pt>
                <c:pt idx="2181">
                  <c:v>125.20511580018092</c:v>
                </c:pt>
                <c:pt idx="2182">
                  <c:v>126.33267475062219</c:v>
                </c:pt>
                <c:pt idx="2183">
                  <c:v>126.87886821300184</c:v>
                </c:pt>
                <c:pt idx="2184">
                  <c:v>127.19746242441553</c:v>
                </c:pt>
                <c:pt idx="2185">
                  <c:v>127.19746242441553</c:v>
                </c:pt>
                <c:pt idx="2186">
                  <c:v>127.19746242441553</c:v>
                </c:pt>
                <c:pt idx="2187">
                  <c:v>127.19746242441553</c:v>
                </c:pt>
                <c:pt idx="2188">
                  <c:v>127.19746242441553</c:v>
                </c:pt>
                <c:pt idx="2189">
                  <c:v>127.45445894248827</c:v>
                </c:pt>
                <c:pt idx="2190">
                  <c:v>126.69238388127488</c:v>
                </c:pt>
                <c:pt idx="2191">
                  <c:v>126.01387355280312</c:v>
                </c:pt>
                <c:pt idx="2192">
                  <c:v>126.01387355280312</c:v>
                </c:pt>
                <c:pt idx="2193">
                  <c:v>127.16529316644323</c:v>
                </c:pt>
                <c:pt idx="2194">
                  <c:v>127.16529316644323</c:v>
                </c:pt>
                <c:pt idx="2195">
                  <c:v>127.16529316644323</c:v>
                </c:pt>
                <c:pt idx="2196">
                  <c:v>128.12176652593763</c:v>
                </c:pt>
                <c:pt idx="2197">
                  <c:v>129.15936298865759</c:v>
                </c:pt>
                <c:pt idx="2198">
                  <c:v>129.96828854929987</c:v>
                </c:pt>
                <c:pt idx="2199">
                  <c:v>128.76874256845579</c:v>
                </c:pt>
                <c:pt idx="2200">
                  <c:v>129.53214708032695</c:v>
                </c:pt>
                <c:pt idx="2201">
                  <c:v>129.53214708032695</c:v>
                </c:pt>
                <c:pt idx="2202">
                  <c:v>129.53214708032695</c:v>
                </c:pt>
                <c:pt idx="2203">
                  <c:v>129.70734021837586</c:v>
                </c:pt>
                <c:pt idx="2204">
                  <c:v>129.14147581875548</c:v>
                </c:pt>
                <c:pt idx="2205">
                  <c:v>130.03508215523394</c:v>
                </c:pt>
                <c:pt idx="2206">
                  <c:v>129.85154166261535</c:v>
                </c:pt>
                <c:pt idx="2207">
                  <c:v>130.27284127063257</c:v>
                </c:pt>
                <c:pt idx="2208">
                  <c:v>130.27284127063257</c:v>
                </c:pt>
                <c:pt idx="2209">
                  <c:v>130.27284127063257</c:v>
                </c:pt>
                <c:pt idx="2210">
                  <c:v>129.8059742285258</c:v>
                </c:pt>
                <c:pt idx="2211">
                  <c:v>129.33353768628521</c:v>
                </c:pt>
                <c:pt idx="2212">
                  <c:v>130.67045091047279</c:v>
                </c:pt>
                <c:pt idx="2213">
                  <c:v>131.54226263771588</c:v>
                </c:pt>
                <c:pt idx="2214">
                  <c:v>129.71145895548415</c:v>
                </c:pt>
                <c:pt idx="2215">
                  <c:v>129.71145895548415</c:v>
                </c:pt>
                <c:pt idx="2216">
                  <c:v>129.71145895548415</c:v>
                </c:pt>
                <c:pt idx="2217">
                  <c:v>128.56193889126774</c:v>
                </c:pt>
                <c:pt idx="2218">
                  <c:v>128.87286998415604</c:v>
                </c:pt>
                <c:pt idx="2219">
                  <c:v>129.28060256596666</c:v>
                </c:pt>
                <c:pt idx="2220">
                  <c:v>129.83624117841532</c:v>
                </c:pt>
                <c:pt idx="2221">
                  <c:v>130.61465706774374</c:v>
                </c:pt>
                <c:pt idx="2222">
                  <c:v>130.61465706774374</c:v>
                </c:pt>
                <c:pt idx="2223">
                  <c:v>130.61465706774374</c:v>
                </c:pt>
                <c:pt idx="2224">
                  <c:v>129.32506544374596</c:v>
                </c:pt>
                <c:pt idx="2225">
                  <c:v>128.69976920586015</c:v>
                </c:pt>
                <c:pt idx="2226">
                  <c:v>130.10031987139192</c:v>
                </c:pt>
                <c:pt idx="2227">
                  <c:v>131.46997555091602</c:v>
                </c:pt>
                <c:pt idx="2228">
                  <c:v>133.02510042255994</c:v>
                </c:pt>
                <c:pt idx="2229">
                  <c:v>133.02510042255994</c:v>
                </c:pt>
                <c:pt idx="2230">
                  <c:v>133.02510042255994</c:v>
                </c:pt>
                <c:pt idx="2231">
                  <c:v>134.00699537100002</c:v>
                </c:pt>
                <c:pt idx="2232">
                  <c:v>134.24129641818746</c:v>
                </c:pt>
                <c:pt idx="2233">
                  <c:v>133.85357968946764</c:v>
                </c:pt>
                <c:pt idx="2234">
                  <c:v>134.16979349524911</c:v>
                </c:pt>
                <c:pt idx="2235">
                  <c:v>135.18982304512741</c:v>
                </c:pt>
                <c:pt idx="2236">
                  <c:v>135.18982304512741</c:v>
                </c:pt>
                <c:pt idx="2237">
                  <c:v>135.18982304512741</c:v>
                </c:pt>
                <c:pt idx="2238">
                  <c:v>135.26847656460498</c:v>
                </c:pt>
                <c:pt idx="2239">
                  <c:v>134.44621591322471</c:v>
                </c:pt>
                <c:pt idx="2240">
                  <c:v>134.36723503092</c:v>
                </c:pt>
                <c:pt idx="2241">
                  <c:v>133.72558992939409</c:v>
                </c:pt>
                <c:pt idx="2242">
                  <c:v>133.488146070868</c:v>
                </c:pt>
                <c:pt idx="2243">
                  <c:v>133.488146070868</c:v>
                </c:pt>
                <c:pt idx="2244">
                  <c:v>133.488146070868</c:v>
                </c:pt>
                <c:pt idx="2245">
                  <c:v>132.55520290007138</c:v>
                </c:pt>
                <c:pt idx="2246">
                  <c:v>132.21325648414972</c:v>
                </c:pt>
                <c:pt idx="2247">
                  <c:v>133.4647113577509</c:v>
                </c:pt>
                <c:pt idx="2248">
                  <c:v>132.82763480564859</c:v>
                </c:pt>
                <c:pt idx="2249">
                  <c:v>133.63146434851186</c:v>
                </c:pt>
                <c:pt idx="2250">
                  <c:v>133.63146434851186</c:v>
                </c:pt>
                <c:pt idx="2251">
                  <c:v>133.63146434851186</c:v>
                </c:pt>
                <c:pt idx="2252">
                  <c:v>135.40496364144792</c:v>
                </c:pt>
                <c:pt idx="2253">
                  <c:v>136.35685981024059</c:v>
                </c:pt>
                <c:pt idx="2254">
                  <c:v>136.79777712880869</c:v>
                </c:pt>
                <c:pt idx="2255">
                  <c:v>136.68998237968162</c:v>
                </c:pt>
                <c:pt idx="2256">
                  <c:v>135.82033788118372</c:v>
                </c:pt>
                <c:pt idx="2257">
                  <c:v>135.82033788118372</c:v>
                </c:pt>
                <c:pt idx="2258">
                  <c:v>135.82033788118372</c:v>
                </c:pt>
                <c:pt idx="2259">
                  <c:v>134.66883790862343</c:v>
                </c:pt>
                <c:pt idx="2260">
                  <c:v>133.808158932113</c:v>
                </c:pt>
                <c:pt idx="2261">
                  <c:v>134.44447227237262</c:v>
                </c:pt>
                <c:pt idx="2262">
                  <c:v>133.47374403080644</c:v>
                </c:pt>
                <c:pt idx="2263">
                  <c:v>134.05561935960006</c:v>
                </c:pt>
                <c:pt idx="2264">
                  <c:v>134.05561935960006</c:v>
                </c:pt>
                <c:pt idx="2265">
                  <c:v>134.05561935960006</c:v>
                </c:pt>
                <c:pt idx="2266">
                  <c:v>133.75463876104894</c:v>
                </c:pt>
                <c:pt idx="2267">
                  <c:v>133.87973988458532</c:v>
                </c:pt>
                <c:pt idx="2268">
                  <c:v>133.62296573670545</c:v>
                </c:pt>
                <c:pt idx="2269">
                  <c:v>134.98293172212186</c:v>
                </c:pt>
                <c:pt idx="2270">
                  <c:v>134.855215852101</c:v>
                </c:pt>
                <c:pt idx="2271">
                  <c:v>134.855215852101</c:v>
                </c:pt>
                <c:pt idx="2272">
                  <c:v>134.855215852101</c:v>
                </c:pt>
                <c:pt idx="2273">
                  <c:v>134.10686685883942</c:v>
                </c:pt>
                <c:pt idx="2274">
                  <c:v>133.94248935949332</c:v>
                </c:pt>
                <c:pt idx="2275">
                  <c:v>133.56344435586939</c:v>
                </c:pt>
                <c:pt idx="2276">
                  <c:v>133.27371997472508</c:v>
                </c:pt>
                <c:pt idx="2277">
                  <c:v>133.55678612320648</c:v>
                </c:pt>
                <c:pt idx="2278">
                  <c:v>133.55678612320648</c:v>
                </c:pt>
                <c:pt idx="2279">
                  <c:v>133.55678612320648</c:v>
                </c:pt>
                <c:pt idx="2280">
                  <c:v>134.24134050926085</c:v>
                </c:pt>
                <c:pt idx="2281">
                  <c:v>133.41343250017545</c:v>
                </c:pt>
                <c:pt idx="2282">
                  <c:v>133.99346221027736</c:v>
                </c:pt>
                <c:pt idx="2283">
                  <c:v>134.96784886956718</c:v>
                </c:pt>
                <c:pt idx="2284">
                  <c:v>139.20611164972479</c:v>
                </c:pt>
                <c:pt idx="2285">
                  <c:v>139.20611164972479</c:v>
                </c:pt>
                <c:pt idx="2286">
                  <c:v>139.20611164972479</c:v>
                </c:pt>
                <c:pt idx="2287">
                  <c:v>139.78629277283633</c:v>
                </c:pt>
                <c:pt idx="2288">
                  <c:v>138.29396657407543</c:v>
                </c:pt>
                <c:pt idx="2289">
                  <c:v>138.22619702888733</c:v>
                </c:pt>
                <c:pt idx="2290">
                  <c:v>140.21625923972891</c:v>
                </c:pt>
                <c:pt idx="2291">
                  <c:v>140.21625923972891</c:v>
                </c:pt>
                <c:pt idx="2292">
                  <c:v>140.21625923972891</c:v>
                </c:pt>
                <c:pt idx="2293">
                  <c:v>140.21625923972891</c:v>
                </c:pt>
                <c:pt idx="2294">
                  <c:v>140.21625923972891</c:v>
                </c:pt>
                <c:pt idx="2295">
                  <c:v>142.98667509824284</c:v>
                </c:pt>
                <c:pt idx="2296">
                  <c:v>142.85323113151756</c:v>
                </c:pt>
                <c:pt idx="2297">
                  <c:v>142.42940499671261</c:v>
                </c:pt>
                <c:pt idx="2298">
                  <c:v>143.97049517401894</c:v>
                </c:pt>
                <c:pt idx="2299">
                  <c:v>143.97049517401894</c:v>
                </c:pt>
                <c:pt idx="2300">
                  <c:v>143.97049517401894</c:v>
                </c:pt>
                <c:pt idx="2301">
                  <c:v>141.76206408757864</c:v>
                </c:pt>
                <c:pt idx="2302">
                  <c:v>141.56896004610604</c:v>
                </c:pt>
                <c:pt idx="2303">
                  <c:v>143.79217964547385</c:v>
                </c:pt>
                <c:pt idx="2304">
                  <c:v>145.49598813688647</c:v>
                </c:pt>
                <c:pt idx="2305">
                  <c:v>144.92376339463556</c:v>
                </c:pt>
                <c:pt idx="2306">
                  <c:v>144.92376339463556</c:v>
                </c:pt>
                <c:pt idx="2307">
                  <c:v>144.92376339463556</c:v>
                </c:pt>
                <c:pt idx="2308">
                  <c:v>143.27698705378165</c:v>
                </c:pt>
                <c:pt idx="2309">
                  <c:v>142.77196604934412</c:v>
                </c:pt>
                <c:pt idx="2310">
                  <c:v>143.2560116893184</c:v>
                </c:pt>
                <c:pt idx="2311">
                  <c:v>143.72696424311903</c:v>
                </c:pt>
                <c:pt idx="2312">
                  <c:v>143.72696424311903</c:v>
                </c:pt>
                <c:pt idx="2313">
                  <c:v>143.72696424311903</c:v>
                </c:pt>
                <c:pt idx="2314">
                  <c:v>143.72696424311903</c:v>
                </c:pt>
                <c:pt idx="2315">
                  <c:v>145.9485099968401</c:v>
                </c:pt>
                <c:pt idx="2316">
                  <c:v>148.07540267503526</c:v>
                </c:pt>
                <c:pt idx="2317">
                  <c:v>148.22157190058147</c:v>
                </c:pt>
                <c:pt idx="2318">
                  <c:v>148.79308810553317</c:v>
                </c:pt>
                <c:pt idx="2319">
                  <c:v>147.71236843576622</c:v>
                </c:pt>
                <c:pt idx="2320">
                  <c:v>147.71236843576622</c:v>
                </c:pt>
                <c:pt idx="2321">
                  <c:v>147.71236843576622</c:v>
                </c:pt>
                <c:pt idx="2322">
                  <c:v>144.86264603725922</c:v>
                </c:pt>
                <c:pt idx="2323">
                  <c:v>144.26191857737996</c:v>
                </c:pt>
                <c:pt idx="2324">
                  <c:v>142.09487130163811</c:v>
                </c:pt>
                <c:pt idx="2325">
                  <c:v>142.86179807559304</c:v>
                </c:pt>
                <c:pt idx="2326">
                  <c:v>144.55423990701991</c:v>
                </c:pt>
                <c:pt idx="2327">
                  <c:v>144.55423990701991</c:v>
                </c:pt>
                <c:pt idx="2328">
                  <c:v>144.55423990701991</c:v>
                </c:pt>
                <c:pt idx="2329">
                  <c:v>144.65213954076347</c:v>
                </c:pt>
                <c:pt idx="2330">
                  <c:v>145.91900908832827</c:v>
                </c:pt>
                <c:pt idx="2331">
                  <c:v>147.15103058176928</c:v>
                </c:pt>
                <c:pt idx="2332">
                  <c:v>147.45732347290797</c:v>
                </c:pt>
                <c:pt idx="2333">
                  <c:v>147.07087442472056</c:v>
                </c:pt>
                <c:pt idx="2334">
                  <c:v>147.07087442472056</c:v>
                </c:pt>
                <c:pt idx="2335">
                  <c:v>147.07087442472056</c:v>
                </c:pt>
                <c:pt idx="2336">
                  <c:v>146.58436591040916</c:v>
                </c:pt>
                <c:pt idx="2337">
                  <c:v>144.71490616465061</c:v>
                </c:pt>
                <c:pt idx="2338">
                  <c:v>145.22757304710791</c:v>
                </c:pt>
                <c:pt idx="2339">
                  <c:v>145.09572337828371</c:v>
                </c:pt>
                <c:pt idx="2340">
                  <c:v>145.74283681911928</c:v>
                </c:pt>
                <c:pt idx="2341">
                  <c:v>145.74283681911928</c:v>
                </c:pt>
                <c:pt idx="2342">
                  <c:v>145.74283681911928</c:v>
                </c:pt>
                <c:pt idx="2343">
                  <c:v>146.39004457365488</c:v>
                </c:pt>
                <c:pt idx="2344">
                  <c:v>147.53768915214872</c:v>
                </c:pt>
                <c:pt idx="2345">
                  <c:v>147.38839579955064</c:v>
                </c:pt>
                <c:pt idx="2346">
                  <c:v>146.52179563628576</c:v>
                </c:pt>
                <c:pt idx="2347">
                  <c:v>146.97075946488837</c:v>
                </c:pt>
                <c:pt idx="2348">
                  <c:v>146.97075946488837</c:v>
                </c:pt>
                <c:pt idx="2349">
                  <c:v>146.97075946488837</c:v>
                </c:pt>
                <c:pt idx="2350">
                  <c:v>146.54234469927584</c:v>
                </c:pt>
                <c:pt idx="2351">
                  <c:v>146.58519975008264</c:v>
                </c:pt>
                <c:pt idx="2352">
                  <c:v>147.61094992487727</c:v>
                </c:pt>
                <c:pt idx="2353">
                  <c:v>147.94988123014824</c:v>
                </c:pt>
                <c:pt idx="2354">
                  <c:v>147.88298964690242</c:v>
                </c:pt>
                <c:pt idx="2355">
                  <c:v>147.88298964690242</c:v>
                </c:pt>
                <c:pt idx="2356">
                  <c:v>147.88298964690242</c:v>
                </c:pt>
                <c:pt idx="2357">
                  <c:v>147.70185640683977</c:v>
                </c:pt>
                <c:pt idx="2358">
                  <c:v>147.16361733144947</c:v>
                </c:pt>
                <c:pt idx="2359">
                  <c:v>144.56043225672772</c:v>
                </c:pt>
                <c:pt idx="2360">
                  <c:v>143.17152861119831</c:v>
                </c:pt>
                <c:pt idx="2361">
                  <c:v>142.96372902858656</c:v>
                </c:pt>
                <c:pt idx="2362">
                  <c:v>142.96372902858656</c:v>
                </c:pt>
                <c:pt idx="2363">
                  <c:v>142.96372902858656</c:v>
                </c:pt>
                <c:pt idx="2364">
                  <c:v>141.94279074376479</c:v>
                </c:pt>
                <c:pt idx="2365">
                  <c:v>141.88011353001164</c:v>
                </c:pt>
                <c:pt idx="2366">
                  <c:v>142.79841419798362</c:v>
                </c:pt>
                <c:pt idx="2367">
                  <c:v>143.32454736176024</c:v>
                </c:pt>
                <c:pt idx="2368">
                  <c:v>144.59305060512415</c:v>
                </c:pt>
                <c:pt idx="2369">
                  <c:v>144.59305060512415</c:v>
                </c:pt>
                <c:pt idx="2370">
                  <c:v>144.59305060512415</c:v>
                </c:pt>
                <c:pt idx="2371">
                  <c:v>144.15899880968294</c:v>
                </c:pt>
                <c:pt idx="2372">
                  <c:v>145.01624271074516</c:v>
                </c:pt>
                <c:pt idx="2373">
                  <c:v>144.83417394717486</c:v>
                </c:pt>
                <c:pt idx="2374">
                  <c:v>146.1776478904444</c:v>
                </c:pt>
                <c:pt idx="2375">
                  <c:v>145.16054249913608</c:v>
                </c:pt>
                <c:pt idx="2376">
                  <c:v>145.16054249913608</c:v>
                </c:pt>
                <c:pt idx="2377">
                  <c:v>145.16054249913608</c:v>
                </c:pt>
                <c:pt idx="2378">
                  <c:v>144.11715249226214</c:v>
                </c:pt>
                <c:pt idx="2379">
                  <c:v>144.53151832622288</c:v>
                </c:pt>
                <c:pt idx="2380">
                  <c:v>143.6880230252153</c:v>
                </c:pt>
                <c:pt idx="2381">
                  <c:v>143.7195560251362</c:v>
                </c:pt>
                <c:pt idx="2382">
                  <c:v>143.28837375734184</c:v>
                </c:pt>
                <c:pt idx="2383">
                  <c:v>143.28837375734184</c:v>
                </c:pt>
                <c:pt idx="2384">
                  <c:v>143.28837375734184</c:v>
                </c:pt>
                <c:pt idx="2385">
                  <c:v>142.7147507867337</c:v>
                </c:pt>
                <c:pt idx="2386">
                  <c:v>143.79988419593991</c:v>
                </c:pt>
                <c:pt idx="2387">
                  <c:v>143.86022965375446</c:v>
                </c:pt>
                <c:pt idx="2388">
                  <c:v>143.60548962568717</c:v>
                </c:pt>
                <c:pt idx="2389">
                  <c:v>143.0397468949084</c:v>
                </c:pt>
                <c:pt idx="2390">
                  <c:v>143.0397468949084</c:v>
                </c:pt>
                <c:pt idx="2391">
                  <c:v>143.0397468949084</c:v>
                </c:pt>
                <c:pt idx="2392">
                  <c:v>143.52784535139673</c:v>
                </c:pt>
                <c:pt idx="2393">
                  <c:v>144.13920290025888</c:v>
                </c:pt>
                <c:pt idx="2394">
                  <c:v>144.01189054685665</c:v>
                </c:pt>
                <c:pt idx="2395">
                  <c:v>143.50981002802851</c:v>
                </c:pt>
                <c:pt idx="2396">
                  <c:v>144.09772341315482</c:v>
                </c:pt>
                <c:pt idx="2397">
                  <c:v>144.09772341315482</c:v>
                </c:pt>
                <c:pt idx="2398">
                  <c:v>144.09772341315482</c:v>
                </c:pt>
                <c:pt idx="2399">
                  <c:v>143.92356877137775</c:v>
                </c:pt>
                <c:pt idx="2400">
                  <c:v>143.21029190851308</c:v>
                </c:pt>
                <c:pt idx="2401">
                  <c:v>142.92764975048436</c:v>
                </c:pt>
                <c:pt idx="2402">
                  <c:v>143.23462520907509</c:v>
                </c:pt>
                <c:pt idx="2403">
                  <c:v>145.01730975751616</c:v>
                </c:pt>
                <c:pt idx="2404">
                  <c:v>145.01730975751616</c:v>
                </c:pt>
                <c:pt idx="2405">
                  <c:v>145.01730975751616</c:v>
                </c:pt>
                <c:pt idx="2406">
                  <c:v>146.27281787824782</c:v>
                </c:pt>
                <c:pt idx="2407">
                  <c:v>146.15255696056559</c:v>
                </c:pt>
                <c:pt idx="2408">
                  <c:v>148.09449380147657</c:v>
                </c:pt>
                <c:pt idx="2409">
                  <c:v>148.59927301802307</c:v>
                </c:pt>
                <c:pt idx="2410">
                  <c:v>147.58702710051023</c:v>
                </c:pt>
                <c:pt idx="2411">
                  <c:v>147.58702710051023</c:v>
                </c:pt>
                <c:pt idx="2412">
                  <c:v>147.58702710051023</c:v>
                </c:pt>
                <c:pt idx="2413">
                  <c:v>147.9516956627952</c:v>
                </c:pt>
                <c:pt idx="2414">
                  <c:v>147.45565203519894</c:v>
                </c:pt>
                <c:pt idx="2415">
                  <c:v>146.9161000491828</c:v>
                </c:pt>
                <c:pt idx="2416">
                  <c:v>148.12716605816428</c:v>
                </c:pt>
                <c:pt idx="2417">
                  <c:v>149.77782773544001</c:v>
                </c:pt>
                <c:pt idx="2418">
                  <c:v>149.77782773544001</c:v>
                </c:pt>
                <c:pt idx="2419">
                  <c:v>149.77782773544001</c:v>
                </c:pt>
                <c:pt idx="2420">
                  <c:v>148.62679060577474</c:v>
                </c:pt>
                <c:pt idx="2421">
                  <c:v>148.21325727121288</c:v>
                </c:pt>
                <c:pt idx="2422">
                  <c:v>147.82459648956532</c:v>
                </c:pt>
                <c:pt idx="2423">
                  <c:v>148.61389339665777</c:v>
                </c:pt>
                <c:pt idx="2424">
                  <c:v>147.82175339124117</c:v>
                </c:pt>
                <c:pt idx="2425">
                  <c:v>147.82175339124117</c:v>
                </c:pt>
                <c:pt idx="2426">
                  <c:v>147.82175339124117</c:v>
                </c:pt>
                <c:pt idx="2427">
                  <c:v>149.29959378840803</c:v>
                </c:pt>
                <c:pt idx="2428">
                  <c:v>149.14269132568754</c:v>
                </c:pt>
                <c:pt idx="2429">
                  <c:v>148.64029697672962</c:v>
                </c:pt>
                <c:pt idx="2430">
                  <c:v>148.40666896996629</c:v>
                </c:pt>
                <c:pt idx="2431">
                  <c:v>149.34292834951955</c:v>
                </c:pt>
                <c:pt idx="2432">
                  <c:v>149.34292834951955</c:v>
                </c:pt>
                <c:pt idx="2433">
                  <c:v>149.34292834951955</c:v>
                </c:pt>
                <c:pt idx="2434">
                  <c:v>148.38600612695475</c:v>
                </c:pt>
                <c:pt idx="2435">
                  <c:v>148.13991108732876</c:v>
                </c:pt>
                <c:pt idx="2436">
                  <c:v>146.75728481422021</c:v>
                </c:pt>
                <c:pt idx="2437">
                  <c:v>148.63244904588007</c:v>
                </c:pt>
                <c:pt idx="2438">
                  <c:v>149.17405492932892</c:v>
                </c:pt>
                <c:pt idx="2439">
                  <c:v>149.17405492932892</c:v>
                </c:pt>
                <c:pt idx="2440">
                  <c:v>149.17405492932892</c:v>
                </c:pt>
                <c:pt idx="2441">
                  <c:v>149.65431145395058</c:v>
                </c:pt>
                <c:pt idx="2442">
                  <c:v>150.63341912981838</c:v>
                </c:pt>
                <c:pt idx="2443">
                  <c:v>150.85058940530777</c:v>
                </c:pt>
                <c:pt idx="2444">
                  <c:v>151.66814749513046</c:v>
                </c:pt>
                <c:pt idx="2445">
                  <c:v>151.90253676527973</c:v>
                </c:pt>
                <c:pt idx="2446">
                  <c:v>151.90253676527973</c:v>
                </c:pt>
                <c:pt idx="2447">
                  <c:v>151.90253676527973</c:v>
                </c:pt>
                <c:pt idx="2448">
                  <c:v>151.27164686416296</c:v>
                </c:pt>
                <c:pt idx="2449">
                  <c:v>151.9791572680536</c:v>
                </c:pt>
                <c:pt idx="2450">
                  <c:v>152.29068257157581</c:v>
                </c:pt>
                <c:pt idx="2451">
                  <c:v>153.02398909545528</c:v>
                </c:pt>
                <c:pt idx="2452">
                  <c:v>152.46189707728158</c:v>
                </c:pt>
                <c:pt idx="2453">
                  <c:v>152.46189707728158</c:v>
                </c:pt>
                <c:pt idx="2454">
                  <c:v>152.46189707728158</c:v>
                </c:pt>
                <c:pt idx="2455">
                  <c:v>151.54156876660292</c:v>
                </c:pt>
                <c:pt idx="2456">
                  <c:v>152.36546291535907</c:v>
                </c:pt>
                <c:pt idx="2457">
                  <c:v>152.30514323081988</c:v>
                </c:pt>
                <c:pt idx="2458">
                  <c:v>152.28920985792325</c:v>
                </c:pt>
                <c:pt idx="2459">
                  <c:v>151.77886078418609</c:v>
                </c:pt>
                <c:pt idx="2460">
                  <c:v>151.77886078418609</c:v>
                </c:pt>
                <c:pt idx="2461">
                  <c:v>151.77886078418609</c:v>
                </c:pt>
                <c:pt idx="2462">
                  <c:v>151.48363163884719</c:v>
                </c:pt>
                <c:pt idx="2463">
                  <c:v>151.73681161901743</c:v>
                </c:pt>
                <c:pt idx="2464">
                  <c:v>152.56916310007142</c:v>
                </c:pt>
                <c:pt idx="2465">
                  <c:v>152.98466797124934</c:v>
                </c:pt>
                <c:pt idx="2466">
                  <c:v>151.9748129739626</c:v>
                </c:pt>
                <c:pt idx="2467">
                  <c:v>151.9748129739626</c:v>
                </c:pt>
                <c:pt idx="2468">
                  <c:v>151.9748129739626</c:v>
                </c:pt>
                <c:pt idx="2469">
                  <c:v>152.29345822503984</c:v>
                </c:pt>
                <c:pt idx="2470">
                  <c:v>153.305855614302</c:v>
                </c:pt>
                <c:pt idx="2471">
                  <c:v>153.92561146142174</c:v>
                </c:pt>
                <c:pt idx="2472">
                  <c:v>154.88923266959219</c:v>
                </c:pt>
                <c:pt idx="2473">
                  <c:v>155.50281738951827</c:v>
                </c:pt>
                <c:pt idx="2474">
                  <c:v>155.50281738951827</c:v>
                </c:pt>
                <c:pt idx="2475">
                  <c:v>155.50281738951827</c:v>
                </c:pt>
                <c:pt idx="2476">
                  <c:v>155.29735014149705</c:v>
                </c:pt>
                <c:pt idx="2477">
                  <c:v>155.33226637866991</c:v>
                </c:pt>
                <c:pt idx="2478">
                  <c:v>155.13016377856914</c:v>
                </c:pt>
                <c:pt idx="2479">
                  <c:v>154.87513461380999</c:v>
                </c:pt>
                <c:pt idx="2480">
                  <c:v>155.6529850475691</c:v>
                </c:pt>
                <c:pt idx="2481">
                  <c:v>155.6529850475691</c:v>
                </c:pt>
                <c:pt idx="2482">
                  <c:v>155.6529850475691</c:v>
                </c:pt>
                <c:pt idx="2483">
                  <c:v>154.8816320504753</c:v>
                </c:pt>
                <c:pt idx="2484">
                  <c:v>154.98772281752213</c:v>
                </c:pt>
                <c:pt idx="2485">
                  <c:v>153.62975912750741</c:v>
                </c:pt>
                <c:pt idx="2486">
                  <c:v>152.92994213606178</c:v>
                </c:pt>
                <c:pt idx="2487">
                  <c:v>153.11975225875241</c:v>
                </c:pt>
                <c:pt idx="2488">
                  <c:v>153.11975225875241</c:v>
                </c:pt>
                <c:pt idx="2489">
                  <c:v>153.11975225875241</c:v>
                </c:pt>
                <c:pt idx="2490">
                  <c:v>152.6951795251216</c:v>
                </c:pt>
                <c:pt idx="2491">
                  <c:v>150.38879673446459</c:v>
                </c:pt>
                <c:pt idx="2492">
                  <c:v>147.74305759727309</c:v>
                </c:pt>
                <c:pt idx="2493">
                  <c:v>149.32704445397241</c:v>
                </c:pt>
                <c:pt idx="2494">
                  <c:v>150.11625151549819</c:v>
                </c:pt>
                <c:pt idx="2495">
                  <c:v>150.11625151549819</c:v>
                </c:pt>
                <c:pt idx="2496">
                  <c:v>150.11625151549819</c:v>
                </c:pt>
                <c:pt idx="2497">
                  <c:v>149.16404317841844</c:v>
                </c:pt>
                <c:pt idx="2498">
                  <c:v>149.12125278735795</c:v>
                </c:pt>
                <c:pt idx="2499">
                  <c:v>151.16381548326544</c:v>
                </c:pt>
                <c:pt idx="2500">
                  <c:v>150.80115988588202</c:v>
                </c:pt>
                <c:pt idx="2501">
                  <c:v>151.54690496316852</c:v>
                </c:pt>
                <c:pt idx="2502">
                  <c:v>151.54690496316852</c:v>
                </c:pt>
                <c:pt idx="2503">
                  <c:v>151.54690496316852</c:v>
                </c:pt>
                <c:pt idx="2504">
                  <c:v>151.15448682230681</c:v>
                </c:pt>
                <c:pt idx="2505">
                  <c:v>150.24998373910276</c:v>
                </c:pt>
                <c:pt idx="2506">
                  <c:v>150.92888105338037</c:v>
                </c:pt>
                <c:pt idx="2507">
                  <c:v>151.46394552561708</c:v>
                </c:pt>
                <c:pt idx="2508">
                  <c:v>151.84642953124342</c:v>
                </c:pt>
                <c:pt idx="2509">
                  <c:v>151.84642953124342</c:v>
                </c:pt>
                <c:pt idx="2510">
                  <c:v>151.84642953124342</c:v>
                </c:pt>
                <c:pt idx="2511">
                  <c:v>152.1715782181449</c:v>
                </c:pt>
                <c:pt idx="2512">
                  <c:v>151.7588713664866</c:v>
                </c:pt>
                <c:pt idx="2513">
                  <c:v>151.84360328879688</c:v>
                </c:pt>
                <c:pt idx="2514">
                  <c:v>150.87278106508853</c:v>
                </c:pt>
                <c:pt idx="2515">
                  <c:v>150.87554675839073</c:v>
                </c:pt>
                <c:pt idx="2516">
                  <c:v>150.87554675839073</c:v>
                </c:pt>
                <c:pt idx="2517">
                  <c:v>150.87554675839073</c:v>
                </c:pt>
                <c:pt idx="2518">
                  <c:v>150.10757892925994</c:v>
                </c:pt>
                <c:pt idx="2519">
                  <c:v>150.09052601884133</c:v>
                </c:pt>
                <c:pt idx="2520">
                  <c:v>149.10295510038009</c:v>
                </c:pt>
                <c:pt idx="2521">
                  <c:v>148.93579252171705</c:v>
                </c:pt>
                <c:pt idx="2522">
                  <c:v>149.72463013759852</c:v>
                </c:pt>
                <c:pt idx="2523">
                  <c:v>149.72463013759852</c:v>
                </c:pt>
                <c:pt idx="2524">
                  <c:v>149.72463013759852</c:v>
                </c:pt>
                <c:pt idx="2525">
                  <c:v>149.27472110950373</c:v>
                </c:pt>
                <c:pt idx="2526">
                  <c:v>149.89463875203015</c:v>
                </c:pt>
                <c:pt idx="2527">
                  <c:v>150.52119713286405</c:v>
                </c:pt>
                <c:pt idx="2528">
                  <c:v>150.81066820170264</c:v>
                </c:pt>
                <c:pt idx="2529">
                  <c:v>150.36532897874227</c:v>
                </c:pt>
                <c:pt idx="2530">
                  <c:v>150.36532897874227</c:v>
                </c:pt>
                <c:pt idx="2531">
                  <c:v>150.36532897874227</c:v>
                </c:pt>
                <c:pt idx="2532">
                  <c:v>150.98159766442706</c:v>
                </c:pt>
                <c:pt idx="2533">
                  <c:v>151.06993040024832</c:v>
                </c:pt>
                <c:pt idx="2534">
                  <c:v>150.32999703637353</c:v>
                </c:pt>
                <c:pt idx="2535">
                  <c:v>149.72560771381947</c:v>
                </c:pt>
                <c:pt idx="2536">
                  <c:v>150.23368850147997</c:v>
                </c:pt>
                <c:pt idx="2537">
                  <c:v>150.23368850147997</c:v>
                </c:pt>
                <c:pt idx="2538">
                  <c:v>150.23368850147997</c:v>
                </c:pt>
                <c:pt idx="2539">
                  <c:v>149.67161410642265</c:v>
                </c:pt>
                <c:pt idx="2540">
                  <c:v>149.61640373405061</c:v>
                </c:pt>
                <c:pt idx="2541">
                  <c:v>149.46588018884827</c:v>
                </c:pt>
                <c:pt idx="2542">
                  <c:v>150.16430132618561</c:v>
                </c:pt>
                <c:pt idx="2543">
                  <c:v>150.60999989877487</c:v>
                </c:pt>
                <c:pt idx="2544">
                  <c:v>150.60999989877487</c:v>
                </c:pt>
                <c:pt idx="2545">
                  <c:v>150.60999989877487</c:v>
                </c:pt>
                <c:pt idx="2546">
                  <c:v>149.6081885970512</c:v>
                </c:pt>
                <c:pt idx="2547">
                  <c:v>149.03322790735362</c:v>
                </c:pt>
                <c:pt idx="2548">
                  <c:v>148.79938351574305</c:v>
                </c:pt>
                <c:pt idx="2549">
                  <c:v>148.56387836939601</c:v>
                </c:pt>
                <c:pt idx="2550">
                  <c:v>148.56387836939601</c:v>
                </c:pt>
                <c:pt idx="2551">
                  <c:v>148.56387836939601</c:v>
                </c:pt>
                <c:pt idx="2552">
                  <c:v>148.56387836939601</c:v>
                </c:pt>
                <c:pt idx="2553">
                  <c:v>148.37281971935238</c:v>
                </c:pt>
                <c:pt idx="2554">
                  <c:v>148.93304502627856</c:v>
                </c:pt>
                <c:pt idx="2555">
                  <c:v>150.2377458147383</c:v>
                </c:pt>
                <c:pt idx="2556">
                  <c:v>150.21052475485439</c:v>
                </c:pt>
                <c:pt idx="2557">
                  <c:v>150.21052475485439</c:v>
                </c:pt>
                <c:pt idx="2558">
                  <c:v>150.21052475485439</c:v>
                </c:pt>
                <c:pt idx="2559">
                  <c:v>150.21052475485439</c:v>
                </c:pt>
                <c:pt idx="2560">
                  <c:v>151.15947256310952</c:v>
                </c:pt>
                <c:pt idx="2561">
                  <c:v>152.20950514453679</c:v>
                </c:pt>
                <c:pt idx="2562">
                  <c:v>152.93120790710523</c:v>
                </c:pt>
                <c:pt idx="2563">
                  <c:v>154.1562154292275</c:v>
                </c:pt>
                <c:pt idx="2564">
                  <c:v>154.19548194837472</c:v>
                </c:pt>
                <c:pt idx="2565">
                  <c:v>154.19548194837472</c:v>
                </c:pt>
                <c:pt idx="2566">
                  <c:v>154.19548194837472</c:v>
                </c:pt>
                <c:pt idx="2567">
                  <c:v>153.90707525699688</c:v>
                </c:pt>
                <c:pt idx="2568">
                  <c:v>153.17726016102415</c:v>
                </c:pt>
                <c:pt idx="2569">
                  <c:v>153.84808286616996</c:v>
                </c:pt>
                <c:pt idx="2570">
                  <c:v>153.84730912567809</c:v>
                </c:pt>
                <c:pt idx="2571">
                  <c:v>154.7818948219919</c:v>
                </c:pt>
                <c:pt idx="2572">
                  <c:v>154.7818948219919</c:v>
                </c:pt>
                <c:pt idx="2573">
                  <c:v>154.7818948219919</c:v>
                </c:pt>
                <c:pt idx="2574">
                  <c:v>154.36829967249767</c:v>
                </c:pt>
                <c:pt idx="2575">
                  <c:v>153.65731468655591</c:v>
                </c:pt>
                <c:pt idx="2576">
                  <c:v>154.46351012542829</c:v>
                </c:pt>
                <c:pt idx="2577">
                  <c:v>155.31745202467857</c:v>
                </c:pt>
                <c:pt idx="2578">
                  <c:v>154.44366067834957</c:v>
                </c:pt>
                <c:pt idx="2579">
                  <c:v>154.44366067834957</c:v>
                </c:pt>
                <c:pt idx="2580">
                  <c:v>154.44366067834957</c:v>
                </c:pt>
                <c:pt idx="2581">
                  <c:v>155.89535788463084</c:v>
                </c:pt>
                <c:pt idx="2582">
                  <c:v>154.967955775984</c:v>
                </c:pt>
                <c:pt idx="2583">
                  <c:v>155.55026392075408</c:v>
                </c:pt>
                <c:pt idx="2584">
                  <c:v>157.18186063040918</c:v>
                </c:pt>
                <c:pt idx="2585">
                  <c:v>156.12868329391168</c:v>
                </c:pt>
                <c:pt idx="2586">
                  <c:v>156.12868329391168</c:v>
                </c:pt>
                <c:pt idx="2587">
                  <c:v>156.12868329391168</c:v>
                </c:pt>
                <c:pt idx="2588">
                  <c:v>156.4711107067333</c:v>
                </c:pt>
                <c:pt idx="2589">
                  <c:v>157.62462041501198</c:v>
                </c:pt>
                <c:pt idx="2590">
                  <c:v>157.71288583458247</c:v>
                </c:pt>
                <c:pt idx="2591">
                  <c:v>157.7512919610418</c:v>
                </c:pt>
                <c:pt idx="2592">
                  <c:v>157.33531307081847</c:v>
                </c:pt>
                <c:pt idx="2593">
                  <c:v>157.33531307081847</c:v>
                </c:pt>
                <c:pt idx="2594">
                  <c:v>157.33531307081847</c:v>
                </c:pt>
                <c:pt idx="2595">
                  <c:v>155.13798708589806</c:v>
                </c:pt>
                <c:pt idx="2596">
                  <c:v>155.46575569978452</c:v>
                </c:pt>
                <c:pt idx="2597">
                  <c:v>155.04858112411694</c:v>
                </c:pt>
                <c:pt idx="2598">
                  <c:v>155.54374349166505</c:v>
                </c:pt>
                <c:pt idx="2599">
                  <c:v>154.69030193018244</c:v>
                </c:pt>
                <c:pt idx="2600">
                  <c:v>154.69030193018244</c:v>
                </c:pt>
                <c:pt idx="2601">
                  <c:v>154.69030193018244</c:v>
                </c:pt>
                <c:pt idx="2602">
                  <c:v>154.10802451765556</c:v>
                </c:pt>
                <c:pt idx="2603">
                  <c:v>153.68384207422164</c:v>
                </c:pt>
                <c:pt idx="2604">
                  <c:v>154.94482733239482</c:v>
                </c:pt>
                <c:pt idx="2605">
                  <c:v>154.7237623965521</c:v>
                </c:pt>
                <c:pt idx="2606">
                  <c:v>153.9795338444581</c:v>
                </c:pt>
                <c:pt idx="2607">
                  <c:v>153.9795338444581</c:v>
                </c:pt>
                <c:pt idx="2608">
                  <c:v>153.9795338444581</c:v>
                </c:pt>
                <c:pt idx="2609">
                  <c:v>154.83237712702535</c:v>
                </c:pt>
                <c:pt idx="2610">
                  <c:v>155.31632627988515</c:v>
                </c:pt>
                <c:pt idx="2611">
                  <c:v>154.13996188322994</c:v>
                </c:pt>
                <c:pt idx="2612">
                  <c:v>153.92171188166395</c:v>
                </c:pt>
                <c:pt idx="2613">
                  <c:v>153.69528142583584</c:v>
                </c:pt>
                <c:pt idx="2614">
                  <c:v>153.69528142583584</c:v>
                </c:pt>
                <c:pt idx="2615">
                  <c:v>153.69528142583584</c:v>
                </c:pt>
                <c:pt idx="2616">
                  <c:v>154.14351897208624</c:v>
                </c:pt>
                <c:pt idx="2617">
                  <c:v>154.56852014180566</c:v>
                </c:pt>
                <c:pt idx="2618">
                  <c:v>154.49917841699218</c:v>
                </c:pt>
                <c:pt idx="2619">
                  <c:v>155.1603210047065</c:v>
                </c:pt>
                <c:pt idx="2620">
                  <c:v>154.64479877999008</c:v>
                </c:pt>
                <c:pt idx="2621">
                  <c:v>154.64479877999008</c:v>
                </c:pt>
                <c:pt idx="2622">
                  <c:v>154.64479877999008</c:v>
                </c:pt>
                <c:pt idx="2623">
                  <c:v>154.50958920369033</c:v>
                </c:pt>
                <c:pt idx="2624">
                  <c:v>154.55912913412553</c:v>
                </c:pt>
                <c:pt idx="2625">
                  <c:v>154.88276136995367</c:v>
                </c:pt>
                <c:pt idx="2626">
                  <c:v>155.35089282568939</c:v>
                </c:pt>
                <c:pt idx="2627">
                  <c:v>156.16873016444632</c:v>
                </c:pt>
                <c:pt idx="2628">
                  <c:v>156.16873016444632</c:v>
                </c:pt>
                <c:pt idx="2629">
                  <c:v>156.16873016444632</c:v>
                </c:pt>
                <c:pt idx="2630">
                  <c:v>155.96506924264287</c:v>
                </c:pt>
                <c:pt idx="2631">
                  <c:v>156.40023155786972</c:v>
                </c:pt>
                <c:pt idx="2632">
                  <c:v>156.84351463721256</c:v>
                </c:pt>
                <c:pt idx="2633">
                  <c:v>156.70581967480675</c:v>
                </c:pt>
                <c:pt idx="2634">
                  <c:v>156.58446482598657</c:v>
                </c:pt>
                <c:pt idx="2635">
                  <c:v>156.58446482598657</c:v>
                </c:pt>
                <c:pt idx="2636">
                  <c:v>156.58446482598657</c:v>
                </c:pt>
                <c:pt idx="2637">
                  <c:v>156.54400459042677</c:v>
                </c:pt>
                <c:pt idx="2638">
                  <c:v>157.13605079325029</c:v>
                </c:pt>
                <c:pt idx="2639">
                  <c:v>157.67414119030198</c:v>
                </c:pt>
                <c:pt idx="2640">
                  <c:v>157.67586434544458</c:v>
                </c:pt>
                <c:pt idx="2641">
                  <c:v>158.80175119439104</c:v>
                </c:pt>
                <c:pt idx="2642">
                  <c:v>158.80175119439104</c:v>
                </c:pt>
                <c:pt idx="2643">
                  <c:v>158.80175119439104</c:v>
                </c:pt>
                <c:pt idx="2644">
                  <c:v>158.34549566664072</c:v>
                </c:pt>
                <c:pt idx="2645">
                  <c:v>158.07936475695109</c:v>
                </c:pt>
                <c:pt idx="2646">
                  <c:v>158.15194874844934</c:v>
                </c:pt>
                <c:pt idx="2647">
                  <c:v>158.60654122248994</c:v>
                </c:pt>
                <c:pt idx="2648">
                  <c:v>158.60654122248994</c:v>
                </c:pt>
                <c:pt idx="2649">
                  <c:v>158.60654122248994</c:v>
                </c:pt>
                <c:pt idx="2650">
                  <c:v>158.60654122248994</c:v>
                </c:pt>
                <c:pt idx="2651">
                  <c:v>158.60654122248994</c:v>
                </c:pt>
                <c:pt idx="2652">
                  <c:v>160.08227183394152</c:v>
                </c:pt>
                <c:pt idx="2653">
                  <c:v>160.29188503803871</c:v>
                </c:pt>
                <c:pt idx="2654">
                  <c:v>160.9570448774484</c:v>
                </c:pt>
                <c:pt idx="2655">
                  <c:v>160.64868667917429</c:v>
                </c:pt>
                <c:pt idx="2656">
                  <c:v>160.64868667917429</c:v>
                </c:pt>
                <c:pt idx="2657">
                  <c:v>160.64868667917429</c:v>
                </c:pt>
                <c:pt idx="2658">
                  <c:v>160.2805570288196</c:v>
                </c:pt>
                <c:pt idx="2659">
                  <c:v>159.62385654351473</c:v>
                </c:pt>
                <c:pt idx="2660">
                  <c:v>159.98188651565255</c:v>
                </c:pt>
                <c:pt idx="2661">
                  <c:v>160.05655581074686</c:v>
                </c:pt>
                <c:pt idx="2662">
                  <c:v>160.65248811546763</c:v>
                </c:pt>
                <c:pt idx="2663">
                  <c:v>160.65248811546763</c:v>
                </c:pt>
                <c:pt idx="2664">
                  <c:v>160.65248811546763</c:v>
                </c:pt>
                <c:pt idx="2665">
                  <c:v>159.77969506663899</c:v>
                </c:pt>
                <c:pt idx="2666">
                  <c:v>160.42685264935133</c:v>
                </c:pt>
                <c:pt idx="2667">
                  <c:v>161.22628138704982</c:v>
                </c:pt>
                <c:pt idx="2668">
                  <c:v>161.7572265437432</c:v>
                </c:pt>
                <c:pt idx="2669">
                  <c:v>163.00932689923496</c:v>
                </c:pt>
                <c:pt idx="2670">
                  <c:v>163.00932689923496</c:v>
                </c:pt>
                <c:pt idx="2671">
                  <c:v>163.00932689923496</c:v>
                </c:pt>
                <c:pt idx="2672">
                  <c:v>162.97944489134153</c:v>
                </c:pt>
                <c:pt idx="2673">
                  <c:v>163.75132374998665</c:v>
                </c:pt>
                <c:pt idx="2674">
                  <c:v>162.31162190699564</c:v>
                </c:pt>
                <c:pt idx="2675">
                  <c:v>163.39547625734536</c:v>
                </c:pt>
                <c:pt idx="2676">
                  <c:v>163.87479435867624</c:v>
                </c:pt>
                <c:pt idx="2677">
                  <c:v>163.87479435867624</c:v>
                </c:pt>
                <c:pt idx="2678">
                  <c:v>163.87479435867624</c:v>
                </c:pt>
                <c:pt idx="2679">
                  <c:v>164.23642702471193</c:v>
                </c:pt>
                <c:pt idx="2680">
                  <c:v>164.1831100857903</c:v>
                </c:pt>
                <c:pt idx="2681">
                  <c:v>162.5132928184797</c:v>
                </c:pt>
                <c:pt idx="2682">
                  <c:v>163.10960377844626</c:v>
                </c:pt>
                <c:pt idx="2683">
                  <c:v>162.04408882658757</c:v>
                </c:pt>
                <c:pt idx="2684">
                  <c:v>162.04408882658757</c:v>
                </c:pt>
                <c:pt idx="2685">
                  <c:v>162.04408882658757</c:v>
                </c:pt>
                <c:pt idx="2686">
                  <c:v>161.78292057577127</c:v>
                </c:pt>
                <c:pt idx="2687">
                  <c:v>161.49978623873085</c:v>
                </c:pt>
                <c:pt idx="2688">
                  <c:v>163.3537590782928</c:v>
                </c:pt>
                <c:pt idx="2689">
                  <c:v>163.16448117281197</c:v>
                </c:pt>
                <c:pt idx="2690">
                  <c:v>163.79638204332485</c:v>
                </c:pt>
                <c:pt idx="2691">
                  <c:v>163.79638204332485</c:v>
                </c:pt>
                <c:pt idx="2692">
                  <c:v>163.79638204332485</c:v>
                </c:pt>
                <c:pt idx="2693">
                  <c:v>162.43467995701931</c:v>
                </c:pt>
                <c:pt idx="2694">
                  <c:v>161.82062907061146</c:v>
                </c:pt>
                <c:pt idx="2695">
                  <c:v>160.81455913081717</c:v>
                </c:pt>
                <c:pt idx="2696">
                  <c:v>159.19401121664802</c:v>
                </c:pt>
                <c:pt idx="2697">
                  <c:v>160.13146326877549</c:v>
                </c:pt>
                <c:pt idx="2698">
                  <c:v>160.13146326877549</c:v>
                </c:pt>
                <c:pt idx="2699">
                  <c:v>160.13146326877549</c:v>
                </c:pt>
                <c:pt idx="2700">
                  <c:v>159.98692073000072</c:v>
                </c:pt>
                <c:pt idx="2701">
                  <c:v>157.56641676042341</c:v>
                </c:pt>
                <c:pt idx="2702">
                  <c:v>159.10556296805518</c:v>
                </c:pt>
                <c:pt idx="2703">
                  <c:v>159.40114311261596</c:v>
                </c:pt>
                <c:pt idx="2704">
                  <c:v>159.32403926425368</c:v>
                </c:pt>
                <c:pt idx="2705">
                  <c:v>159.32403926425368</c:v>
                </c:pt>
                <c:pt idx="2706">
                  <c:v>159.32403926425368</c:v>
                </c:pt>
                <c:pt idx="2707">
                  <c:v>159.59917143767879</c:v>
                </c:pt>
                <c:pt idx="2708">
                  <c:v>159.27793266935129</c:v>
                </c:pt>
                <c:pt idx="2709">
                  <c:v>159.53096167820527</c:v>
                </c:pt>
                <c:pt idx="2710">
                  <c:v>159.86588896352356</c:v>
                </c:pt>
                <c:pt idx="2711">
                  <c:v>159.91858979704588</c:v>
                </c:pt>
                <c:pt idx="2712">
                  <c:v>159.91858979704588</c:v>
                </c:pt>
                <c:pt idx="2713">
                  <c:v>159.91858979704588</c:v>
                </c:pt>
                <c:pt idx="2714">
                  <c:v>158.99269200553726</c:v>
                </c:pt>
                <c:pt idx="2715">
                  <c:v>158.30165884183813</c:v>
                </c:pt>
                <c:pt idx="2716">
                  <c:v>159.40491666097935</c:v>
                </c:pt>
                <c:pt idx="2717">
                  <c:v>159.89442454554933</c:v>
                </c:pt>
                <c:pt idx="2718">
                  <c:v>159.75283510911021</c:v>
                </c:pt>
                <c:pt idx="2719">
                  <c:v>159.75283510911021</c:v>
                </c:pt>
                <c:pt idx="2720">
                  <c:v>159.75283510911021</c:v>
                </c:pt>
                <c:pt idx="2721">
                  <c:v>160.67897270019964</c:v>
                </c:pt>
                <c:pt idx="2722">
                  <c:v>160.69601976240438</c:v>
                </c:pt>
                <c:pt idx="2723">
                  <c:v>159.82643923203347</c:v>
                </c:pt>
                <c:pt idx="2724">
                  <c:v>159.43582856611559</c:v>
                </c:pt>
                <c:pt idx="2725">
                  <c:v>160.07166862149799</c:v>
                </c:pt>
                <c:pt idx="2726">
                  <c:v>160.07166862149799</c:v>
                </c:pt>
                <c:pt idx="2727">
                  <c:v>160.07166862149799</c:v>
                </c:pt>
                <c:pt idx="2728">
                  <c:v>159.75470785801318</c:v>
                </c:pt>
                <c:pt idx="2729">
                  <c:v>159.7674063116369</c:v>
                </c:pt>
                <c:pt idx="2730">
                  <c:v>160.2600218422788</c:v>
                </c:pt>
                <c:pt idx="2731">
                  <c:v>159.93623020601208</c:v>
                </c:pt>
                <c:pt idx="2732">
                  <c:v>159.91641165300302</c:v>
                </c:pt>
                <c:pt idx="2733">
                  <c:v>159.91641165300302</c:v>
                </c:pt>
                <c:pt idx="2734">
                  <c:v>159.91641165300302</c:v>
                </c:pt>
                <c:pt idx="2735">
                  <c:v>159.64642885965239</c:v>
                </c:pt>
                <c:pt idx="2736">
                  <c:v>159.35861941366198</c:v>
                </c:pt>
                <c:pt idx="2737">
                  <c:v>158.56452829216062</c:v>
                </c:pt>
                <c:pt idx="2738">
                  <c:v>158.42096014646597</c:v>
                </c:pt>
                <c:pt idx="2739">
                  <c:v>159.43309561891172</c:v>
                </c:pt>
                <c:pt idx="2740">
                  <c:v>159.43309561891172</c:v>
                </c:pt>
                <c:pt idx="2741">
                  <c:v>159.43309561891172</c:v>
                </c:pt>
                <c:pt idx="2742">
                  <c:v>160.04270575728938</c:v>
                </c:pt>
                <c:pt idx="2743">
                  <c:v>160.23686692265881</c:v>
                </c:pt>
                <c:pt idx="2744">
                  <c:v>159.42879302093272</c:v>
                </c:pt>
                <c:pt idx="2745">
                  <c:v>159.49036008727592</c:v>
                </c:pt>
                <c:pt idx="2746">
                  <c:v>159.32775618874243</c:v>
                </c:pt>
                <c:pt idx="2747">
                  <c:v>159.32775618874243</c:v>
                </c:pt>
                <c:pt idx="2748">
                  <c:v>159.32775618874243</c:v>
                </c:pt>
                <c:pt idx="2749">
                  <c:v>159.08285338642534</c:v>
                </c:pt>
                <c:pt idx="2750">
                  <c:v>158.90459706355563</c:v>
                </c:pt>
                <c:pt idx="2751">
                  <c:v>158.8318959171398</c:v>
                </c:pt>
                <c:pt idx="2752">
                  <c:v>159.05836107025002</c:v>
                </c:pt>
                <c:pt idx="2753">
                  <c:v>159.92379455144362</c:v>
                </c:pt>
                <c:pt idx="2754">
                  <c:v>159.92379455144362</c:v>
                </c:pt>
                <c:pt idx="2755">
                  <c:v>159.92379455144362</c:v>
                </c:pt>
                <c:pt idx="2756">
                  <c:v>159.44420289212053</c:v>
                </c:pt>
                <c:pt idx="2757">
                  <c:v>158.56626978048902</c:v>
                </c:pt>
                <c:pt idx="2758">
                  <c:v>159.91495789345581</c:v>
                </c:pt>
                <c:pt idx="2759">
                  <c:v>159.32882722417793</c:v>
                </c:pt>
                <c:pt idx="2760">
                  <c:v>160.62419362014481</c:v>
                </c:pt>
                <c:pt idx="2761">
                  <c:v>160.62419362014481</c:v>
                </c:pt>
                <c:pt idx="2762">
                  <c:v>160.62419362014481</c:v>
                </c:pt>
                <c:pt idx="2763">
                  <c:v>160.56410590971919</c:v>
                </c:pt>
                <c:pt idx="2764">
                  <c:v>159.92118417037577</c:v>
                </c:pt>
                <c:pt idx="2765">
                  <c:v>159.4545247004331</c:v>
                </c:pt>
                <c:pt idx="2766">
                  <c:v>159.82191127344356</c:v>
                </c:pt>
                <c:pt idx="2767">
                  <c:v>159.37636823345542</c:v>
                </c:pt>
                <c:pt idx="2768">
                  <c:v>159.37636823345542</c:v>
                </c:pt>
                <c:pt idx="2769">
                  <c:v>159.37636823345542</c:v>
                </c:pt>
                <c:pt idx="2770">
                  <c:v>159.41209310440058</c:v>
                </c:pt>
                <c:pt idx="2771">
                  <c:v>159.956826760018</c:v>
                </c:pt>
                <c:pt idx="2772">
                  <c:v>159.68212454395618</c:v>
                </c:pt>
                <c:pt idx="2773">
                  <c:v>160.32719807553471</c:v>
                </c:pt>
                <c:pt idx="2774">
                  <c:v>160.74882150912688</c:v>
                </c:pt>
                <c:pt idx="2775">
                  <c:v>160.74882150912688</c:v>
                </c:pt>
                <c:pt idx="2776">
                  <c:v>160.74882150912688</c:v>
                </c:pt>
                <c:pt idx="2777">
                  <c:v>160.23392298398315</c:v>
                </c:pt>
                <c:pt idx="2778">
                  <c:v>159.31123760653105</c:v>
                </c:pt>
                <c:pt idx="2779">
                  <c:v>158.79616426028451</c:v>
                </c:pt>
                <c:pt idx="2780">
                  <c:v>156.91243212776013</c:v>
                </c:pt>
                <c:pt idx="2781">
                  <c:v>157.05715242643754</c:v>
                </c:pt>
                <c:pt idx="2782">
                  <c:v>157.05715242643754</c:v>
                </c:pt>
                <c:pt idx="2783">
                  <c:v>157.05715242643754</c:v>
                </c:pt>
                <c:pt idx="2784">
                  <c:v>157.18331782898264</c:v>
                </c:pt>
                <c:pt idx="2785">
                  <c:v>158.03170562389835</c:v>
                </c:pt>
                <c:pt idx="2786">
                  <c:v>158.47646639986229</c:v>
                </c:pt>
                <c:pt idx="2787">
                  <c:v>159.53014795105636</c:v>
                </c:pt>
                <c:pt idx="2788">
                  <c:v>158.82185112265327</c:v>
                </c:pt>
                <c:pt idx="2789">
                  <c:v>158.82185112265327</c:v>
                </c:pt>
                <c:pt idx="2790">
                  <c:v>158.82185112265327</c:v>
                </c:pt>
                <c:pt idx="2791">
                  <c:v>158.6139493105905</c:v>
                </c:pt>
                <c:pt idx="2792">
                  <c:v>158.04140061048369</c:v>
                </c:pt>
                <c:pt idx="2793">
                  <c:v>157.76435195341259</c:v>
                </c:pt>
                <c:pt idx="2794">
                  <c:v>158.08866146673819</c:v>
                </c:pt>
                <c:pt idx="2795">
                  <c:v>158.29896834434203</c:v>
                </c:pt>
                <c:pt idx="2796">
                  <c:v>158.29896834434203</c:v>
                </c:pt>
                <c:pt idx="2797">
                  <c:v>158.29896834434203</c:v>
                </c:pt>
                <c:pt idx="2798">
                  <c:v>158.61927367771975</c:v>
                </c:pt>
                <c:pt idx="2799">
                  <c:v>158.46156829670565</c:v>
                </c:pt>
                <c:pt idx="2800">
                  <c:v>158.20106292571356</c:v>
                </c:pt>
                <c:pt idx="2801">
                  <c:v>159.30389785497246</c:v>
                </c:pt>
                <c:pt idx="2802">
                  <c:v>158.88949439148013</c:v>
                </c:pt>
                <c:pt idx="2803">
                  <c:v>158.88949439148013</c:v>
                </c:pt>
                <c:pt idx="2804">
                  <c:v>158.88949439148013</c:v>
                </c:pt>
                <c:pt idx="2805">
                  <c:v>158.94427895224644</c:v>
                </c:pt>
                <c:pt idx="2806">
                  <c:v>158.42934438852515</c:v>
                </c:pt>
                <c:pt idx="2807">
                  <c:v>158.45718296417931</c:v>
                </c:pt>
                <c:pt idx="2808">
                  <c:v>158.74207267480529</c:v>
                </c:pt>
                <c:pt idx="2809">
                  <c:v>159.30751115287248</c:v>
                </c:pt>
                <c:pt idx="2810">
                  <c:v>159.30751115287248</c:v>
                </c:pt>
                <c:pt idx="2811">
                  <c:v>159.30751115287248</c:v>
                </c:pt>
                <c:pt idx="2812">
                  <c:v>159.30373555007617</c:v>
                </c:pt>
                <c:pt idx="2813">
                  <c:v>159.13177029703948</c:v>
                </c:pt>
                <c:pt idx="2814">
                  <c:v>159.40883435898678</c:v>
                </c:pt>
                <c:pt idx="2815">
                  <c:v>159.65861463343231</c:v>
                </c:pt>
                <c:pt idx="2816">
                  <c:v>160.68499672786717</c:v>
                </c:pt>
                <c:pt idx="2817">
                  <c:v>160.68499672786717</c:v>
                </c:pt>
                <c:pt idx="2818">
                  <c:v>160.68499672786717</c:v>
                </c:pt>
                <c:pt idx="2819">
                  <c:v>159.63843650197518</c:v>
                </c:pt>
                <c:pt idx="2820">
                  <c:v>160.72209971410354</c:v>
                </c:pt>
                <c:pt idx="2821">
                  <c:v>160.94846097983327</c:v>
                </c:pt>
                <c:pt idx="2822">
                  <c:v>160.81774666509608</c:v>
                </c:pt>
                <c:pt idx="2823">
                  <c:v>160.70600345167631</c:v>
                </c:pt>
                <c:pt idx="2824">
                  <c:v>160.70600345167631</c:v>
                </c:pt>
                <c:pt idx="2825">
                  <c:v>160.70600345167631</c:v>
                </c:pt>
                <c:pt idx="2826">
                  <c:v>161.74821626966985</c:v>
                </c:pt>
                <c:pt idx="2827">
                  <c:v>162.2461393775144</c:v>
                </c:pt>
                <c:pt idx="2828">
                  <c:v>162.82317257786843</c:v>
                </c:pt>
                <c:pt idx="2829">
                  <c:v>162.94007105787881</c:v>
                </c:pt>
                <c:pt idx="2830">
                  <c:v>163.40827143396677</c:v>
                </c:pt>
                <c:pt idx="2831">
                  <c:v>163.40827143396677</c:v>
                </c:pt>
                <c:pt idx="2832">
                  <c:v>163.40827143396677</c:v>
                </c:pt>
                <c:pt idx="2833">
                  <c:v>164.1384542031393</c:v>
                </c:pt>
                <c:pt idx="2834">
                  <c:v>163.49688359186928</c:v>
                </c:pt>
                <c:pt idx="2835">
                  <c:v>163.71793543444119</c:v>
                </c:pt>
                <c:pt idx="2836">
                  <c:v>163.42726335005023</c:v>
                </c:pt>
                <c:pt idx="2837">
                  <c:v>163.11062222468976</c:v>
                </c:pt>
                <c:pt idx="2838">
                  <c:v>163.11062222468976</c:v>
                </c:pt>
                <c:pt idx="2839">
                  <c:v>163.11062222468976</c:v>
                </c:pt>
                <c:pt idx="2840">
                  <c:v>163.89044801352469</c:v>
                </c:pt>
                <c:pt idx="2841">
                  <c:v>163.92862545250958</c:v>
                </c:pt>
                <c:pt idx="2842">
                  <c:v>163.68289752405329</c:v>
                </c:pt>
                <c:pt idx="2843">
                  <c:v>164.10288830341619</c:v>
                </c:pt>
                <c:pt idx="2844">
                  <c:v>163.71545910895509</c:v>
                </c:pt>
                <c:pt idx="2845">
                  <c:v>163.71545910895509</c:v>
                </c:pt>
                <c:pt idx="2846">
                  <c:v>163.71545910895509</c:v>
                </c:pt>
                <c:pt idx="2847">
                  <c:v>163.38166787686836</c:v>
                </c:pt>
                <c:pt idx="2848">
                  <c:v>163.57492274153725</c:v>
                </c:pt>
                <c:pt idx="2849">
                  <c:v>163.39997266305545</c:v>
                </c:pt>
                <c:pt idx="2850">
                  <c:v>163.69422011430794</c:v>
                </c:pt>
                <c:pt idx="2851">
                  <c:v>164.30313704395127</c:v>
                </c:pt>
                <c:pt idx="2852">
                  <c:v>164.30313704395127</c:v>
                </c:pt>
                <c:pt idx="2853">
                  <c:v>164.30313704395127</c:v>
                </c:pt>
                <c:pt idx="2854">
                  <c:v>164.88611926007152</c:v>
                </c:pt>
                <c:pt idx="2855">
                  <c:v>165.15310711542287</c:v>
                </c:pt>
                <c:pt idx="2856">
                  <c:v>164.99013211717681</c:v>
                </c:pt>
                <c:pt idx="2857">
                  <c:v>164.28217188496407</c:v>
                </c:pt>
                <c:pt idx="2858">
                  <c:v>164.56543709318052</c:v>
                </c:pt>
                <c:pt idx="2859">
                  <c:v>164.56543709318052</c:v>
                </c:pt>
                <c:pt idx="2860">
                  <c:v>164.56543709318052</c:v>
                </c:pt>
                <c:pt idx="2861">
                  <c:v>165.33928071395596</c:v>
                </c:pt>
                <c:pt idx="2862">
                  <c:v>164.57690372605205</c:v>
                </c:pt>
                <c:pt idx="2863">
                  <c:v>164.7247395381379</c:v>
                </c:pt>
                <c:pt idx="2864">
                  <c:v>164.47173574865866</c:v>
                </c:pt>
                <c:pt idx="2865">
                  <c:v>164.48978794069214</c:v>
                </c:pt>
                <c:pt idx="2866">
                  <c:v>164.48978794069214</c:v>
                </c:pt>
                <c:pt idx="2867">
                  <c:v>164.48978794069214</c:v>
                </c:pt>
                <c:pt idx="2868">
                  <c:v>164.52256672321744</c:v>
                </c:pt>
                <c:pt idx="2869">
                  <c:v>165.08870839902332</c:v>
                </c:pt>
                <c:pt idx="2870">
                  <c:v>164.83005573054467</c:v>
                </c:pt>
                <c:pt idx="2871">
                  <c:v>163.83098967397595</c:v>
                </c:pt>
                <c:pt idx="2872">
                  <c:v>163.53357646322789</c:v>
                </c:pt>
                <c:pt idx="2873">
                  <c:v>163.53357646322789</c:v>
                </c:pt>
                <c:pt idx="2874">
                  <c:v>163.53357646322789</c:v>
                </c:pt>
                <c:pt idx="2875">
                  <c:v>163.94742982860691</c:v>
                </c:pt>
                <c:pt idx="2876">
                  <c:v>163.83714413028693</c:v>
                </c:pt>
                <c:pt idx="2877">
                  <c:v>163.57357355461752</c:v>
                </c:pt>
                <c:pt idx="2878">
                  <c:v>163.63986282693244</c:v>
                </c:pt>
                <c:pt idx="2879">
                  <c:v>164.26185551339043</c:v>
                </c:pt>
                <c:pt idx="2880">
                  <c:v>164.26185551339043</c:v>
                </c:pt>
                <c:pt idx="2881">
                  <c:v>164.26185551339043</c:v>
                </c:pt>
                <c:pt idx="2882">
                  <c:v>165.04519022866452</c:v>
                </c:pt>
                <c:pt idx="2883">
                  <c:v>165.35441855615821</c:v>
                </c:pt>
                <c:pt idx="2884">
                  <c:v>165.6293143135687</c:v>
                </c:pt>
                <c:pt idx="2885">
                  <c:v>166.11192986895259</c:v>
                </c:pt>
                <c:pt idx="2886">
                  <c:v>166.60965659824234</c:v>
                </c:pt>
                <c:pt idx="2887">
                  <c:v>166.60965659824234</c:v>
                </c:pt>
                <c:pt idx="2888">
                  <c:v>166.60965659824234</c:v>
                </c:pt>
                <c:pt idx="2889">
                  <c:v>166.85788829800501</c:v>
                </c:pt>
                <c:pt idx="2890">
                  <c:v>166.47261050050088</c:v>
                </c:pt>
                <c:pt idx="2891">
                  <c:v>167.37550728026724</c:v>
                </c:pt>
                <c:pt idx="2892">
                  <c:v>168.76836366565422</c:v>
                </c:pt>
                <c:pt idx="2893">
                  <c:v>169.53784393230123</c:v>
                </c:pt>
                <c:pt idx="2894">
                  <c:v>169.53784393230123</c:v>
                </c:pt>
                <c:pt idx="2895">
                  <c:v>169.53784393230123</c:v>
                </c:pt>
                <c:pt idx="2896">
                  <c:v>170.39444144080991</c:v>
                </c:pt>
                <c:pt idx="2897">
                  <c:v>170.94010792667916</c:v>
                </c:pt>
                <c:pt idx="2898">
                  <c:v>170.08475118760751</c:v>
                </c:pt>
                <c:pt idx="2899">
                  <c:v>168.88177778869553</c:v>
                </c:pt>
                <c:pt idx="2900">
                  <c:v>169.12641130570421</c:v>
                </c:pt>
                <c:pt idx="2901">
                  <c:v>169.12641130570421</c:v>
                </c:pt>
                <c:pt idx="2902">
                  <c:v>169.12641130570421</c:v>
                </c:pt>
                <c:pt idx="2903">
                  <c:v>169.48231930794145</c:v>
                </c:pt>
                <c:pt idx="2904">
                  <c:v>169.13060749127217</c:v>
                </c:pt>
                <c:pt idx="2905">
                  <c:v>169.6343557274526</c:v>
                </c:pt>
                <c:pt idx="2906">
                  <c:v>168.90416504086824</c:v>
                </c:pt>
                <c:pt idx="2907">
                  <c:v>170.08583041156297</c:v>
                </c:pt>
                <c:pt idx="2908">
                  <c:v>170.08583041156297</c:v>
                </c:pt>
                <c:pt idx="2909">
                  <c:v>170.08583041156297</c:v>
                </c:pt>
                <c:pt idx="2910">
                  <c:v>170.08991556517418</c:v>
                </c:pt>
                <c:pt idx="2911">
                  <c:v>169.70867136961684</c:v>
                </c:pt>
                <c:pt idx="2912">
                  <c:v>169.85724688849385</c:v>
                </c:pt>
                <c:pt idx="2913">
                  <c:v>169.85930309007216</c:v>
                </c:pt>
                <c:pt idx="2914">
                  <c:v>169.53012245370041</c:v>
                </c:pt>
                <c:pt idx="2915">
                  <c:v>169.53012245370041</c:v>
                </c:pt>
                <c:pt idx="2916">
                  <c:v>169.53012245370041</c:v>
                </c:pt>
                <c:pt idx="2917">
                  <c:v>169.76005172047923</c:v>
                </c:pt>
                <c:pt idx="2918">
                  <c:v>169.76911763042062</c:v>
                </c:pt>
                <c:pt idx="2919">
                  <c:v>170.69481505222225</c:v>
                </c:pt>
                <c:pt idx="2920">
                  <c:v>171.53503359895629</c:v>
                </c:pt>
                <c:pt idx="2921">
                  <c:v>172.57298004958577</c:v>
                </c:pt>
                <c:pt idx="2922">
                  <c:v>172.57298004958577</c:v>
                </c:pt>
                <c:pt idx="2923">
                  <c:v>172.57298004958577</c:v>
                </c:pt>
                <c:pt idx="2924">
                  <c:v>172.06526564452517</c:v>
                </c:pt>
                <c:pt idx="2925">
                  <c:v>171.55408793026643</c:v>
                </c:pt>
                <c:pt idx="2926">
                  <c:v>171.06726385738432</c:v>
                </c:pt>
                <c:pt idx="2927">
                  <c:v>171.05549237412649</c:v>
                </c:pt>
                <c:pt idx="2928">
                  <c:v>171.55485502404235</c:v>
                </c:pt>
                <c:pt idx="2929">
                  <c:v>171.55485502404235</c:v>
                </c:pt>
                <c:pt idx="2930">
                  <c:v>171.55485502404235</c:v>
                </c:pt>
                <c:pt idx="2931">
                  <c:v>171.32836737815779</c:v>
                </c:pt>
                <c:pt idx="2932">
                  <c:v>171.95459959051115</c:v>
                </c:pt>
                <c:pt idx="2933">
                  <c:v>171.23401737800364</c:v>
                </c:pt>
                <c:pt idx="2934">
                  <c:v>170.71683575255909</c:v>
                </c:pt>
                <c:pt idx="2935">
                  <c:v>170.61839343530187</c:v>
                </c:pt>
                <c:pt idx="2936">
                  <c:v>170.61839343530187</c:v>
                </c:pt>
                <c:pt idx="2937">
                  <c:v>170.61839343530187</c:v>
                </c:pt>
                <c:pt idx="2938">
                  <c:v>170.62415700287502</c:v>
                </c:pt>
                <c:pt idx="2939">
                  <c:v>170.00315673914085</c:v>
                </c:pt>
                <c:pt idx="2940">
                  <c:v>170.47381457218381</c:v>
                </c:pt>
                <c:pt idx="2941">
                  <c:v>169.16636574160162</c:v>
                </c:pt>
                <c:pt idx="2942">
                  <c:v>168.60720755614366</c:v>
                </c:pt>
                <c:pt idx="2943">
                  <c:v>168.60720755614366</c:v>
                </c:pt>
                <c:pt idx="2944">
                  <c:v>168.60720755614366</c:v>
                </c:pt>
                <c:pt idx="2945">
                  <c:v>167.78171424046042</c:v>
                </c:pt>
                <c:pt idx="2946">
                  <c:v>168.14147773719228</c:v>
                </c:pt>
                <c:pt idx="2947">
                  <c:v>168.70490778074398</c:v>
                </c:pt>
                <c:pt idx="2948">
                  <c:v>169.48383490133261</c:v>
                </c:pt>
                <c:pt idx="2949">
                  <c:v>170.05103257946055</c:v>
                </c:pt>
                <c:pt idx="2950">
                  <c:v>170.05103257946055</c:v>
                </c:pt>
                <c:pt idx="2951">
                  <c:v>170.05103257946055</c:v>
                </c:pt>
                <c:pt idx="2952">
                  <c:v>169.62202782435247</c:v>
                </c:pt>
                <c:pt idx="2953">
                  <c:v>169.85076865406728</c:v>
                </c:pt>
                <c:pt idx="2954">
                  <c:v>168.87203157669853</c:v>
                </c:pt>
                <c:pt idx="2955">
                  <c:v>169.2478356820526</c:v>
                </c:pt>
                <c:pt idx="2956">
                  <c:v>169.84736134911472</c:v>
                </c:pt>
                <c:pt idx="2957">
                  <c:v>169.84736134911472</c:v>
                </c:pt>
                <c:pt idx="2958">
                  <c:v>169.84736134911472</c:v>
                </c:pt>
                <c:pt idx="2959">
                  <c:v>170.25326430567637</c:v>
                </c:pt>
                <c:pt idx="2960">
                  <c:v>169.7255649818207</c:v>
                </c:pt>
                <c:pt idx="2961">
                  <c:v>169.85219377183321</c:v>
                </c:pt>
                <c:pt idx="2962">
                  <c:v>168.76689195377747</c:v>
                </c:pt>
                <c:pt idx="2963">
                  <c:v>168.61310288482377</c:v>
                </c:pt>
                <c:pt idx="2964">
                  <c:v>168.61310288482377</c:v>
                </c:pt>
                <c:pt idx="2965">
                  <c:v>168.61310288482377</c:v>
                </c:pt>
                <c:pt idx="2966">
                  <c:v>169.78719273031859</c:v>
                </c:pt>
                <c:pt idx="2967">
                  <c:v>168.39271194473335</c:v>
                </c:pt>
                <c:pt idx="2968">
                  <c:v>167.69413044778273</c:v>
                </c:pt>
                <c:pt idx="2969">
                  <c:v>167.57250346993933</c:v>
                </c:pt>
                <c:pt idx="2970">
                  <c:v>167.72601002904489</c:v>
                </c:pt>
                <c:pt idx="2971">
                  <c:v>167.72601002904489</c:v>
                </c:pt>
                <c:pt idx="2972">
                  <c:v>167.72601002904489</c:v>
                </c:pt>
                <c:pt idx="2973">
                  <c:v>167.68300550928299</c:v>
                </c:pt>
                <c:pt idx="2974">
                  <c:v>167.75752537592274</c:v>
                </c:pt>
                <c:pt idx="2975">
                  <c:v>167.683471895688</c:v>
                </c:pt>
                <c:pt idx="2976">
                  <c:v>167.36266068149357</c:v>
                </c:pt>
                <c:pt idx="2977">
                  <c:v>168.2791914605954</c:v>
                </c:pt>
                <c:pt idx="2978">
                  <c:v>168.2791914605954</c:v>
                </c:pt>
                <c:pt idx="2979">
                  <c:v>168.2791914605954</c:v>
                </c:pt>
                <c:pt idx="2980">
                  <c:v>168.63147324896474</c:v>
                </c:pt>
                <c:pt idx="2981">
                  <c:v>169.54643264419627</c:v>
                </c:pt>
                <c:pt idx="2982">
                  <c:v>169.24420970789959</c:v>
                </c:pt>
                <c:pt idx="2983">
                  <c:v>169.44770345319131</c:v>
                </c:pt>
                <c:pt idx="2984">
                  <c:v>170.63957981282698</c:v>
                </c:pt>
                <c:pt idx="2985">
                  <c:v>170.63957981282698</c:v>
                </c:pt>
                <c:pt idx="2986">
                  <c:v>170.63957981282698</c:v>
                </c:pt>
                <c:pt idx="2987">
                  <c:v>171.68052257657695</c:v>
                </c:pt>
                <c:pt idx="2988">
                  <c:v>171.19760164966411</c:v>
                </c:pt>
                <c:pt idx="2989">
                  <c:v>172.53269065552976</c:v>
                </c:pt>
                <c:pt idx="2990">
                  <c:v>171.71573275309026</c:v>
                </c:pt>
                <c:pt idx="2991">
                  <c:v>170.9577983467436</c:v>
                </c:pt>
                <c:pt idx="2992">
                  <c:v>170.9577983467436</c:v>
                </c:pt>
                <c:pt idx="2993">
                  <c:v>170.9577983467436</c:v>
                </c:pt>
                <c:pt idx="2994">
                  <c:v>172.13173204927071</c:v>
                </c:pt>
                <c:pt idx="2995">
                  <c:v>172.12963758140452</c:v>
                </c:pt>
                <c:pt idx="2996">
                  <c:v>173.23407898605691</c:v>
                </c:pt>
                <c:pt idx="2997">
                  <c:v>172.91651935969819</c:v>
                </c:pt>
                <c:pt idx="2998">
                  <c:v>174.07244181855131</c:v>
                </c:pt>
                <c:pt idx="2999">
                  <c:v>174.07244181855131</c:v>
                </c:pt>
                <c:pt idx="3000">
                  <c:v>174.07244181855131</c:v>
                </c:pt>
                <c:pt idx="3001">
                  <c:v>173.76362382262138</c:v>
                </c:pt>
                <c:pt idx="3002">
                  <c:v>173.30151831517716</c:v>
                </c:pt>
                <c:pt idx="3003">
                  <c:v>172.89908511877982</c:v>
                </c:pt>
                <c:pt idx="3004">
                  <c:v>173.06816021626747</c:v>
                </c:pt>
                <c:pt idx="3005">
                  <c:v>173.12182772894073</c:v>
                </c:pt>
                <c:pt idx="3006">
                  <c:v>173.12182772894073</c:v>
                </c:pt>
                <c:pt idx="3007">
                  <c:v>173.12182772894073</c:v>
                </c:pt>
                <c:pt idx="3008">
                  <c:v>173.20022608751296</c:v>
                </c:pt>
                <c:pt idx="3009">
                  <c:v>172.9109434984278</c:v>
                </c:pt>
                <c:pt idx="3010">
                  <c:v>172.66382391417417</c:v>
                </c:pt>
                <c:pt idx="3011">
                  <c:v>172.83252154457256</c:v>
                </c:pt>
                <c:pt idx="3012">
                  <c:v>172.21071800397448</c:v>
                </c:pt>
                <c:pt idx="3013">
                  <c:v>172.21071800397448</c:v>
                </c:pt>
                <c:pt idx="3014">
                  <c:v>172.21071800397448</c:v>
                </c:pt>
                <c:pt idx="3015">
                  <c:v>173.47799002155281</c:v>
                </c:pt>
                <c:pt idx="3016">
                  <c:v>173.30957476538848</c:v>
                </c:pt>
                <c:pt idx="3017">
                  <c:v>173.0246330107968</c:v>
                </c:pt>
                <c:pt idx="3018">
                  <c:v>172.20737103747592</c:v>
                </c:pt>
                <c:pt idx="3019">
                  <c:v>172.10627633413219</c:v>
                </c:pt>
                <c:pt idx="3020">
                  <c:v>172.10627633413219</c:v>
                </c:pt>
                <c:pt idx="3021">
                  <c:v>172.10627633413219</c:v>
                </c:pt>
                <c:pt idx="3022">
                  <c:v>171.54639011010565</c:v>
                </c:pt>
                <c:pt idx="3023">
                  <c:v>171.53761728224799</c:v>
                </c:pt>
                <c:pt idx="3024">
                  <c:v>171.41339940411973</c:v>
                </c:pt>
                <c:pt idx="3025">
                  <c:v>171.81235654790513</c:v>
                </c:pt>
                <c:pt idx="3026">
                  <c:v>171.54353385478134</c:v>
                </c:pt>
                <c:pt idx="3027">
                  <c:v>171.54353385478134</c:v>
                </c:pt>
                <c:pt idx="3028">
                  <c:v>171.54353385478134</c:v>
                </c:pt>
                <c:pt idx="3029">
                  <c:v>172.0937760774755</c:v>
                </c:pt>
                <c:pt idx="3030">
                  <c:v>172.53100993368608</c:v>
                </c:pt>
                <c:pt idx="3031">
                  <c:v>171.65176124856043</c:v>
                </c:pt>
                <c:pt idx="3032">
                  <c:v>172.23293163455543</c:v>
                </c:pt>
                <c:pt idx="3033">
                  <c:v>172.23293163455543</c:v>
                </c:pt>
                <c:pt idx="3034">
                  <c:v>172.23293163455543</c:v>
                </c:pt>
                <c:pt idx="3035">
                  <c:v>172.23293163455543</c:v>
                </c:pt>
                <c:pt idx="3036">
                  <c:v>172.23293163455543</c:v>
                </c:pt>
                <c:pt idx="3037">
                  <c:v>171.95492352634801</c:v>
                </c:pt>
                <c:pt idx="3038">
                  <c:v>171.65499319872458</c:v>
                </c:pt>
                <c:pt idx="3039">
                  <c:v>172.17111264624796</c:v>
                </c:pt>
                <c:pt idx="3040">
                  <c:v>172.23240101455252</c:v>
                </c:pt>
                <c:pt idx="3041">
                  <c:v>172.23240101455252</c:v>
                </c:pt>
                <c:pt idx="3042">
                  <c:v>172.23240101455252</c:v>
                </c:pt>
                <c:pt idx="3043">
                  <c:v>172.42457250289186</c:v>
                </c:pt>
                <c:pt idx="3044">
                  <c:v>171.58991266479563</c:v>
                </c:pt>
                <c:pt idx="3045">
                  <c:v>172.232105743472</c:v>
                </c:pt>
                <c:pt idx="3046">
                  <c:v>172.07196469734708</c:v>
                </c:pt>
                <c:pt idx="3047">
                  <c:v>171.77632967274138</c:v>
                </c:pt>
                <c:pt idx="3048">
                  <c:v>171.77632967274138</c:v>
                </c:pt>
                <c:pt idx="3049">
                  <c:v>171.77632967274138</c:v>
                </c:pt>
                <c:pt idx="3050">
                  <c:v>172.84715285763912</c:v>
                </c:pt>
                <c:pt idx="3051">
                  <c:v>172.83131141527323</c:v>
                </c:pt>
                <c:pt idx="3052">
                  <c:v>172.9034927446346</c:v>
                </c:pt>
                <c:pt idx="3053">
                  <c:v>172.57106627584503</c:v>
                </c:pt>
                <c:pt idx="3054">
                  <c:v>173.54202370821872</c:v>
                </c:pt>
                <c:pt idx="3055">
                  <c:v>173.54202370821872</c:v>
                </c:pt>
                <c:pt idx="3056">
                  <c:v>173.54202370821872</c:v>
                </c:pt>
                <c:pt idx="3057">
                  <c:v>173.22915588254614</c:v>
                </c:pt>
                <c:pt idx="3058">
                  <c:v>173.42400852450021</c:v>
                </c:pt>
                <c:pt idx="3059">
                  <c:v>172.65360041921352</c:v>
                </c:pt>
                <c:pt idx="3060">
                  <c:v>172.36514574643513</c:v>
                </c:pt>
                <c:pt idx="3061">
                  <c:v>173.12018195681321</c:v>
                </c:pt>
                <c:pt idx="3062">
                  <c:v>173.12018195681321</c:v>
                </c:pt>
                <c:pt idx="3063">
                  <c:v>173.12018195681321</c:v>
                </c:pt>
                <c:pt idx="3064">
                  <c:v>173.1437860552783</c:v>
                </c:pt>
                <c:pt idx="3065">
                  <c:v>173.24499425962526</c:v>
                </c:pt>
                <c:pt idx="3066">
                  <c:v>172.39802764061571</c:v>
                </c:pt>
                <c:pt idx="3067">
                  <c:v>172.53993659091955</c:v>
                </c:pt>
                <c:pt idx="3068">
                  <c:v>172.64373578795499</c:v>
                </c:pt>
                <c:pt idx="3069">
                  <c:v>172.64373578795499</c:v>
                </c:pt>
                <c:pt idx="3070">
                  <c:v>172.64373578795499</c:v>
                </c:pt>
                <c:pt idx="3071">
                  <c:v>173.12885187446437</c:v>
                </c:pt>
                <c:pt idx="3072">
                  <c:v>172.72513117851457</c:v>
                </c:pt>
                <c:pt idx="3073">
                  <c:v>173.93859878335579</c:v>
                </c:pt>
                <c:pt idx="3074">
                  <c:v>175.08774880609204</c:v>
                </c:pt>
                <c:pt idx="3075">
                  <c:v>174.8732482310879</c:v>
                </c:pt>
                <c:pt idx="3076">
                  <c:v>174.8732482310879</c:v>
                </c:pt>
                <c:pt idx="3077">
                  <c:v>174.8732482310879</c:v>
                </c:pt>
                <c:pt idx="3078">
                  <c:v>175.18531557560311</c:v>
                </c:pt>
                <c:pt idx="3079">
                  <c:v>174.83939212261819</c:v>
                </c:pt>
                <c:pt idx="3080">
                  <c:v>173.88288284495229</c:v>
                </c:pt>
                <c:pt idx="3081">
                  <c:v>173.20206647508724</c:v>
                </c:pt>
                <c:pt idx="3082">
                  <c:v>173.51637939498232</c:v>
                </c:pt>
                <c:pt idx="3083">
                  <c:v>173.51637939498232</c:v>
                </c:pt>
                <c:pt idx="3084">
                  <c:v>173.51637939498232</c:v>
                </c:pt>
                <c:pt idx="3085">
                  <c:v>173.25448420623414</c:v>
                </c:pt>
                <c:pt idx="3086">
                  <c:v>173.10148478543141</c:v>
                </c:pt>
                <c:pt idx="3087">
                  <c:v>173.32905833872147</c:v>
                </c:pt>
                <c:pt idx="3088">
                  <c:v>171.81435311193871</c:v>
                </c:pt>
                <c:pt idx="3089">
                  <c:v>171.83622083622086</c:v>
                </c:pt>
                <c:pt idx="3090">
                  <c:v>171.83622083622086</c:v>
                </c:pt>
                <c:pt idx="3091">
                  <c:v>171.83622083622086</c:v>
                </c:pt>
                <c:pt idx="3092">
                  <c:v>170.33959135571277</c:v>
                </c:pt>
                <c:pt idx="3093">
                  <c:v>170.68364880204859</c:v>
                </c:pt>
                <c:pt idx="3094">
                  <c:v>170.67838497584538</c:v>
                </c:pt>
                <c:pt idx="3095">
                  <c:v>170.43876382489518</c:v>
                </c:pt>
                <c:pt idx="3096">
                  <c:v>170.2605902108165</c:v>
                </c:pt>
                <c:pt idx="3097">
                  <c:v>170.2605902108165</c:v>
                </c:pt>
                <c:pt idx="3098">
                  <c:v>170.2605902108165</c:v>
                </c:pt>
                <c:pt idx="3099">
                  <c:v>170.10470211918826</c:v>
                </c:pt>
                <c:pt idx="3100">
                  <c:v>169.74886829667673</c:v>
                </c:pt>
                <c:pt idx="3101">
                  <c:v>170.87701047809446</c:v>
                </c:pt>
                <c:pt idx="3102">
                  <c:v>171.41464128564499</c:v>
                </c:pt>
                <c:pt idx="3103">
                  <c:v>171.86998649109404</c:v>
                </c:pt>
                <c:pt idx="3104">
                  <c:v>171.86998649109404</c:v>
                </c:pt>
                <c:pt idx="3105">
                  <c:v>171.86998649109404</c:v>
                </c:pt>
                <c:pt idx="3106">
                  <c:v>172.48582481816837</c:v>
                </c:pt>
                <c:pt idx="3107">
                  <c:v>172.29352812317273</c:v>
                </c:pt>
                <c:pt idx="3108">
                  <c:v>171.74202219510511</c:v>
                </c:pt>
                <c:pt idx="3109">
                  <c:v>172.1335936239183</c:v>
                </c:pt>
                <c:pt idx="3110">
                  <c:v>172.30091586247548</c:v>
                </c:pt>
                <c:pt idx="3111">
                  <c:v>172.30091586247548</c:v>
                </c:pt>
                <c:pt idx="3112">
                  <c:v>172.30091586247548</c:v>
                </c:pt>
                <c:pt idx="3113">
                  <c:v>170.81486410608431</c:v>
                </c:pt>
                <c:pt idx="3114">
                  <c:v>171.12467559431121</c:v>
                </c:pt>
                <c:pt idx="3115">
                  <c:v>171.38489796149042</c:v>
                </c:pt>
                <c:pt idx="3116">
                  <c:v>170.57669572098405</c:v>
                </c:pt>
                <c:pt idx="3117">
                  <c:v>170.30265362833129</c:v>
                </c:pt>
                <c:pt idx="3118">
                  <c:v>170.30265362833129</c:v>
                </c:pt>
                <c:pt idx="3119">
                  <c:v>170.30265362833129</c:v>
                </c:pt>
                <c:pt idx="3120">
                  <c:v>169.36118640946466</c:v>
                </c:pt>
                <c:pt idx="3121">
                  <c:v>169.87155590888958</c:v>
                </c:pt>
                <c:pt idx="3122">
                  <c:v>169.8676919706522</c:v>
                </c:pt>
                <c:pt idx="3123">
                  <c:v>169.7125988504304</c:v>
                </c:pt>
                <c:pt idx="3124">
                  <c:v>170.46671327916877</c:v>
                </c:pt>
                <c:pt idx="3125">
                  <c:v>170.46671327916877</c:v>
                </c:pt>
                <c:pt idx="3126">
                  <c:v>170.46671327916877</c:v>
                </c:pt>
                <c:pt idx="3127">
                  <c:v>170.18844178824813</c:v>
                </c:pt>
                <c:pt idx="3128">
                  <c:v>169.82521244566192</c:v>
                </c:pt>
                <c:pt idx="3129">
                  <c:v>169.93839473181902</c:v>
                </c:pt>
                <c:pt idx="3130">
                  <c:v>169.2644141796718</c:v>
                </c:pt>
                <c:pt idx="3131">
                  <c:v>169.70005870628179</c:v>
                </c:pt>
                <c:pt idx="3132">
                  <c:v>169.70005870628179</c:v>
                </c:pt>
                <c:pt idx="3133">
                  <c:v>169.70005870628179</c:v>
                </c:pt>
                <c:pt idx="3134">
                  <c:v>169.65729539355991</c:v>
                </c:pt>
                <c:pt idx="3135">
                  <c:v>167.15264276756088</c:v>
                </c:pt>
                <c:pt idx="3136">
                  <c:v>167.31756777865945</c:v>
                </c:pt>
                <c:pt idx="3137">
                  <c:v>166.05564281704082</c:v>
                </c:pt>
                <c:pt idx="3138">
                  <c:v>166.48075735128413</c:v>
                </c:pt>
                <c:pt idx="3139">
                  <c:v>166.48075735128413</c:v>
                </c:pt>
                <c:pt idx="3140">
                  <c:v>166.48075735128413</c:v>
                </c:pt>
                <c:pt idx="3141">
                  <c:v>164.00386445749572</c:v>
                </c:pt>
                <c:pt idx="3142">
                  <c:v>166.15766606486005</c:v>
                </c:pt>
                <c:pt idx="3143">
                  <c:v>169.1916263002465</c:v>
                </c:pt>
                <c:pt idx="3144">
                  <c:v>169.54021617383233</c:v>
                </c:pt>
                <c:pt idx="3145">
                  <c:v>169.59775511003164</c:v>
                </c:pt>
                <c:pt idx="3146">
                  <c:v>169.59775511003164</c:v>
                </c:pt>
                <c:pt idx="3147">
                  <c:v>169.59775511003164</c:v>
                </c:pt>
                <c:pt idx="3148">
                  <c:v>170.42063155897591</c:v>
                </c:pt>
                <c:pt idx="3149">
                  <c:v>168.35309029480112</c:v>
                </c:pt>
                <c:pt idx="3150">
                  <c:v>168.13601214033463</c:v>
                </c:pt>
                <c:pt idx="3151">
                  <c:v>167.8729521364819</c:v>
                </c:pt>
                <c:pt idx="3152">
                  <c:v>169.00548896916897</c:v>
                </c:pt>
                <c:pt idx="3153">
                  <c:v>169.00548896916897</c:v>
                </c:pt>
                <c:pt idx="3154">
                  <c:v>169.00548896916897</c:v>
                </c:pt>
                <c:pt idx="3155">
                  <c:v>168.69074076670682</c:v>
                </c:pt>
                <c:pt idx="3156">
                  <c:v>168.13534348620897</c:v>
                </c:pt>
                <c:pt idx="3157">
                  <c:v>168.16041147094003</c:v>
                </c:pt>
                <c:pt idx="3158">
                  <c:v>169.83224440123124</c:v>
                </c:pt>
                <c:pt idx="3159">
                  <c:v>170.20614972673877</c:v>
                </c:pt>
                <c:pt idx="3160">
                  <c:v>170.20614972673877</c:v>
                </c:pt>
                <c:pt idx="3161">
                  <c:v>170.20614972673877</c:v>
                </c:pt>
                <c:pt idx="3162">
                  <c:v>171.23889998114353</c:v>
                </c:pt>
                <c:pt idx="3163">
                  <c:v>171.81598237652145</c:v>
                </c:pt>
                <c:pt idx="3164">
                  <c:v>171.67479689491807</c:v>
                </c:pt>
                <c:pt idx="3165">
                  <c:v>171.45312986608531</c:v>
                </c:pt>
                <c:pt idx="3166">
                  <c:v>171.94937879989425</c:v>
                </c:pt>
                <c:pt idx="3167">
                  <c:v>171.94937879989425</c:v>
                </c:pt>
                <c:pt idx="3168">
                  <c:v>171.94937879989425</c:v>
                </c:pt>
                <c:pt idx="3169">
                  <c:v>172.8784889914952</c:v>
                </c:pt>
                <c:pt idx="3170">
                  <c:v>172.26306439094552</c:v>
                </c:pt>
                <c:pt idx="3171">
                  <c:v>171.97089734542095</c:v>
                </c:pt>
                <c:pt idx="3172">
                  <c:v>172.03434697989533</c:v>
                </c:pt>
                <c:pt idx="3173">
                  <c:v>172.42257405757368</c:v>
                </c:pt>
                <c:pt idx="3174">
                  <c:v>172.42257405757368</c:v>
                </c:pt>
                <c:pt idx="3175">
                  <c:v>172.42257405757368</c:v>
                </c:pt>
                <c:pt idx="3176">
                  <c:v>172.09150460313811</c:v>
                </c:pt>
                <c:pt idx="3177">
                  <c:v>170.69793021959055</c:v>
                </c:pt>
                <c:pt idx="3178">
                  <c:v>170.56477797691215</c:v>
                </c:pt>
                <c:pt idx="3179">
                  <c:v>170.40708825659033</c:v>
                </c:pt>
                <c:pt idx="3180">
                  <c:v>171.40336736881923</c:v>
                </c:pt>
                <c:pt idx="3181">
                  <c:v>171.40336736881923</c:v>
                </c:pt>
                <c:pt idx="3182">
                  <c:v>171.40336736881923</c:v>
                </c:pt>
                <c:pt idx="3183">
                  <c:v>171.6149741722038</c:v>
                </c:pt>
                <c:pt idx="3184">
                  <c:v>169.94395985748375</c:v>
                </c:pt>
                <c:pt idx="3185">
                  <c:v>171.10153354936853</c:v>
                </c:pt>
                <c:pt idx="3186">
                  <c:v>170.89762507356724</c:v>
                </c:pt>
                <c:pt idx="3187">
                  <c:v>168.88016338787665</c:v>
                </c:pt>
                <c:pt idx="3188">
                  <c:v>168.88016338787665</c:v>
                </c:pt>
                <c:pt idx="3189">
                  <c:v>168.88016338787665</c:v>
                </c:pt>
                <c:pt idx="3190">
                  <c:v>166.80742000503255</c:v>
                </c:pt>
                <c:pt idx="3191">
                  <c:v>165.90425564164164</c:v>
                </c:pt>
                <c:pt idx="3192">
                  <c:v>165.91693584940725</c:v>
                </c:pt>
                <c:pt idx="3193">
                  <c:v>165.23812279450141</c:v>
                </c:pt>
                <c:pt idx="3194">
                  <c:v>164.91588164489445</c:v>
                </c:pt>
                <c:pt idx="3195">
                  <c:v>164.91588164489445</c:v>
                </c:pt>
                <c:pt idx="3196">
                  <c:v>164.91588164489445</c:v>
                </c:pt>
                <c:pt idx="3197">
                  <c:v>165.07735976768046</c:v>
                </c:pt>
                <c:pt idx="3198">
                  <c:v>163.36732572865955</c:v>
                </c:pt>
                <c:pt idx="3199">
                  <c:v>162.11080781638276</c:v>
                </c:pt>
                <c:pt idx="3200">
                  <c:v>162.36742887982379</c:v>
                </c:pt>
                <c:pt idx="3201">
                  <c:v>162.63246688777278</c:v>
                </c:pt>
                <c:pt idx="3202">
                  <c:v>162.63246688777278</c:v>
                </c:pt>
                <c:pt idx="3203">
                  <c:v>162.63246688777278</c:v>
                </c:pt>
                <c:pt idx="3204">
                  <c:v>162.34914493920627</c:v>
                </c:pt>
                <c:pt idx="3205">
                  <c:v>162.25390085467964</c:v>
                </c:pt>
                <c:pt idx="3206">
                  <c:v>163.16640963315666</c:v>
                </c:pt>
                <c:pt idx="3207">
                  <c:v>163.4804014515021</c:v>
                </c:pt>
                <c:pt idx="3208">
                  <c:v>163.9911445914104</c:v>
                </c:pt>
                <c:pt idx="3209">
                  <c:v>163.9911445914104</c:v>
                </c:pt>
                <c:pt idx="3210">
                  <c:v>163.9911445914104</c:v>
                </c:pt>
                <c:pt idx="3211">
                  <c:v>163.47889862565361</c:v>
                </c:pt>
                <c:pt idx="3212">
                  <c:v>163.50775214387167</c:v>
                </c:pt>
                <c:pt idx="3213">
                  <c:v>162.9173840881738</c:v>
                </c:pt>
                <c:pt idx="3214">
                  <c:v>163.17589416340311</c:v>
                </c:pt>
                <c:pt idx="3215">
                  <c:v>163.19244310581124</c:v>
                </c:pt>
                <c:pt idx="3216">
                  <c:v>163.19244310581124</c:v>
                </c:pt>
                <c:pt idx="3217">
                  <c:v>163.19244310581124</c:v>
                </c:pt>
                <c:pt idx="3218">
                  <c:v>164.82446408408958</c:v>
                </c:pt>
                <c:pt idx="3219">
                  <c:v>164.64583667032619</c:v>
                </c:pt>
                <c:pt idx="3220">
                  <c:v>164.42401962383295</c:v>
                </c:pt>
                <c:pt idx="3221">
                  <c:v>163.78598369128073</c:v>
                </c:pt>
                <c:pt idx="3222">
                  <c:v>163.75440871071478</c:v>
                </c:pt>
                <c:pt idx="3223">
                  <c:v>163.75440871071478</c:v>
                </c:pt>
                <c:pt idx="3224">
                  <c:v>163.75440871071478</c:v>
                </c:pt>
                <c:pt idx="3225">
                  <c:v>164.12689982271539</c:v>
                </c:pt>
                <c:pt idx="3226">
                  <c:v>163.20631742069313</c:v>
                </c:pt>
                <c:pt idx="3227">
                  <c:v>162.67895299145292</c:v>
                </c:pt>
                <c:pt idx="3228">
                  <c:v>163.37542166621785</c:v>
                </c:pt>
                <c:pt idx="3229">
                  <c:v>164.17307329593231</c:v>
                </c:pt>
                <c:pt idx="3230">
                  <c:v>164.17307329593231</c:v>
                </c:pt>
                <c:pt idx="3231">
                  <c:v>164.17307329593231</c:v>
                </c:pt>
                <c:pt idx="3232">
                  <c:v>164.39846272452914</c:v>
                </c:pt>
                <c:pt idx="3233">
                  <c:v>163.85603614181966</c:v>
                </c:pt>
                <c:pt idx="3234">
                  <c:v>163.75333108600029</c:v>
                </c:pt>
                <c:pt idx="3235">
                  <c:v>162.65120264814607</c:v>
                </c:pt>
                <c:pt idx="3236">
                  <c:v>163.29647458178809</c:v>
                </c:pt>
                <c:pt idx="3237">
                  <c:v>163.29647458178809</c:v>
                </c:pt>
                <c:pt idx="3238">
                  <c:v>163.29647458178809</c:v>
                </c:pt>
                <c:pt idx="3239">
                  <c:v>162.86107745248094</c:v>
                </c:pt>
                <c:pt idx="3240">
                  <c:v>162.09389381985531</c:v>
                </c:pt>
                <c:pt idx="3241">
                  <c:v>161.52459810075857</c:v>
                </c:pt>
                <c:pt idx="3242">
                  <c:v>161.08443293208427</c:v>
                </c:pt>
                <c:pt idx="3243">
                  <c:v>160.98702819114629</c:v>
                </c:pt>
                <c:pt idx="3244">
                  <c:v>160.98702819114629</c:v>
                </c:pt>
                <c:pt idx="3245">
                  <c:v>160.98702819114629</c:v>
                </c:pt>
                <c:pt idx="3246">
                  <c:v>160.56133017174892</c:v>
                </c:pt>
                <c:pt idx="3247">
                  <c:v>160.44023908818045</c:v>
                </c:pt>
                <c:pt idx="3248">
                  <c:v>160.54476915267833</c:v>
                </c:pt>
                <c:pt idx="3249">
                  <c:v>161.54167863503184</c:v>
                </c:pt>
                <c:pt idx="3250">
                  <c:v>160.65402133042892</c:v>
                </c:pt>
                <c:pt idx="3251">
                  <c:v>160.65402133042892</c:v>
                </c:pt>
                <c:pt idx="3252">
                  <c:v>160.65402133042892</c:v>
                </c:pt>
                <c:pt idx="3253">
                  <c:v>160.91297843989156</c:v>
                </c:pt>
                <c:pt idx="3254">
                  <c:v>161.23085465795339</c:v>
                </c:pt>
                <c:pt idx="3255">
                  <c:v>161.32006988771371</c:v>
                </c:pt>
                <c:pt idx="3256">
                  <c:v>160.3255867588374</c:v>
                </c:pt>
                <c:pt idx="3257">
                  <c:v>160.52831647597992</c:v>
                </c:pt>
                <c:pt idx="3258">
                  <c:v>160.52831647597992</c:v>
                </c:pt>
                <c:pt idx="3259">
                  <c:v>160.52831647597992</c:v>
                </c:pt>
                <c:pt idx="3260">
                  <c:v>161.05828876956068</c:v>
                </c:pt>
                <c:pt idx="3261">
                  <c:v>160.65251541668243</c:v>
                </c:pt>
                <c:pt idx="3262">
                  <c:v>160.57142275060997</c:v>
                </c:pt>
                <c:pt idx="3263">
                  <c:v>159.34638623470653</c:v>
                </c:pt>
                <c:pt idx="3264">
                  <c:v>158.63889413987559</c:v>
                </c:pt>
                <c:pt idx="3265">
                  <c:v>158.63889413987559</c:v>
                </c:pt>
                <c:pt idx="3266">
                  <c:v>158.63889413987559</c:v>
                </c:pt>
                <c:pt idx="3267">
                  <c:v>157.96144623839382</c:v>
                </c:pt>
                <c:pt idx="3268">
                  <c:v>157.84946621524477</c:v>
                </c:pt>
                <c:pt idx="3269">
                  <c:v>157.09825504288412</c:v>
                </c:pt>
                <c:pt idx="3270">
                  <c:v>157.07427661956712</c:v>
                </c:pt>
                <c:pt idx="3271">
                  <c:v>157.90070493747399</c:v>
                </c:pt>
                <c:pt idx="3272">
                  <c:v>157.90070493747399</c:v>
                </c:pt>
                <c:pt idx="3273">
                  <c:v>157.90070493747399</c:v>
                </c:pt>
                <c:pt idx="3274">
                  <c:v>157.24541736129495</c:v>
                </c:pt>
                <c:pt idx="3275">
                  <c:v>158.34617105196315</c:v>
                </c:pt>
                <c:pt idx="3276">
                  <c:v>158.59709949054258</c:v>
                </c:pt>
                <c:pt idx="3277">
                  <c:v>158.3204181583713</c:v>
                </c:pt>
                <c:pt idx="3278">
                  <c:v>158.31367176792105</c:v>
                </c:pt>
                <c:pt idx="3279">
                  <c:v>158.31367176792105</c:v>
                </c:pt>
                <c:pt idx="3280">
                  <c:v>158.31367176792105</c:v>
                </c:pt>
                <c:pt idx="3281">
                  <c:v>158.31367176792105</c:v>
                </c:pt>
                <c:pt idx="3282">
                  <c:v>158.31897343622038</c:v>
                </c:pt>
                <c:pt idx="3283">
                  <c:v>158.76655458973843</c:v>
                </c:pt>
                <c:pt idx="3284">
                  <c:v>158.07887889463504</c:v>
                </c:pt>
                <c:pt idx="3285">
                  <c:v>158.14227698952544</c:v>
                </c:pt>
                <c:pt idx="3286">
                  <c:v>158.14227698952544</c:v>
                </c:pt>
                <c:pt idx="3287">
                  <c:v>158.14227698952544</c:v>
                </c:pt>
                <c:pt idx="3288">
                  <c:v>158.17731653812845</c:v>
                </c:pt>
                <c:pt idx="3289">
                  <c:v>158.81519618440609</c:v>
                </c:pt>
                <c:pt idx="3290">
                  <c:v>158.6134273648675</c:v>
                </c:pt>
                <c:pt idx="3291">
                  <c:v>157.65831340531855</c:v>
                </c:pt>
                <c:pt idx="3292">
                  <c:v>158.46470213172077</c:v>
                </c:pt>
                <c:pt idx="3293">
                  <c:v>158.46470213172077</c:v>
                </c:pt>
                <c:pt idx="3294">
                  <c:v>158.46470213172077</c:v>
                </c:pt>
                <c:pt idx="3295">
                  <c:v>158.81543077730228</c:v>
                </c:pt>
                <c:pt idx="3296">
                  <c:v>158.16018867210204</c:v>
                </c:pt>
                <c:pt idx="3297">
                  <c:v>159.36502318016471</c:v>
                </c:pt>
                <c:pt idx="3298">
                  <c:v>161.4434077778194</c:v>
                </c:pt>
                <c:pt idx="3299">
                  <c:v>161.71564244492046</c:v>
                </c:pt>
                <c:pt idx="3300">
                  <c:v>161.71564244492046</c:v>
                </c:pt>
                <c:pt idx="3301">
                  <c:v>161.71564244492046</c:v>
                </c:pt>
                <c:pt idx="3302">
                  <c:v>161.4495455193555</c:v>
                </c:pt>
                <c:pt idx="3303">
                  <c:v>161.34596871398978</c:v>
                </c:pt>
                <c:pt idx="3304">
                  <c:v>162.15904597504152</c:v>
                </c:pt>
                <c:pt idx="3305">
                  <c:v>163.26512155166219</c:v>
                </c:pt>
                <c:pt idx="3306">
                  <c:v>163.69841277489729</c:v>
                </c:pt>
                <c:pt idx="3307">
                  <c:v>163.69841277489729</c:v>
                </c:pt>
                <c:pt idx="3308">
                  <c:v>163.69841277489729</c:v>
                </c:pt>
                <c:pt idx="3309">
                  <c:v>163.7908672722296</c:v>
                </c:pt>
                <c:pt idx="3310">
                  <c:v>162.36696490387749</c:v>
                </c:pt>
                <c:pt idx="3311">
                  <c:v>163.59464905121396</c:v>
                </c:pt>
                <c:pt idx="3312">
                  <c:v>164.11804559693689</c:v>
                </c:pt>
                <c:pt idx="3313">
                  <c:v>165.09027975543805</c:v>
                </c:pt>
                <c:pt idx="3314">
                  <c:v>165.09027975543805</c:v>
                </c:pt>
                <c:pt idx="3315">
                  <c:v>165.09027975543805</c:v>
                </c:pt>
                <c:pt idx="3316">
                  <c:v>163.59338734364914</c:v>
                </c:pt>
                <c:pt idx="3317">
                  <c:v>164.9040846707407</c:v>
                </c:pt>
                <c:pt idx="3318">
                  <c:v>165.8184758175307</c:v>
                </c:pt>
                <c:pt idx="3319">
                  <c:v>166.96388307398493</c:v>
                </c:pt>
                <c:pt idx="3320">
                  <c:v>166.97519032489782</c:v>
                </c:pt>
                <c:pt idx="3321">
                  <c:v>166.97519032489782</c:v>
                </c:pt>
                <c:pt idx="3322">
                  <c:v>166.97519032489782</c:v>
                </c:pt>
                <c:pt idx="3323">
                  <c:v>166.87981425688929</c:v>
                </c:pt>
                <c:pt idx="3324">
                  <c:v>165.99993524312154</c:v>
                </c:pt>
                <c:pt idx="3325">
                  <c:v>166.14000251485152</c:v>
                </c:pt>
                <c:pt idx="3326">
                  <c:v>165.77195832650196</c:v>
                </c:pt>
                <c:pt idx="3327">
                  <c:v>166.07258442809487</c:v>
                </c:pt>
                <c:pt idx="3328">
                  <c:v>166.07258442809487</c:v>
                </c:pt>
                <c:pt idx="3329">
                  <c:v>166.07258442809487</c:v>
                </c:pt>
                <c:pt idx="3330">
                  <c:v>165.86851348475196</c:v>
                </c:pt>
                <c:pt idx="3331">
                  <c:v>165.31395439290552</c:v>
                </c:pt>
                <c:pt idx="3332">
                  <c:v>165.51490595938714</c:v>
                </c:pt>
                <c:pt idx="3333">
                  <c:v>164.68772470042234</c:v>
                </c:pt>
                <c:pt idx="3334">
                  <c:v>165.76657047499816</c:v>
                </c:pt>
                <c:pt idx="3335">
                  <c:v>165.76657047499816</c:v>
                </c:pt>
                <c:pt idx="3336">
                  <c:v>165.76657047499816</c:v>
                </c:pt>
                <c:pt idx="3337">
                  <c:v>166.61092751767433</c:v>
                </c:pt>
                <c:pt idx="3338">
                  <c:v>166.36364888150004</c:v>
                </c:pt>
                <c:pt idx="3339">
                  <c:v>166.58097368305911</c:v>
                </c:pt>
                <c:pt idx="3340">
                  <c:v>165.8181582241925</c:v>
                </c:pt>
                <c:pt idx="3341">
                  <c:v>166.38076449415263</c:v>
                </c:pt>
                <c:pt idx="3342">
                  <c:v>166.38076449415263</c:v>
                </c:pt>
                <c:pt idx="3343">
                  <c:v>166.38076449415263</c:v>
                </c:pt>
                <c:pt idx="3344">
                  <c:v>166.26660734805085</c:v>
                </c:pt>
                <c:pt idx="3345">
                  <c:v>166.71674485998597</c:v>
                </c:pt>
                <c:pt idx="3346">
                  <c:v>167.057647219399</c:v>
                </c:pt>
                <c:pt idx="3347">
                  <c:v>166.61458838656011</c:v>
                </c:pt>
                <c:pt idx="3348">
                  <c:v>166.65783191897057</c:v>
                </c:pt>
                <c:pt idx="3349">
                  <c:v>166.65783191897057</c:v>
                </c:pt>
                <c:pt idx="3350">
                  <c:v>166.65783191897057</c:v>
                </c:pt>
                <c:pt idx="3351">
                  <c:v>165.78617446825885</c:v>
                </c:pt>
                <c:pt idx="3352">
                  <c:v>164.80030270202613</c:v>
                </c:pt>
                <c:pt idx="3353">
                  <c:v>165.8014826290005</c:v>
                </c:pt>
                <c:pt idx="3354">
                  <c:v>166.07156432462077</c:v>
                </c:pt>
                <c:pt idx="3355">
                  <c:v>166.3446910381092</c:v>
                </c:pt>
                <c:pt idx="3356">
                  <c:v>166.3446910381092</c:v>
                </c:pt>
                <c:pt idx="3357">
                  <c:v>166.3446910381092</c:v>
                </c:pt>
                <c:pt idx="3358">
                  <c:v>166.22326056639452</c:v>
                </c:pt>
                <c:pt idx="3359">
                  <c:v>166.79607198466394</c:v>
                </c:pt>
                <c:pt idx="3360">
                  <c:v>166.36356734473691</c:v>
                </c:pt>
                <c:pt idx="3361">
                  <c:v>166.17716318392502</c:v>
                </c:pt>
                <c:pt idx="3362">
                  <c:v>166.15468125519604</c:v>
                </c:pt>
                <c:pt idx="3363">
                  <c:v>166.15468125519604</c:v>
                </c:pt>
                <c:pt idx="3364">
                  <c:v>166.15468125519604</c:v>
                </c:pt>
                <c:pt idx="3365">
                  <c:v>166.20456466610298</c:v>
                </c:pt>
                <c:pt idx="3366">
                  <c:v>165.76458721881767</c:v>
                </c:pt>
                <c:pt idx="3367">
                  <c:v>165.76764847749945</c:v>
                </c:pt>
                <c:pt idx="3368">
                  <c:v>165.35639804945728</c:v>
                </c:pt>
                <c:pt idx="3369">
                  <c:v>165.96696524309402</c:v>
                </c:pt>
                <c:pt idx="3370">
                  <c:v>165.96696524309402</c:v>
                </c:pt>
                <c:pt idx="3371">
                  <c:v>165.96696524309402</c:v>
                </c:pt>
                <c:pt idx="3372">
                  <c:v>166.84860833745691</c:v>
                </c:pt>
                <c:pt idx="3373">
                  <c:v>166.93922069414654</c:v>
                </c:pt>
                <c:pt idx="3374">
                  <c:v>166.59408633735066</c:v>
                </c:pt>
                <c:pt idx="3375">
                  <c:v>166.46607958787243</c:v>
                </c:pt>
                <c:pt idx="3376">
                  <c:v>166.96397558128018</c:v>
                </c:pt>
                <c:pt idx="3377">
                  <c:v>166.96397558128018</c:v>
                </c:pt>
                <c:pt idx="3378">
                  <c:v>166.96397558128018</c:v>
                </c:pt>
                <c:pt idx="3379">
                  <c:v>166.19291615118274</c:v>
                </c:pt>
                <c:pt idx="3380">
                  <c:v>167.14047541678593</c:v>
                </c:pt>
                <c:pt idx="3381">
                  <c:v>166.01159971368503</c:v>
                </c:pt>
                <c:pt idx="3382">
                  <c:v>166.1322973864699</c:v>
                </c:pt>
                <c:pt idx="3383">
                  <c:v>166.1322973864699</c:v>
                </c:pt>
                <c:pt idx="3384">
                  <c:v>166.1322973864699</c:v>
                </c:pt>
                <c:pt idx="3385">
                  <c:v>166.1322973864699</c:v>
                </c:pt>
                <c:pt idx="3386">
                  <c:v>166.1322973864699</c:v>
                </c:pt>
                <c:pt idx="3387">
                  <c:v>165.66664325753442</c:v>
                </c:pt>
                <c:pt idx="3388">
                  <c:v>166.36460198936118</c:v>
                </c:pt>
                <c:pt idx="3389">
                  <c:v>167.66634407188241</c:v>
                </c:pt>
                <c:pt idx="3390">
                  <c:v>168.16314957292155</c:v>
                </c:pt>
                <c:pt idx="3391">
                  <c:v>168.16314957292155</c:v>
                </c:pt>
                <c:pt idx="3392">
                  <c:v>168.16314957292155</c:v>
                </c:pt>
                <c:pt idx="3393">
                  <c:v>166.80579413958455</c:v>
                </c:pt>
                <c:pt idx="3394">
                  <c:v>167.16884774976049</c:v>
                </c:pt>
                <c:pt idx="3395">
                  <c:v>167.3942269414066</c:v>
                </c:pt>
                <c:pt idx="3396">
                  <c:v>167.97345183926299</c:v>
                </c:pt>
                <c:pt idx="3397">
                  <c:v>167.33168071046143</c:v>
                </c:pt>
                <c:pt idx="3398">
                  <c:v>167.33168071046143</c:v>
                </c:pt>
                <c:pt idx="3399">
                  <c:v>167.33168071046143</c:v>
                </c:pt>
                <c:pt idx="3400">
                  <c:v>166.60446448328145</c:v>
                </c:pt>
                <c:pt idx="3401">
                  <c:v>166.8286845054744</c:v>
                </c:pt>
                <c:pt idx="3402">
                  <c:v>167.78182925871107</c:v>
                </c:pt>
                <c:pt idx="3403">
                  <c:v>167.49306757465678</c:v>
                </c:pt>
                <c:pt idx="3404">
                  <c:v>169.10022894317251</c:v>
                </c:pt>
                <c:pt idx="3405">
                  <c:v>169.10022894317251</c:v>
                </c:pt>
                <c:pt idx="3406">
                  <c:v>169.10022894317251</c:v>
                </c:pt>
                <c:pt idx="3407">
                  <c:v>169.75775628884705</c:v>
                </c:pt>
                <c:pt idx="3408">
                  <c:v>169.55066195344233</c:v>
                </c:pt>
                <c:pt idx="3409">
                  <c:v>169.5099732154504</c:v>
                </c:pt>
                <c:pt idx="3410">
                  <c:v>169.71994901222112</c:v>
                </c:pt>
                <c:pt idx="3411">
                  <c:v>168.11311286460753</c:v>
                </c:pt>
                <c:pt idx="3412">
                  <c:v>168.11311286460753</c:v>
                </c:pt>
                <c:pt idx="3413">
                  <c:v>168.11311286460753</c:v>
                </c:pt>
                <c:pt idx="3414">
                  <c:v>168.25522250347882</c:v>
                </c:pt>
                <c:pt idx="3415">
                  <c:v>167.06165594596862</c:v>
                </c:pt>
                <c:pt idx="3416">
                  <c:v>166.37127146136737</c:v>
                </c:pt>
                <c:pt idx="3417">
                  <c:v>168.09343911267035</c:v>
                </c:pt>
                <c:pt idx="3418">
                  <c:v>167.91695630155689</c:v>
                </c:pt>
                <c:pt idx="3419">
                  <c:v>167.91695630155689</c:v>
                </c:pt>
                <c:pt idx="3420">
                  <c:v>167.91695630155689</c:v>
                </c:pt>
                <c:pt idx="3421">
                  <c:v>167.44477639926362</c:v>
                </c:pt>
                <c:pt idx="3422">
                  <c:v>166.55437425011013</c:v>
                </c:pt>
                <c:pt idx="3423">
                  <c:v>166.61662250721176</c:v>
                </c:pt>
                <c:pt idx="3424">
                  <c:v>166.82846942210926</c:v>
                </c:pt>
                <c:pt idx="3425">
                  <c:v>165.96457000850396</c:v>
                </c:pt>
                <c:pt idx="3426">
                  <c:v>165.96457000850396</c:v>
                </c:pt>
                <c:pt idx="3427">
                  <c:v>165.96457000850396</c:v>
                </c:pt>
                <c:pt idx="3428">
                  <c:v>166.4987495097148</c:v>
                </c:pt>
                <c:pt idx="3429">
                  <c:v>167.16646841605561</c:v>
                </c:pt>
                <c:pt idx="3430">
                  <c:v>166.58671240234969</c:v>
                </c:pt>
                <c:pt idx="3431">
                  <c:v>166.03129205929736</c:v>
                </c:pt>
                <c:pt idx="3432">
                  <c:v>165.53153105523353</c:v>
                </c:pt>
                <c:pt idx="3433">
                  <c:v>165.53153105523353</c:v>
                </c:pt>
                <c:pt idx="3434">
                  <c:v>165.53153105523353</c:v>
                </c:pt>
                <c:pt idx="3435">
                  <c:v>166.85290809018943</c:v>
                </c:pt>
                <c:pt idx="3436">
                  <c:v>167.67200882559402</c:v>
                </c:pt>
                <c:pt idx="3437">
                  <c:v>167.34927672007294</c:v>
                </c:pt>
                <c:pt idx="3438">
                  <c:v>167.50257080029047</c:v>
                </c:pt>
                <c:pt idx="3439">
                  <c:v>166.07111018850614</c:v>
                </c:pt>
                <c:pt idx="3440">
                  <c:v>166.07111018850614</c:v>
                </c:pt>
                <c:pt idx="3441">
                  <c:v>166.07111018850614</c:v>
                </c:pt>
                <c:pt idx="3442">
                  <c:v>165.7932663620652</c:v>
                </c:pt>
                <c:pt idx="3443">
                  <c:v>165.77586241597209</c:v>
                </c:pt>
                <c:pt idx="3444">
                  <c:v>166.35589299781267</c:v>
                </c:pt>
                <c:pt idx="3445">
                  <c:v>167.21808125626833</c:v>
                </c:pt>
                <c:pt idx="3446">
                  <c:v>166.74928717249838</c:v>
                </c:pt>
                <c:pt idx="3447">
                  <c:v>166.74928717249838</c:v>
                </c:pt>
                <c:pt idx="3448">
                  <c:v>166.74928717249838</c:v>
                </c:pt>
                <c:pt idx="3449">
                  <c:v>165.93112461350714</c:v>
                </c:pt>
                <c:pt idx="3450">
                  <c:v>163.44722010571314</c:v>
                </c:pt>
                <c:pt idx="3451">
                  <c:v>162.07281211562241</c:v>
                </c:pt>
                <c:pt idx="3452">
                  <c:v>162.65291242051896</c:v>
                </c:pt>
                <c:pt idx="3453">
                  <c:v>164.47653460461913</c:v>
                </c:pt>
                <c:pt idx="3454">
                  <c:v>164.47653460461913</c:v>
                </c:pt>
                <c:pt idx="3455">
                  <c:v>164.47653460461913</c:v>
                </c:pt>
                <c:pt idx="3456">
                  <c:v>164.72278851983233</c:v>
                </c:pt>
                <c:pt idx="3457">
                  <c:v>164.62692506618816</c:v>
                </c:pt>
                <c:pt idx="3458">
                  <c:v>166.09243375696292</c:v>
                </c:pt>
                <c:pt idx="3459">
                  <c:v>166.38696260912519</c:v>
                </c:pt>
                <c:pt idx="3460">
                  <c:v>165.75915102393438</c:v>
                </c:pt>
                <c:pt idx="3461">
                  <c:v>165.75915102393438</c:v>
                </c:pt>
                <c:pt idx="3462">
                  <c:v>165.75915102393438</c:v>
                </c:pt>
                <c:pt idx="3463">
                  <c:v>165.11927083754915</c:v>
                </c:pt>
                <c:pt idx="3464">
                  <c:v>163.95191585100491</c:v>
                </c:pt>
                <c:pt idx="3465">
                  <c:v>163.58794860312904</c:v>
                </c:pt>
                <c:pt idx="3466">
                  <c:v>163.24852919097754</c:v>
                </c:pt>
                <c:pt idx="3467">
                  <c:v>164.46358921912966</c:v>
                </c:pt>
                <c:pt idx="3468">
                  <c:v>164.46358921912966</c:v>
                </c:pt>
                <c:pt idx="3469">
                  <c:v>164.46358921912966</c:v>
                </c:pt>
                <c:pt idx="3470">
                  <c:v>164.88774976752347</c:v>
                </c:pt>
                <c:pt idx="3471">
                  <c:v>164.64155970486158</c:v>
                </c:pt>
                <c:pt idx="3472">
                  <c:v>164.82310289659247</c:v>
                </c:pt>
                <c:pt idx="3473">
                  <c:v>164.47256377986673</c:v>
                </c:pt>
                <c:pt idx="3474">
                  <c:v>163.96751728366149</c:v>
                </c:pt>
                <c:pt idx="3475">
                  <c:v>163.96751728366149</c:v>
                </c:pt>
                <c:pt idx="3476">
                  <c:v>163.96751728366149</c:v>
                </c:pt>
                <c:pt idx="3477">
                  <c:v>163.35986816121724</c:v>
                </c:pt>
                <c:pt idx="3478">
                  <c:v>163.86418257559669</c:v>
                </c:pt>
                <c:pt idx="3479">
                  <c:v>162.47579388614997</c:v>
                </c:pt>
                <c:pt idx="3480">
                  <c:v>162.60580141093811</c:v>
                </c:pt>
                <c:pt idx="3481">
                  <c:v>163.00699885701664</c:v>
                </c:pt>
                <c:pt idx="3482">
                  <c:v>163.00699885701664</c:v>
                </c:pt>
                <c:pt idx="3483">
                  <c:v>163.00699885701664</c:v>
                </c:pt>
                <c:pt idx="3484">
                  <c:v>163.76487589875873</c:v>
                </c:pt>
                <c:pt idx="3485">
                  <c:v>163.70684914036491</c:v>
                </c:pt>
                <c:pt idx="3486">
                  <c:v>163.13686537611318</c:v>
                </c:pt>
                <c:pt idx="3487">
                  <c:v>164.25954929415585</c:v>
                </c:pt>
                <c:pt idx="3488">
                  <c:v>164.51484574866831</c:v>
                </c:pt>
                <c:pt idx="3489">
                  <c:v>164.51484574866831</c:v>
                </c:pt>
                <c:pt idx="3490">
                  <c:v>164.51484574866831</c:v>
                </c:pt>
                <c:pt idx="3491">
                  <c:v>163.05014692085552</c:v>
                </c:pt>
                <c:pt idx="3492">
                  <c:v>163.82985427809894</c:v>
                </c:pt>
                <c:pt idx="3493">
                  <c:v>164.16009716419799</c:v>
                </c:pt>
                <c:pt idx="3494">
                  <c:v>164.01848710489634</c:v>
                </c:pt>
                <c:pt idx="3495">
                  <c:v>163.45096209706074</c:v>
                </c:pt>
                <c:pt idx="3496">
                  <c:v>163.45096209706074</c:v>
                </c:pt>
                <c:pt idx="3497">
                  <c:v>163.45096209706074</c:v>
                </c:pt>
                <c:pt idx="3498">
                  <c:v>163.17683948105091</c:v>
                </c:pt>
                <c:pt idx="3499">
                  <c:v>162.84700626559379</c:v>
                </c:pt>
                <c:pt idx="3500">
                  <c:v>162.05024976355247</c:v>
                </c:pt>
                <c:pt idx="3501">
                  <c:v>161.21786153785663</c:v>
                </c:pt>
                <c:pt idx="3502">
                  <c:v>160.43455933174849</c:v>
                </c:pt>
                <c:pt idx="3503">
                  <c:v>160.43455933174849</c:v>
                </c:pt>
                <c:pt idx="3504">
                  <c:v>160.43455933174849</c:v>
                </c:pt>
                <c:pt idx="3505">
                  <c:v>161.24490675586654</c:v>
                </c:pt>
                <c:pt idx="3506">
                  <c:v>160.99418115061025</c:v>
                </c:pt>
                <c:pt idx="3507">
                  <c:v>160.59591707455237</c:v>
                </c:pt>
                <c:pt idx="3508">
                  <c:v>160.66732021813556</c:v>
                </c:pt>
                <c:pt idx="3509">
                  <c:v>160.66984802899202</c:v>
                </c:pt>
                <c:pt idx="3510">
                  <c:v>160.66984802899202</c:v>
                </c:pt>
                <c:pt idx="3511">
                  <c:v>160.66984802899202</c:v>
                </c:pt>
                <c:pt idx="3512">
                  <c:v>160.53674576197776</c:v>
                </c:pt>
                <c:pt idx="3513">
                  <c:v>160.22072025225907</c:v>
                </c:pt>
                <c:pt idx="3514">
                  <c:v>160.50494324559668</c:v>
                </c:pt>
                <c:pt idx="3515">
                  <c:v>160.94642639637061</c:v>
                </c:pt>
                <c:pt idx="3516">
                  <c:v>162.17352687376703</c:v>
                </c:pt>
                <c:pt idx="3517">
                  <c:v>162.17352687376703</c:v>
                </c:pt>
                <c:pt idx="3518">
                  <c:v>162.17352687376703</c:v>
                </c:pt>
                <c:pt idx="3519">
                  <c:v>161.68762596534285</c:v>
                </c:pt>
                <c:pt idx="3520">
                  <c:v>162.15993023737693</c:v>
                </c:pt>
                <c:pt idx="3521">
                  <c:v>162.30184695054277</c:v>
                </c:pt>
                <c:pt idx="3522">
                  <c:v>162.11399058756416</c:v>
                </c:pt>
                <c:pt idx="3523">
                  <c:v>161.46905738424402</c:v>
                </c:pt>
                <c:pt idx="3524">
                  <c:v>161.46905738424402</c:v>
                </c:pt>
                <c:pt idx="3525">
                  <c:v>161.46905738424402</c:v>
                </c:pt>
                <c:pt idx="3526">
                  <c:v>161.21988847989616</c:v>
                </c:pt>
                <c:pt idx="3527">
                  <c:v>161.02796477391399</c:v>
                </c:pt>
                <c:pt idx="3528">
                  <c:v>161.71361677025928</c:v>
                </c:pt>
                <c:pt idx="3529">
                  <c:v>162.00915385334446</c:v>
                </c:pt>
                <c:pt idx="3530">
                  <c:v>162.77416714238453</c:v>
                </c:pt>
                <c:pt idx="3531">
                  <c:v>162.77416714238453</c:v>
                </c:pt>
                <c:pt idx="3532">
                  <c:v>162.77416714238453</c:v>
                </c:pt>
                <c:pt idx="3533">
                  <c:v>162.62952258111909</c:v>
                </c:pt>
                <c:pt idx="3534">
                  <c:v>163.86755723827531</c:v>
                </c:pt>
                <c:pt idx="3535">
                  <c:v>163.97200442202237</c:v>
                </c:pt>
                <c:pt idx="3536">
                  <c:v>163.32935209309238</c:v>
                </c:pt>
                <c:pt idx="3537">
                  <c:v>164.43571625346607</c:v>
                </c:pt>
                <c:pt idx="3538">
                  <c:v>164.43571625346607</c:v>
                </c:pt>
                <c:pt idx="3539">
                  <c:v>164.43571625346607</c:v>
                </c:pt>
                <c:pt idx="3540">
                  <c:v>165.25426002208189</c:v>
                </c:pt>
                <c:pt idx="3541">
                  <c:v>164.62309673894978</c:v>
                </c:pt>
                <c:pt idx="3542">
                  <c:v>165.90832872267524</c:v>
                </c:pt>
                <c:pt idx="3543">
                  <c:v>165.20484957904893</c:v>
                </c:pt>
                <c:pt idx="3544">
                  <c:v>166.31871195762071</c:v>
                </c:pt>
                <c:pt idx="3545">
                  <c:v>166.31871195762071</c:v>
                </c:pt>
                <c:pt idx="3546">
                  <c:v>166.31871195762071</c:v>
                </c:pt>
                <c:pt idx="3547">
                  <c:v>166.02033339735439</c:v>
                </c:pt>
                <c:pt idx="3548">
                  <c:v>165.49378098623691</c:v>
                </c:pt>
                <c:pt idx="3549">
                  <c:v>164.7903795189676</c:v>
                </c:pt>
                <c:pt idx="3550">
                  <c:v>164.96615515675492</c:v>
                </c:pt>
                <c:pt idx="3551">
                  <c:v>165.13288062636812</c:v>
                </c:pt>
                <c:pt idx="3552">
                  <c:v>165.13288062636812</c:v>
                </c:pt>
                <c:pt idx="3553">
                  <c:v>165.13288062636812</c:v>
                </c:pt>
                <c:pt idx="3554">
                  <c:v>164.64120130372248</c:v>
                </c:pt>
                <c:pt idx="3555">
                  <c:v>164.5594414856493</c:v>
                </c:pt>
                <c:pt idx="3556">
                  <c:v>164.14488408078134</c:v>
                </c:pt>
                <c:pt idx="3557">
                  <c:v>164.50531092137254</c:v>
                </c:pt>
                <c:pt idx="3558">
                  <c:v>165.61687763253235</c:v>
                </c:pt>
                <c:pt idx="3559">
                  <c:v>165.61687763253235</c:v>
                </c:pt>
                <c:pt idx="3560">
                  <c:v>165.61687763253235</c:v>
                </c:pt>
                <c:pt idx="3561">
                  <c:v>165.20603762641031</c:v>
                </c:pt>
                <c:pt idx="3562">
                  <c:v>165.68079244648922</c:v>
                </c:pt>
                <c:pt idx="3563">
                  <c:v>165.38208307244463</c:v>
                </c:pt>
                <c:pt idx="3564">
                  <c:v>166.15852784899059</c:v>
                </c:pt>
                <c:pt idx="3565">
                  <c:v>166.18514712202449</c:v>
                </c:pt>
                <c:pt idx="3566">
                  <c:v>166.18514712202449</c:v>
                </c:pt>
                <c:pt idx="3567">
                  <c:v>166.18514712202449</c:v>
                </c:pt>
                <c:pt idx="3568">
                  <c:v>166.13351716473906</c:v>
                </c:pt>
                <c:pt idx="3569">
                  <c:v>166.28803064950858</c:v>
                </c:pt>
                <c:pt idx="3570">
                  <c:v>165.68332538432628</c:v>
                </c:pt>
                <c:pt idx="3571">
                  <c:v>165.65117167738131</c:v>
                </c:pt>
                <c:pt idx="3572">
                  <c:v>166.03724988184038</c:v>
                </c:pt>
                <c:pt idx="3573">
                  <c:v>166.03724988184038</c:v>
                </c:pt>
                <c:pt idx="3574">
                  <c:v>166.03724988184038</c:v>
                </c:pt>
                <c:pt idx="3575">
                  <c:v>165.86660585643244</c:v>
                </c:pt>
                <c:pt idx="3576">
                  <c:v>165.49111688618129</c:v>
                </c:pt>
                <c:pt idx="3577">
                  <c:v>166.05373689703291</c:v>
                </c:pt>
                <c:pt idx="3578">
                  <c:v>166.15253819510224</c:v>
                </c:pt>
                <c:pt idx="3579">
                  <c:v>166.33227989414851</c:v>
                </c:pt>
                <c:pt idx="3580">
                  <c:v>166.33227989414851</c:v>
                </c:pt>
                <c:pt idx="3581">
                  <c:v>166.33227989414851</c:v>
                </c:pt>
                <c:pt idx="3582">
                  <c:v>166.78139465521463</c:v>
                </c:pt>
                <c:pt idx="3583">
                  <c:v>167.1862768820159</c:v>
                </c:pt>
                <c:pt idx="3584">
                  <c:v>167.01493277092658</c:v>
                </c:pt>
                <c:pt idx="3585">
                  <c:v>167.85931909977867</c:v>
                </c:pt>
                <c:pt idx="3586">
                  <c:v>167.51337547616544</c:v>
                </c:pt>
                <c:pt idx="3587">
                  <c:v>167.51337547616544</c:v>
                </c:pt>
                <c:pt idx="3588">
                  <c:v>167.51337547616544</c:v>
                </c:pt>
                <c:pt idx="3589">
                  <c:v>167.10036332997626</c:v>
                </c:pt>
                <c:pt idx="3590">
                  <c:v>166.64357658330982</c:v>
                </c:pt>
                <c:pt idx="3591">
                  <c:v>167.57863625677837</c:v>
                </c:pt>
                <c:pt idx="3592">
                  <c:v>167.72157067714025</c:v>
                </c:pt>
                <c:pt idx="3593">
                  <c:v>167.79182008001058</c:v>
                </c:pt>
                <c:pt idx="3594">
                  <c:v>167.79182008001058</c:v>
                </c:pt>
                <c:pt idx="3595">
                  <c:v>167.79182008001058</c:v>
                </c:pt>
                <c:pt idx="3596">
                  <c:v>167.68135996827687</c:v>
                </c:pt>
                <c:pt idx="3597">
                  <c:v>167.30047583459464</c:v>
                </c:pt>
                <c:pt idx="3598">
                  <c:v>168.1279800805849</c:v>
                </c:pt>
                <c:pt idx="3599">
                  <c:v>167.38633142539686</c:v>
                </c:pt>
                <c:pt idx="3600">
                  <c:v>166.84543877712986</c:v>
                </c:pt>
                <c:pt idx="3601">
                  <c:v>166.84543877712986</c:v>
                </c:pt>
                <c:pt idx="3602">
                  <c:v>166.84543877712986</c:v>
                </c:pt>
                <c:pt idx="3603">
                  <c:v>166.77498357503219</c:v>
                </c:pt>
                <c:pt idx="3604">
                  <c:v>165.77612623274143</c:v>
                </c:pt>
                <c:pt idx="3605">
                  <c:v>165.95234701146308</c:v>
                </c:pt>
                <c:pt idx="3606">
                  <c:v>165.79373528250682</c:v>
                </c:pt>
                <c:pt idx="3607">
                  <c:v>166.05596746759915</c:v>
                </c:pt>
                <c:pt idx="3608">
                  <c:v>166.05596746759915</c:v>
                </c:pt>
                <c:pt idx="3609">
                  <c:v>166.05596746759915</c:v>
                </c:pt>
                <c:pt idx="3610">
                  <c:v>165.43042742105951</c:v>
                </c:pt>
                <c:pt idx="3611">
                  <c:v>165.73681722733949</c:v>
                </c:pt>
                <c:pt idx="3612">
                  <c:v>165.27176109392033</c:v>
                </c:pt>
                <c:pt idx="3613">
                  <c:v>165.84562959585324</c:v>
                </c:pt>
                <c:pt idx="3614">
                  <c:v>165.54458268149136</c:v>
                </c:pt>
                <c:pt idx="3615">
                  <c:v>165.54458268149136</c:v>
                </c:pt>
                <c:pt idx="3616">
                  <c:v>165.54458268149136</c:v>
                </c:pt>
                <c:pt idx="3617">
                  <c:v>165.54072929397023</c:v>
                </c:pt>
                <c:pt idx="3618">
                  <c:v>165.58957093122868</c:v>
                </c:pt>
                <c:pt idx="3619">
                  <c:v>164.96650632453</c:v>
                </c:pt>
                <c:pt idx="3620">
                  <c:v>165.24390079647551</c:v>
                </c:pt>
                <c:pt idx="3621">
                  <c:v>165.4175873697653</c:v>
                </c:pt>
                <c:pt idx="3622">
                  <c:v>165.4175873697653</c:v>
                </c:pt>
                <c:pt idx="3623">
                  <c:v>165.4175873697653</c:v>
                </c:pt>
                <c:pt idx="3624">
                  <c:v>165.30360602438139</c:v>
                </c:pt>
                <c:pt idx="3625">
                  <c:v>165.24836725547877</c:v>
                </c:pt>
                <c:pt idx="3626">
                  <c:v>165.61778807441576</c:v>
                </c:pt>
                <c:pt idx="3627">
                  <c:v>165.65104046485254</c:v>
                </c:pt>
                <c:pt idx="3628">
                  <c:v>165.93579919930775</c:v>
                </c:pt>
                <c:pt idx="3629">
                  <c:v>165.93579919930775</c:v>
                </c:pt>
                <c:pt idx="3630">
                  <c:v>165.93579919930775</c:v>
                </c:pt>
                <c:pt idx="3631">
                  <c:v>165.45805806321076</c:v>
                </c:pt>
                <c:pt idx="3632">
                  <c:v>165.54015181189186</c:v>
                </c:pt>
                <c:pt idx="3633">
                  <c:v>165.61950509023964</c:v>
                </c:pt>
                <c:pt idx="3634">
                  <c:v>165.93624679159515</c:v>
                </c:pt>
                <c:pt idx="3635">
                  <c:v>166.59363829825762</c:v>
                </c:pt>
                <c:pt idx="3636">
                  <c:v>166.59363829825762</c:v>
                </c:pt>
                <c:pt idx="3637">
                  <c:v>166.59363829825762</c:v>
                </c:pt>
                <c:pt idx="3638">
                  <c:v>166.66572511254989</c:v>
                </c:pt>
                <c:pt idx="3639">
                  <c:v>167.14261465111778</c:v>
                </c:pt>
                <c:pt idx="3640">
                  <c:v>167.73099044421875</c:v>
                </c:pt>
                <c:pt idx="3641">
                  <c:v>167.79088915784641</c:v>
                </c:pt>
                <c:pt idx="3642">
                  <c:v>167.41213722581051</c:v>
                </c:pt>
                <c:pt idx="3643">
                  <c:v>167.41213722581051</c:v>
                </c:pt>
                <c:pt idx="3644">
                  <c:v>167.41213722581051</c:v>
                </c:pt>
                <c:pt idx="3645">
                  <c:v>167.43748544005939</c:v>
                </c:pt>
                <c:pt idx="3646">
                  <c:v>167.43748544005939</c:v>
                </c:pt>
                <c:pt idx="3647">
                  <c:v>167.43748544005939</c:v>
                </c:pt>
                <c:pt idx="3648">
                  <c:v>167.50746650971058</c:v>
                </c:pt>
                <c:pt idx="3649">
                  <c:v>167.6945283956164</c:v>
                </c:pt>
                <c:pt idx="3650">
                  <c:v>167.6945283956164</c:v>
                </c:pt>
                <c:pt idx="3651">
                  <c:v>167.6945283956164</c:v>
                </c:pt>
                <c:pt idx="3652">
                  <c:v>167.71592677492103</c:v>
                </c:pt>
                <c:pt idx="3653">
                  <c:v>167.71592677492103</c:v>
                </c:pt>
                <c:pt idx="3654">
                  <c:v>167.88560078792739</c:v>
                </c:pt>
                <c:pt idx="3655">
                  <c:v>168.26890000791761</c:v>
                </c:pt>
                <c:pt idx="3656">
                  <c:v>168.29545437640786</c:v>
                </c:pt>
                <c:pt idx="3657">
                  <c:v>168.29545437640786</c:v>
                </c:pt>
                <c:pt idx="3658">
                  <c:v>168.29545437640786</c:v>
                </c:pt>
                <c:pt idx="3659">
                  <c:v>169.27813128414317</c:v>
                </c:pt>
                <c:pt idx="3660">
                  <c:v>169.25168521718015</c:v>
                </c:pt>
                <c:pt idx="3661">
                  <c:v>169.46536189918362</c:v>
                </c:pt>
                <c:pt idx="3662">
                  <c:v>169.60422017039642</c:v>
                </c:pt>
                <c:pt idx="3663">
                  <c:v>169.30267123550996</c:v>
                </c:pt>
                <c:pt idx="3664">
                  <c:v>169.30267123550996</c:v>
                </c:pt>
                <c:pt idx="3665">
                  <c:v>169.30267123550996</c:v>
                </c:pt>
                <c:pt idx="3666">
                  <c:v>168.91428749133703</c:v>
                </c:pt>
                <c:pt idx="3667">
                  <c:v>168.77640294092095</c:v>
                </c:pt>
                <c:pt idx="3668">
                  <c:v>168.44472997238324</c:v>
                </c:pt>
                <c:pt idx="3669">
                  <c:v>169.00620647100635</c:v>
                </c:pt>
                <c:pt idx="3670">
                  <c:v>169.34179690759134</c:v>
                </c:pt>
                <c:pt idx="3671">
                  <c:v>169.34179690759134</c:v>
                </c:pt>
                <c:pt idx="3672">
                  <c:v>169.34179690759134</c:v>
                </c:pt>
                <c:pt idx="3673">
                  <c:v>169.17081397857993</c:v>
                </c:pt>
                <c:pt idx="3674">
                  <c:v>169.25144657138955</c:v>
                </c:pt>
                <c:pt idx="3675">
                  <c:v>168.80506292590226</c:v>
                </c:pt>
                <c:pt idx="3676">
                  <c:v>168.72900609381446</c:v>
                </c:pt>
                <c:pt idx="3677">
                  <c:v>168.49642625637068</c:v>
                </c:pt>
                <c:pt idx="3678">
                  <c:v>168.49642625637068</c:v>
                </c:pt>
                <c:pt idx="3679">
                  <c:v>168.49642625637068</c:v>
                </c:pt>
                <c:pt idx="3680">
                  <c:v>168.3646463571115</c:v>
                </c:pt>
                <c:pt idx="3681">
                  <c:v>167.12734869803663</c:v>
                </c:pt>
                <c:pt idx="3682">
                  <c:v>167.29357483907688</c:v>
                </c:pt>
                <c:pt idx="3683">
                  <c:v>167.46065531506051</c:v>
                </c:pt>
                <c:pt idx="3684">
                  <c:v>168.79511741479084</c:v>
                </c:pt>
                <c:pt idx="3685">
                  <c:v>168.79511741479084</c:v>
                </c:pt>
                <c:pt idx="3686">
                  <c:v>168.79511741479084</c:v>
                </c:pt>
                <c:pt idx="3687">
                  <c:v>169.00456641310035</c:v>
                </c:pt>
                <c:pt idx="3688">
                  <c:v>168.89095655159196</c:v>
                </c:pt>
                <c:pt idx="3689">
                  <c:v>170.12409148586212</c:v>
                </c:pt>
                <c:pt idx="3690">
                  <c:v>170.94084649644034</c:v>
                </c:pt>
                <c:pt idx="3691">
                  <c:v>170.79215556594542</c:v>
                </c:pt>
                <c:pt idx="3692">
                  <c:v>170.79215556594542</c:v>
                </c:pt>
                <c:pt idx="3693">
                  <c:v>170.79215556594542</c:v>
                </c:pt>
                <c:pt idx="3694">
                  <c:v>171.05386251137895</c:v>
                </c:pt>
                <c:pt idx="3695">
                  <c:v>171.20917859507139</c:v>
                </c:pt>
                <c:pt idx="3696">
                  <c:v>172.18890507069767</c:v>
                </c:pt>
                <c:pt idx="3697">
                  <c:v>172.01104554811346</c:v>
                </c:pt>
                <c:pt idx="3698">
                  <c:v>172.50256174160236</c:v>
                </c:pt>
                <c:pt idx="3699">
                  <c:v>172.50256174160236</c:v>
                </c:pt>
                <c:pt idx="3700">
                  <c:v>172.50256174160236</c:v>
                </c:pt>
                <c:pt idx="3701">
                  <c:v>171.90467792190776</c:v>
                </c:pt>
                <c:pt idx="3702">
                  <c:v>172.12960161843216</c:v>
                </c:pt>
                <c:pt idx="3703">
                  <c:v>172.68757728929322</c:v>
                </c:pt>
                <c:pt idx="3704">
                  <c:v>172.76609292358808</c:v>
                </c:pt>
                <c:pt idx="3705">
                  <c:v>172.25270322247022</c:v>
                </c:pt>
                <c:pt idx="3706">
                  <c:v>172.25270322247022</c:v>
                </c:pt>
                <c:pt idx="3707">
                  <c:v>172.25270322247022</c:v>
                </c:pt>
                <c:pt idx="3708">
                  <c:v>171.70435676090196</c:v>
                </c:pt>
                <c:pt idx="3709">
                  <c:v>172.38561850528043</c:v>
                </c:pt>
                <c:pt idx="3710">
                  <c:v>171.92818388530071</c:v>
                </c:pt>
                <c:pt idx="3711">
                  <c:v>171.90374241244751</c:v>
                </c:pt>
                <c:pt idx="3712">
                  <c:v>171.7247513192608</c:v>
                </c:pt>
                <c:pt idx="3713">
                  <c:v>171.7247513192608</c:v>
                </c:pt>
                <c:pt idx="3714">
                  <c:v>171.7247513192608</c:v>
                </c:pt>
                <c:pt idx="3715">
                  <c:v>170.88936936795872</c:v>
                </c:pt>
                <c:pt idx="3716">
                  <c:v>170.85832845760888</c:v>
                </c:pt>
                <c:pt idx="3717">
                  <c:v>171.06604367253098</c:v>
                </c:pt>
                <c:pt idx="3718">
                  <c:v>171.14214178432522</c:v>
                </c:pt>
                <c:pt idx="3719">
                  <c:v>170.7664534634045</c:v>
                </c:pt>
                <c:pt idx="3720">
                  <c:v>170.7664534634045</c:v>
                </c:pt>
                <c:pt idx="3721">
                  <c:v>170.7664534634045</c:v>
                </c:pt>
                <c:pt idx="3722">
                  <c:v>170.46120645800406</c:v>
                </c:pt>
                <c:pt idx="3723">
                  <c:v>170.35023605354925</c:v>
                </c:pt>
                <c:pt idx="3724">
                  <c:v>170.26044375925403</c:v>
                </c:pt>
                <c:pt idx="3725">
                  <c:v>169.78207075261068</c:v>
                </c:pt>
                <c:pt idx="3726">
                  <c:v>170.23846630133571</c:v>
                </c:pt>
                <c:pt idx="3727">
                  <c:v>170.23846630133571</c:v>
                </c:pt>
                <c:pt idx="3728">
                  <c:v>170.23846630133571</c:v>
                </c:pt>
                <c:pt idx="3729">
                  <c:v>170.46382166996563</c:v>
                </c:pt>
                <c:pt idx="3730">
                  <c:v>170.01895486252229</c:v>
                </c:pt>
                <c:pt idx="3731">
                  <c:v>169.58635027742497</c:v>
                </c:pt>
                <c:pt idx="3732">
                  <c:v>170.22052388301481</c:v>
                </c:pt>
                <c:pt idx="3733">
                  <c:v>169.73872837608224</c:v>
                </c:pt>
                <c:pt idx="3734">
                  <c:v>169.73872837608224</c:v>
                </c:pt>
                <c:pt idx="3735">
                  <c:v>169.73872837608224</c:v>
                </c:pt>
                <c:pt idx="3736">
                  <c:v>169.97744235674341</c:v>
                </c:pt>
                <c:pt idx="3737">
                  <c:v>169.9526481139952</c:v>
                </c:pt>
                <c:pt idx="3738">
                  <c:v>169.02757443530717</c:v>
                </c:pt>
                <c:pt idx="3739">
                  <c:v>169.21856435600728</c:v>
                </c:pt>
                <c:pt idx="3740">
                  <c:v>169.21856435600728</c:v>
                </c:pt>
                <c:pt idx="3741">
                  <c:v>169.21856435600728</c:v>
                </c:pt>
                <c:pt idx="3742">
                  <c:v>169.21856435600728</c:v>
                </c:pt>
                <c:pt idx="3743">
                  <c:v>169.21856435600728</c:v>
                </c:pt>
                <c:pt idx="3744">
                  <c:v>168.12211164242734</c:v>
                </c:pt>
                <c:pt idx="3745">
                  <c:v>168.6209091356358</c:v>
                </c:pt>
                <c:pt idx="3746">
                  <c:v>168.4734768556024</c:v>
                </c:pt>
                <c:pt idx="3747">
                  <c:v>167.4041800191508</c:v>
                </c:pt>
                <c:pt idx="3748">
                  <c:v>167.4041800191508</c:v>
                </c:pt>
                <c:pt idx="3749">
                  <c:v>167.4041800191508</c:v>
                </c:pt>
                <c:pt idx="3750">
                  <c:v>167.51708281827464</c:v>
                </c:pt>
                <c:pt idx="3751">
                  <c:v>168.04315292530623</c:v>
                </c:pt>
                <c:pt idx="3752">
                  <c:v>168.51896971806457</c:v>
                </c:pt>
                <c:pt idx="3753">
                  <c:v>169.38276152120946</c:v>
                </c:pt>
                <c:pt idx="3754">
                  <c:v>169.73365244512792</c:v>
                </c:pt>
                <c:pt idx="3755">
                  <c:v>169.73365244512792</c:v>
                </c:pt>
                <c:pt idx="3756">
                  <c:v>169.73365244512792</c:v>
                </c:pt>
                <c:pt idx="3757">
                  <c:v>168.30893111283581</c:v>
                </c:pt>
                <c:pt idx="3758">
                  <c:v>168.52182221891516</c:v>
                </c:pt>
                <c:pt idx="3759">
                  <c:v>168.87981468135305</c:v>
                </c:pt>
                <c:pt idx="3760">
                  <c:v>168.88448427681195</c:v>
                </c:pt>
                <c:pt idx="3761">
                  <c:v>168.87273159050861</c:v>
                </c:pt>
                <c:pt idx="3762">
                  <c:v>168.87273159050861</c:v>
                </c:pt>
                <c:pt idx="3763">
                  <c:v>168.87273159050861</c:v>
                </c:pt>
                <c:pt idx="3764">
                  <c:v>169.25236996655053</c:v>
                </c:pt>
                <c:pt idx="3765">
                  <c:v>168.40430441266687</c:v>
                </c:pt>
                <c:pt idx="3766">
                  <c:v>167.94716339036106</c:v>
                </c:pt>
                <c:pt idx="3767">
                  <c:v>168.62182998776484</c:v>
                </c:pt>
                <c:pt idx="3768">
                  <c:v>168.49040416253143</c:v>
                </c:pt>
                <c:pt idx="3769">
                  <c:v>168.49040416253143</c:v>
                </c:pt>
                <c:pt idx="3770">
                  <c:v>168.49040416253143</c:v>
                </c:pt>
                <c:pt idx="3771">
                  <c:v>168.23568148245363</c:v>
                </c:pt>
                <c:pt idx="3772">
                  <c:v>168.21075186403445</c:v>
                </c:pt>
                <c:pt idx="3773">
                  <c:v>168.31522586324428</c:v>
                </c:pt>
                <c:pt idx="3774">
                  <c:v>168.07112208458071</c:v>
                </c:pt>
                <c:pt idx="3775">
                  <c:v>168.31841322747346</c:v>
                </c:pt>
                <c:pt idx="3776">
                  <c:v>168.31841322747346</c:v>
                </c:pt>
                <c:pt idx="3777">
                  <c:v>168.31841322747346</c:v>
                </c:pt>
                <c:pt idx="3778">
                  <c:v>168.8118395658999</c:v>
                </c:pt>
                <c:pt idx="3779">
                  <c:v>168.48138025096779</c:v>
                </c:pt>
                <c:pt idx="3780">
                  <c:v>168.64119600712328</c:v>
                </c:pt>
                <c:pt idx="3781">
                  <c:v>168.88583285907686</c:v>
                </c:pt>
                <c:pt idx="3782">
                  <c:v>168.40377111739969</c:v>
                </c:pt>
                <c:pt idx="3783">
                  <c:v>168.40377111739969</c:v>
                </c:pt>
                <c:pt idx="3784">
                  <c:v>168.40377111739969</c:v>
                </c:pt>
                <c:pt idx="3785">
                  <c:v>168.50846757025676</c:v>
                </c:pt>
                <c:pt idx="3786">
                  <c:v>168.05531116912763</c:v>
                </c:pt>
                <c:pt idx="3787">
                  <c:v>168.50341000187905</c:v>
                </c:pt>
                <c:pt idx="3788">
                  <c:v>169.11899947739124</c:v>
                </c:pt>
                <c:pt idx="3789">
                  <c:v>169.15715817824579</c:v>
                </c:pt>
                <c:pt idx="3790">
                  <c:v>169.15715817824579</c:v>
                </c:pt>
                <c:pt idx="3791">
                  <c:v>169.15715817824579</c:v>
                </c:pt>
                <c:pt idx="3792">
                  <c:v>168.90121047205153</c:v>
                </c:pt>
                <c:pt idx="3793">
                  <c:v>168.83097060255528</c:v>
                </c:pt>
                <c:pt idx="3794">
                  <c:v>167.92487675682386</c:v>
                </c:pt>
                <c:pt idx="3795">
                  <c:v>167.8917091911928</c:v>
                </c:pt>
                <c:pt idx="3796">
                  <c:v>167.78540253074416</c:v>
                </c:pt>
                <c:pt idx="3797">
                  <c:v>167.78540253074416</c:v>
                </c:pt>
                <c:pt idx="3798">
                  <c:v>167.78540253074416</c:v>
                </c:pt>
                <c:pt idx="3799">
                  <c:v>167.67507319605861</c:v>
                </c:pt>
                <c:pt idx="3800">
                  <c:v>167.81121221507127</c:v>
                </c:pt>
                <c:pt idx="3801">
                  <c:v>168.34044072316806</c:v>
                </c:pt>
                <c:pt idx="3802">
                  <c:v>168.2907314673559</c:v>
                </c:pt>
                <c:pt idx="3803">
                  <c:v>168.60146396026829</c:v>
                </c:pt>
                <c:pt idx="3804">
                  <c:v>168.60146396026829</c:v>
                </c:pt>
                <c:pt idx="3805">
                  <c:v>168.60146396026829</c:v>
                </c:pt>
                <c:pt idx="3806">
                  <c:v>168.68933228835013</c:v>
                </c:pt>
                <c:pt idx="3807">
                  <c:v>168.31500645953454</c:v>
                </c:pt>
                <c:pt idx="3808">
                  <c:v>168.8454021722971</c:v>
                </c:pt>
                <c:pt idx="3809">
                  <c:v>169.0641208645965</c:v>
                </c:pt>
                <c:pt idx="3810">
                  <c:v>168.0679728475327</c:v>
                </c:pt>
                <c:pt idx="3811">
                  <c:v>168.0679728475327</c:v>
                </c:pt>
                <c:pt idx="3812">
                  <c:v>168.0679728475327</c:v>
                </c:pt>
                <c:pt idx="3813">
                  <c:v>168.16529241902359</c:v>
                </c:pt>
                <c:pt idx="3814">
                  <c:v>167.32849083131234</c:v>
                </c:pt>
                <c:pt idx="3815">
                  <c:v>167.70723457833421</c:v>
                </c:pt>
                <c:pt idx="3816">
                  <c:v>167.8152728550148</c:v>
                </c:pt>
                <c:pt idx="3817">
                  <c:v>168.93603246219843</c:v>
                </c:pt>
                <c:pt idx="3818">
                  <c:v>168.93603246219843</c:v>
                </c:pt>
                <c:pt idx="3819">
                  <c:v>168.93603246219843</c:v>
                </c:pt>
                <c:pt idx="3820">
                  <c:v>168.57930197736152</c:v>
                </c:pt>
                <c:pt idx="3821">
                  <c:v>168.98032878509878</c:v>
                </c:pt>
                <c:pt idx="3822">
                  <c:v>169.22358548942242</c:v>
                </c:pt>
                <c:pt idx="3823">
                  <c:v>169.94966196063413</c:v>
                </c:pt>
                <c:pt idx="3824">
                  <c:v>169.67409958851337</c:v>
                </c:pt>
                <c:pt idx="3825">
                  <c:v>169.67409958851337</c:v>
                </c:pt>
                <c:pt idx="3826">
                  <c:v>169.67409958851337</c:v>
                </c:pt>
                <c:pt idx="3827">
                  <c:v>168.01860527633028</c:v>
                </c:pt>
                <c:pt idx="3828">
                  <c:v>168.14526306095152</c:v>
                </c:pt>
                <c:pt idx="3829">
                  <c:v>168.13233328538746</c:v>
                </c:pt>
                <c:pt idx="3830">
                  <c:v>168.45399971649348</c:v>
                </c:pt>
                <c:pt idx="3831">
                  <c:v>168.71269676973466</c:v>
                </c:pt>
                <c:pt idx="3832">
                  <c:v>168.71269676973466</c:v>
                </c:pt>
                <c:pt idx="3833">
                  <c:v>168.71269676973466</c:v>
                </c:pt>
                <c:pt idx="3834">
                  <c:v>169.09952310306983</c:v>
                </c:pt>
                <c:pt idx="3835">
                  <c:v>169.3521144232318</c:v>
                </c:pt>
                <c:pt idx="3836">
                  <c:v>169.86033783015264</c:v>
                </c:pt>
                <c:pt idx="3837">
                  <c:v>169.15466399469202</c:v>
                </c:pt>
                <c:pt idx="3838">
                  <c:v>169.99573656826692</c:v>
                </c:pt>
                <c:pt idx="3839">
                  <c:v>169.99573656826692</c:v>
                </c:pt>
                <c:pt idx="3840">
                  <c:v>169.99573656826692</c:v>
                </c:pt>
                <c:pt idx="3841">
                  <c:v>170.17084700932494</c:v>
                </c:pt>
                <c:pt idx="3842">
                  <c:v>170.4964698882803</c:v>
                </c:pt>
                <c:pt idx="3843">
                  <c:v>170.22723359397932</c:v>
                </c:pt>
                <c:pt idx="3844">
                  <c:v>170.36633311054689</c:v>
                </c:pt>
                <c:pt idx="3845">
                  <c:v>170.35176530159467</c:v>
                </c:pt>
                <c:pt idx="3846">
                  <c:v>170.35176530159467</c:v>
                </c:pt>
                <c:pt idx="3847">
                  <c:v>170.35176530159467</c:v>
                </c:pt>
                <c:pt idx="3848">
                  <c:v>170.50725823297938</c:v>
                </c:pt>
                <c:pt idx="3849">
                  <c:v>170.66407042249995</c:v>
                </c:pt>
                <c:pt idx="3850">
                  <c:v>170.64592473336194</c:v>
                </c:pt>
                <c:pt idx="3851">
                  <c:v>171.69025598722428</c:v>
                </c:pt>
                <c:pt idx="3852">
                  <c:v>171.30953657064487</c:v>
                </c:pt>
                <c:pt idx="3853">
                  <c:v>171.30953657064487</c:v>
                </c:pt>
                <c:pt idx="3854">
                  <c:v>171.30953657064487</c:v>
                </c:pt>
                <c:pt idx="3855">
                  <c:v>171.53595746505431</c:v>
                </c:pt>
                <c:pt idx="3856">
                  <c:v>171.74294708768173</c:v>
                </c:pt>
                <c:pt idx="3857">
                  <c:v>171.40139385828007</c:v>
                </c:pt>
                <c:pt idx="3858">
                  <c:v>171.84358810009149</c:v>
                </c:pt>
                <c:pt idx="3859">
                  <c:v>171.82716220047047</c:v>
                </c:pt>
                <c:pt idx="3860">
                  <c:v>171.82716220047047</c:v>
                </c:pt>
                <c:pt idx="3861">
                  <c:v>171.82716220047047</c:v>
                </c:pt>
                <c:pt idx="3862">
                  <c:v>171.75340044570797</c:v>
                </c:pt>
                <c:pt idx="3863">
                  <c:v>172.25956067581743</c:v>
                </c:pt>
                <c:pt idx="3864">
                  <c:v>171.99588218613516</c:v>
                </c:pt>
                <c:pt idx="3865">
                  <c:v>172.46298833192418</c:v>
                </c:pt>
                <c:pt idx="3866">
                  <c:v>172.38768767364843</c:v>
                </c:pt>
                <c:pt idx="3867">
                  <c:v>172.38768767364843</c:v>
                </c:pt>
                <c:pt idx="3868">
                  <c:v>172.38768767364843</c:v>
                </c:pt>
                <c:pt idx="3869">
                  <c:v>173.40078695750125</c:v>
                </c:pt>
                <c:pt idx="3870">
                  <c:v>173.23898719686073</c:v>
                </c:pt>
                <c:pt idx="3871">
                  <c:v>173.20506964658469</c:v>
                </c:pt>
                <c:pt idx="3872">
                  <c:v>174.01562340744604</c:v>
                </c:pt>
                <c:pt idx="3873">
                  <c:v>173.88701558776933</c:v>
                </c:pt>
                <c:pt idx="3874">
                  <c:v>173.88701558776933</c:v>
                </c:pt>
                <c:pt idx="3875">
                  <c:v>173.88701558776933</c:v>
                </c:pt>
                <c:pt idx="3876">
                  <c:v>173.89101769433719</c:v>
                </c:pt>
                <c:pt idx="3877">
                  <c:v>173.76049501849718</c:v>
                </c:pt>
                <c:pt idx="3878">
                  <c:v>174.19161735700183</c:v>
                </c:pt>
                <c:pt idx="3879">
                  <c:v>173.3248085843417</c:v>
                </c:pt>
                <c:pt idx="3880">
                  <c:v>173.87722606870739</c:v>
                </c:pt>
                <c:pt idx="3881">
                  <c:v>173.87722606870739</c:v>
                </c:pt>
                <c:pt idx="3882">
                  <c:v>173.87722606870739</c:v>
                </c:pt>
                <c:pt idx="3883">
                  <c:v>174.73344637839537</c:v>
                </c:pt>
                <c:pt idx="3884">
                  <c:v>174.24518927886217</c:v>
                </c:pt>
                <c:pt idx="3885">
                  <c:v>174.81082210912425</c:v>
                </c:pt>
                <c:pt idx="3886">
                  <c:v>174.72395278925194</c:v>
                </c:pt>
                <c:pt idx="3887">
                  <c:v>174.49157509512634</c:v>
                </c:pt>
                <c:pt idx="3888">
                  <c:v>174.49157509512634</c:v>
                </c:pt>
                <c:pt idx="3889">
                  <c:v>174.49157509512634</c:v>
                </c:pt>
                <c:pt idx="3890">
                  <c:v>173.84800842542955</c:v>
                </c:pt>
                <c:pt idx="3891">
                  <c:v>173.18907744969619</c:v>
                </c:pt>
                <c:pt idx="3892">
                  <c:v>172.86723131067006</c:v>
                </c:pt>
                <c:pt idx="3893">
                  <c:v>173.29556272599785</c:v>
                </c:pt>
                <c:pt idx="3894">
                  <c:v>173.55096163872955</c:v>
                </c:pt>
                <c:pt idx="3895">
                  <c:v>173.55096163872955</c:v>
                </c:pt>
                <c:pt idx="3896">
                  <c:v>173.55096163872955</c:v>
                </c:pt>
                <c:pt idx="3897">
                  <c:v>173.48913125779171</c:v>
                </c:pt>
                <c:pt idx="3898">
                  <c:v>174.12856172425282</c:v>
                </c:pt>
                <c:pt idx="3899">
                  <c:v>174.08567077896259</c:v>
                </c:pt>
                <c:pt idx="3900">
                  <c:v>174.42922126417255</c:v>
                </c:pt>
                <c:pt idx="3901">
                  <c:v>174.0861351137072</c:v>
                </c:pt>
                <c:pt idx="3902">
                  <c:v>174.0861351137072</c:v>
                </c:pt>
                <c:pt idx="3903">
                  <c:v>174.0861351137072</c:v>
                </c:pt>
                <c:pt idx="3904">
                  <c:v>174.76570054414066</c:v>
                </c:pt>
                <c:pt idx="3905">
                  <c:v>175.16120411549662</c:v>
                </c:pt>
                <c:pt idx="3906">
                  <c:v>174.99582714925009</c:v>
                </c:pt>
                <c:pt idx="3907">
                  <c:v>174.81144916921082</c:v>
                </c:pt>
                <c:pt idx="3908">
                  <c:v>174.74739079511141</c:v>
                </c:pt>
                <c:pt idx="3909">
                  <c:v>174.74739079511141</c:v>
                </c:pt>
                <c:pt idx="3910">
                  <c:v>174.74739079511141</c:v>
                </c:pt>
                <c:pt idx="3911">
                  <c:v>174.62055079844288</c:v>
                </c:pt>
                <c:pt idx="3912">
                  <c:v>174.63835270352342</c:v>
                </c:pt>
                <c:pt idx="3913">
                  <c:v>173.93274432389072</c:v>
                </c:pt>
                <c:pt idx="3914">
                  <c:v>173.44098467648897</c:v>
                </c:pt>
                <c:pt idx="3915">
                  <c:v>173.18223027515543</c:v>
                </c:pt>
                <c:pt idx="3916">
                  <c:v>173.18223027515543</c:v>
                </c:pt>
                <c:pt idx="3917">
                  <c:v>173.18223027515543</c:v>
                </c:pt>
                <c:pt idx="3918">
                  <c:v>173.33966319996512</c:v>
                </c:pt>
                <c:pt idx="3919">
                  <c:v>173.56688521927981</c:v>
                </c:pt>
                <c:pt idx="3920">
                  <c:v>173.65333471602219</c:v>
                </c:pt>
                <c:pt idx="3921">
                  <c:v>173.45440563824218</c:v>
                </c:pt>
                <c:pt idx="3922">
                  <c:v>173.58139307459805</c:v>
                </c:pt>
                <c:pt idx="3923">
                  <c:v>173.58139307459805</c:v>
                </c:pt>
                <c:pt idx="3924">
                  <c:v>173.58139307459805</c:v>
                </c:pt>
                <c:pt idx="3925">
                  <c:v>174.17868634116937</c:v>
                </c:pt>
                <c:pt idx="3926">
                  <c:v>174.29709550949266</c:v>
                </c:pt>
                <c:pt idx="3927">
                  <c:v>174.85979032776302</c:v>
                </c:pt>
                <c:pt idx="3928">
                  <c:v>175.28396732871866</c:v>
                </c:pt>
                <c:pt idx="3929">
                  <c:v>175.32798688643311</c:v>
                </c:pt>
                <c:pt idx="3930">
                  <c:v>175.32798688643311</c:v>
                </c:pt>
                <c:pt idx="3931">
                  <c:v>175.32798688643311</c:v>
                </c:pt>
                <c:pt idx="3932">
                  <c:v>175.27972560569651</c:v>
                </c:pt>
                <c:pt idx="3933">
                  <c:v>176.18248910954162</c:v>
                </c:pt>
                <c:pt idx="3934">
                  <c:v>176.48502574455111</c:v>
                </c:pt>
                <c:pt idx="3935">
                  <c:v>175.99437249141377</c:v>
                </c:pt>
                <c:pt idx="3936">
                  <c:v>175.73065752091583</c:v>
                </c:pt>
                <c:pt idx="3937">
                  <c:v>175.73065752091583</c:v>
                </c:pt>
                <c:pt idx="3938">
                  <c:v>175.73065752091583</c:v>
                </c:pt>
                <c:pt idx="3939">
                  <c:v>176.04910678718039</c:v>
                </c:pt>
                <c:pt idx="3940">
                  <c:v>176.35368282479141</c:v>
                </c:pt>
                <c:pt idx="3941">
                  <c:v>176.60255017701047</c:v>
                </c:pt>
                <c:pt idx="3942">
                  <c:v>176.3116194686686</c:v>
                </c:pt>
                <c:pt idx="3943">
                  <c:v>176.92691715405437</c:v>
                </c:pt>
                <c:pt idx="3944">
                  <c:v>176.92691715405437</c:v>
                </c:pt>
                <c:pt idx="3945">
                  <c:v>176.92691715405437</c:v>
                </c:pt>
                <c:pt idx="3946">
                  <c:v>177.80252965163982</c:v>
                </c:pt>
                <c:pt idx="3947">
                  <c:v>176.96985598858217</c:v>
                </c:pt>
                <c:pt idx="3948">
                  <c:v>176.71002461727966</c:v>
                </c:pt>
                <c:pt idx="3949">
                  <c:v>176.27566665141521</c:v>
                </c:pt>
                <c:pt idx="3950">
                  <c:v>175.75021045275588</c:v>
                </c:pt>
                <c:pt idx="3951">
                  <c:v>175.75021045275588</c:v>
                </c:pt>
                <c:pt idx="3952">
                  <c:v>175.75021045275588</c:v>
                </c:pt>
                <c:pt idx="3953">
                  <c:v>175.43582281849805</c:v>
                </c:pt>
                <c:pt idx="3954">
                  <c:v>175.67117290579321</c:v>
                </c:pt>
                <c:pt idx="3955">
                  <c:v>175.98932723373304</c:v>
                </c:pt>
                <c:pt idx="3956">
                  <c:v>176.03915136278619</c:v>
                </c:pt>
                <c:pt idx="3957">
                  <c:v>176.04253182714714</c:v>
                </c:pt>
                <c:pt idx="3958">
                  <c:v>176.04253182714714</c:v>
                </c:pt>
                <c:pt idx="3959">
                  <c:v>176.04253182714714</c:v>
                </c:pt>
                <c:pt idx="3960">
                  <c:v>176.0647193642844</c:v>
                </c:pt>
                <c:pt idx="3961">
                  <c:v>175.87348308604098</c:v>
                </c:pt>
                <c:pt idx="3962">
                  <c:v>176.67403337645175</c:v>
                </c:pt>
                <c:pt idx="3963">
                  <c:v>176.75993968389417</c:v>
                </c:pt>
                <c:pt idx="3964">
                  <c:v>175.81026366193643</c:v>
                </c:pt>
                <c:pt idx="3965">
                  <c:v>175.81026366193643</c:v>
                </c:pt>
                <c:pt idx="3966">
                  <c:v>175.81026366193643</c:v>
                </c:pt>
                <c:pt idx="3967">
                  <c:v>176.06762342895391</c:v>
                </c:pt>
                <c:pt idx="3968">
                  <c:v>176.03379221090648</c:v>
                </c:pt>
                <c:pt idx="3969">
                  <c:v>175.57730377523453</c:v>
                </c:pt>
                <c:pt idx="3970">
                  <c:v>175.24971104248965</c:v>
                </c:pt>
                <c:pt idx="3971">
                  <c:v>175.05656941071379</c:v>
                </c:pt>
                <c:pt idx="3972">
                  <c:v>175.05656941071379</c:v>
                </c:pt>
                <c:pt idx="3973">
                  <c:v>175.05656941071379</c:v>
                </c:pt>
                <c:pt idx="3974">
                  <c:v>174.84290249241326</c:v>
                </c:pt>
                <c:pt idx="3975">
                  <c:v>174.98927951327033</c:v>
                </c:pt>
                <c:pt idx="3976">
                  <c:v>174.29838327528577</c:v>
                </c:pt>
                <c:pt idx="3977">
                  <c:v>174.15913552017935</c:v>
                </c:pt>
                <c:pt idx="3978">
                  <c:v>174.28386410162096</c:v>
                </c:pt>
                <c:pt idx="3979">
                  <c:v>174.28386410162096</c:v>
                </c:pt>
                <c:pt idx="3980">
                  <c:v>174.28386410162096</c:v>
                </c:pt>
                <c:pt idx="3981">
                  <c:v>174.51135282858431</c:v>
                </c:pt>
                <c:pt idx="3982">
                  <c:v>175.2589173582997</c:v>
                </c:pt>
                <c:pt idx="3983">
                  <c:v>175.92075296304901</c:v>
                </c:pt>
                <c:pt idx="3984">
                  <c:v>176.31721894015121</c:v>
                </c:pt>
                <c:pt idx="3985">
                  <c:v>176.51917018949268</c:v>
                </c:pt>
                <c:pt idx="3986">
                  <c:v>176.51917018949268</c:v>
                </c:pt>
                <c:pt idx="3987">
                  <c:v>176.51917018949268</c:v>
                </c:pt>
                <c:pt idx="3988">
                  <c:v>176.64721736812484</c:v>
                </c:pt>
                <c:pt idx="3989">
                  <c:v>176.66203924011211</c:v>
                </c:pt>
                <c:pt idx="3990">
                  <c:v>176.89614812610742</c:v>
                </c:pt>
                <c:pt idx="3991">
                  <c:v>177.22277596019447</c:v>
                </c:pt>
                <c:pt idx="3992">
                  <c:v>176.76625146484554</c:v>
                </c:pt>
                <c:pt idx="3993">
                  <c:v>176.76625146484554</c:v>
                </c:pt>
                <c:pt idx="3994">
                  <c:v>176.76625146484554</c:v>
                </c:pt>
                <c:pt idx="3995">
                  <c:v>177.52893223823716</c:v>
                </c:pt>
                <c:pt idx="3996">
                  <c:v>178.90590653532837</c:v>
                </c:pt>
                <c:pt idx="3997">
                  <c:v>179.21734968854042</c:v>
                </c:pt>
                <c:pt idx="3998">
                  <c:v>178.95079485932533</c:v>
                </c:pt>
                <c:pt idx="3999">
                  <c:v>178.76179569660772</c:v>
                </c:pt>
                <c:pt idx="4000">
                  <c:v>178.76179569660772</c:v>
                </c:pt>
                <c:pt idx="4001">
                  <c:v>178.76179569660772</c:v>
                </c:pt>
                <c:pt idx="4002">
                  <c:v>177.98103774754853</c:v>
                </c:pt>
                <c:pt idx="4003">
                  <c:v>178.6554888954324</c:v>
                </c:pt>
                <c:pt idx="4004">
                  <c:v>178.60926017927952</c:v>
                </c:pt>
                <c:pt idx="4005">
                  <c:v>178.56605833412257</c:v>
                </c:pt>
                <c:pt idx="4006">
                  <c:v>178.69237605578169</c:v>
                </c:pt>
                <c:pt idx="4007">
                  <c:v>178.69237605578169</c:v>
                </c:pt>
                <c:pt idx="4008">
                  <c:v>178.69237605578169</c:v>
                </c:pt>
                <c:pt idx="4009">
                  <c:v>178.85038154483655</c:v>
                </c:pt>
                <c:pt idx="4010">
                  <c:v>178.78558702310488</c:v>
                </c:pt>
                <c:pt idx="4011">
                  <c:v>178.78558702310488</c:v>
                </c:pt>
                <c:pt idx="4012">
                  <c:v>178.78558702310488</c:v>
                </c:pt>
                <c:pt idx="4013">
                  <c:v>178.21272340341335</c:v>
                </c:pt>
                <c:pt idx="4014">
                  <c:v>178.21272340341335</c:v>
                </c:pt>
                <c:pt idx="4015">
                  <c:v>178.21272340341335</c:v>
                </c:pt>
                <c:pt idx="4016">
                  <c:v>178.9324342920049</c:v>
                </c:pt>
                <c:pt idx="4017">
                  <c:v>178.7962770264061</c:v>
                </c:pt>
                <c:pt idx="4018">
                  <c:v>178.7962770264061</c:v>
                </c:pt>
                <c:pt idx="4019">
                  <c:v>179.86594042554376</c:v>
                </c:pt>
                <c:pt idx="4020">
                  <c:v>180.74954053214427</c:v>
                </c:pt>
                <c:pt idx="4021">
                  <c:v>180.74954053214427</c:v>
                </c:pt>
                <c:pt idx="4022">
                  <c:v>180.74954053214427</c:v>
                </c:pt>
                <c:pt idx="4023">
                  <c:v>180.87964163999564</c:v>
                </c:pt>
                <c:pt idx="4024">
                  <c:v>180.38047434144607</c:v>
                </c:pt>
                <c:pt idx="4025">
                  <c:v>180.67171316958203</c:v>
                </c:pt>
                <c:pt idx="4026">
                  <c:v>181.64495408860623</c:v>
                </c:pt>
                <c:pt idx="4027">
                  <c:v>182.23439969247849</c:v>
                </c:pt>
                <c:pt idx="4028">
                  <c:v>182.23439969247849</c:v>
                </c:pt>
                <c:pt idx="4029">
                  <c:v>182.23439969247849</c:v>
                </c:pt>
                <c:pt idx="4030">
                  <c:v>182.38786610279223</c:v>
                </c:pt>
                <c:pt idx="4031">
                  <c:v>181.95062537595001</c:v>
                </c:pt>
                <c:pt idx="4032">
                  <c:v>181.47374893386424</c:v>
                </c:pt>
                <c:pt idx="4033">
                  <c:v>181.01224958277305</c:v>
                </c:pt>
                <c:pt idx="4034">
                  <c:v>180.83546987791394</c:v>
                </c:pt>
                <c:pt idx="4035">
                  <c:v>180.83546987791394</c:v>
                </c:pt>
                <c:pt idx="4036">
                  <c:v>180.83546987791394</c:v>
                </c:pt>
                <c:pt idx="4037">
                  <c:v>180.65863674539551</c:v>
                </c:pt>
                <c:pt idx="4038">
                  <c:v>180.23569549973251</c:v>
                </c:pt>
                <c:pt idx="4039">
                  <c:v>179.95641358621529</c:v>
                </c:pt>
                <c:pt idx="4040">
                  <c:v>180.12900954380049</c:v>
                </c:pt>
                <c:pt idx="4041">
                  <c:v>180.41695998387004</c:v>
                </c:pt>
                <c:pt idx="4042">
                  <c:v>180.41695998387004</c:v>
                </c:pt>
                <c:pt idx="4043">
                  <c:v>180.41695998387004</c:v>
                </c:pt>
                <c:pt idx="4044">
                  <c:v>180.03023444394171</c:v>
                </c:pt>
                <c:pt idx="4045">
                  <c:v>181.39854451715451</c:v>
                </c:pt>
                <c:pt idx="4046">
                  <c:v>182.10613090933711</c:v>
                </c:pt>
                <c:pt idx="4047">
                  <c:v>181.97010636184794</c:v>
                </c:pt>
                <c:pt idx="4048">
                  <c:v>181.78812884212456</c:v>
                </c:pt>
                <c:pt idx="4049">
                  <c:v>181.78812884212456</c:v>
                </c:pt>
                <c:pt idx="4050">
                  <c:v>181.78812884212456</c:v>
                </c:pt>
                <c:pt idx="4051">
                  <c:v>181.88179471795931</c:v>
                </c:pt>
                <c:pt idx="4052">
                  <c:v>182.82552677483284</c:v>
                </c:pt>
                <c:pt idx="4053">
                  <c:v>182.78225693629003</c:v>
                </c:pt>
                <c:pt idx="4054">
                  <c:v>183.30882215348316</c:v>
                </c:pt>
                <c:pt idx="4055">
                  <c:v>182.73461738959753</c:v>
                </c:pt>
                <c:pt idx="4056">
                  <c:v>182.73461738959753</c:v>
                </c:pt>
                <c:pt idx="4057">
                  <c:v>182.73461738959753</c:v>
                </c:pt>
                <c:pt idx="4058">
                  <c:v>182.96772626117382</c:v>
                </c:pt>
                <c:pt idx="4059">
                  <c:v>182.79334083975041</c:v>
                </c:pt>
                <c:pt idx="4060">
                  <c:v>183.13249385354828</c:v>
                </c:pt>
                <c:pt idx="4061">
                  <c:v>182.82421388338284</c:v>
                </c:pt>
                <c:pt idx="4062">
                  <c:v>183.35227993160677</c:v>
                </c:pt>
                <c:pt idx="4063">
                  <c:v>183.35227993160677</c:v>
                </c:pt>
                <c:pt idx="4064">
                  <c:v>183.35227993160677</c:v>
                </c:pt>
                <c:pt idx="4065">
                  <c:v>183.90135696321983</c:v>
                </c:pt>
                <c:pt idx="4066">
                  <c:v>183.46590619003592</c:v>
                </c:pt>
                <c:pt idx="4067">
                  <c:v>183.52111653207754</c:v>
                </c:pt>
                <c:pt idx="4068">
                  <c:v>183.11148426174134</c:v>
                </c:pt>
                <c:pt idx="4069">
                  <c:v>183.57433598860206</c:v>
                </c:pt>
                <c:pt idx="4070">
                  <c:v>183.57433598860206</c:v>
                </c:pt>
                <c:pt idx="4071">
                  <c:v>183.57433598860206</c:v>
                </c:pt>
                <c:pt idx="4072">
                  <c:v>183.55166335981289</c:v>
                </c:pt>
                <c:pt idx="4073">
                  <c:v>184.32448619901484</c:v>
                </c:pt>
                <c:pt idx="4074">
                  <c:v>184.64482198536101</c:v>
                </c:pt>
                <c:pt idx="4075">
                  <c:v>185.13323237630181</c:v>
                </c:pt>
                <c:pt idx="4076">
                  <c:v>186.55851565206336</c:v>
                </c:pt>
                <c:pt idx="4077">
                  <c:v>186.55851565206336</c:v>
                </c:pt>
                <c:pt idx="4078">
                  <c:v>186.55851565206336</c:v>
                </c:pt>
                <c:pt idx="4079">
                  <c:v>186.57119450428991</c:v>
                </c:pt>
                <c:pt idx="4080">
                  <c:v>186.47840558779217</c:v>
                </c:pt>
                <c:pt idx="4081">
                  <c:v>186.99582454231404</c:v>
                </c:pt>
                <c:pt idx="4082">
                  <c:v>187.26657263223859</c:v>
                </c:pt>
                <c:pt idx="4083">
                  <c:v>188.22492240051858</c:v>
                </c:pt>
                <c:pt idx="4084">
                  <c:v>188.22492240051858</c:v>
                </c:pt>
                <c:pt idx="4085">
                  <c:v>188.22492240051858</c:v>
                </c:pt>
                <c:pt idx="4086">
                  <c:v>187.80822334373116</c:v>
                </c:pt>
                <c:pt idx="4087">
                  <c:v>188.18343593518321</c:v>
                </c:pt>
                <c:pt idx="4088">
                  <c:v>187.66792375180503</c:v>
                </c:pt>
                <c:pt idx="4089">
                  <c:v>188.50959818151256</c:v>
                </c:pt>
                <c:pt idx="4090">
                  <c:v>188.12440584874022</c:v>
                </c:pt>
                <c:pt idx="4091">
                  <c:v>188.12440584874025</c:v>
                </c:pt>
                <c:pt idx="4092">
                  <c:v>188.12440584874025</c:v>
                </c:pt>
                <c:pt idx="4093">
                  <c:v>188.91514459712096</c:v>
                </c:pt>
                <c:pt idx="4094">
                  <c:v>188.48715467985497</c:v>
                </c:pt>
                <c:pt idx="4095">
                  <c:v>188.90146526823511</c:v>
                </c:pt>
                <c:pt idx="4096">
                  <c:v>187.64798292014524</c:v>
                </c:pt>
                <c:pt idx="4097">
                  <c:v>186.30449795409248</c:v>
                </c:pt>
                <c:pt idx="4098">
                  <c:v>186.30449795409248</c:v>
                </c:pt>
                <c:pt idx="4099">
                  <c:v>186.30449795409248</c:v>
                </c:pt>
                <c:pt idx="4100">
                  <c:v>185.68928260863026</c:v>
                </c:pt>
                <c:pt idx="4101">
                  <c:v>185.29975191615171</c:v>
                </c:pt>
                <c:pt idx="4102">
                  <c:v>185.97722141208735</c:v>
                </c:pt>
                <c:pt idx="4103">
                  <c:v>185.58975488621275</c:v>
                </c:pt>
                <c:pt idx="4104">
                  <c:v>184.80696345184745</c:v>
                </c:pt>
                <c:pt idx="4105">
                  <c:v>184.80696345184745</c:v>
                </c:pt>
                <c:pt idx="4106">
                  <c:v>184.80696345184745</c:v>
                </c:pt>
                <c:pt idx="4107">
                  <c:v>185.80547562315684</c:v>
                </c:pt>
                <c:pt idx="4108">
                  <c:v>186.56737028158685</c:v>
                </c:pt>
                <c:pt idx="4109">
                  <c:v>186.55139220830407</c:v>
                </c:pt>
                <c:pt idx="4110">
                  <c:v>186.22397633612024</c:v>
                </c:pt>
                <c:pt idx="4111">
                  <c:v>186.36293175362087</c:v>
                </c:pt>
                <c:pt idx="4112">
                  <c:v>186.36293175362087</c:v>
                </c:pt>
                <c:pt idx="4113">
                  <c:v>186.36293175362087</c:v>
                </c:pt>
                <c:pt idx="4114">
                  <c:v>186.6751095129932</c:v>
                </c:pt>
                <c:pt idx="4115">
                  <c:v>184.20725106574335</c:v>
                </c:pt>
                <c:pt idx="4116">
                  <c:v>185.00521211756666</c:v>
                </c:pt>
                <c:pt idx="4117">
                  <c:v>184.73117691991698</c:v>
                </c:pt>
                <c:pt idx="4118">
                  <c:v>183.75668956472791</c:v>
                </c:pt>
                <c:pt idx="4119">
                  <c:v>183.75668956472791</c:v>
                </c:pt>
                <c:pt idx="4120">
                  <c:v>183.75668956472791</c:v>
                </c:pt>
                <c:pt idx="4121">
                  <c:v>181.11064813556752</c:v>
                </c:pt>
                <c:pt idx="4122">
                  <c:v>180.80723664409248</c:v>
                </c:pt>
                <c:pt idx="4123">
                  <c:v>181.69674413720324</c:v>
                </c:pt>
                <c:pt idx="4124">
                  <c:v>182.15109700964354</c:v>
                </c:pt>
                <c:pt idx="4125">
                  <c:v>182.15109700964354</c:v>
                </c:pt>
                <c:pt idx="4126">
                  <c:v>182.15109700964354</c:v>
                </c:pt>
                <c:pt idx="4127">
                  <c:v>182.15109700964354</c:v>
                </c:pt>
                <c:pt idx="4128">
                  <c:v>182.15109700964354</c:v>
                </c:pt>
                <c:pt idx="4129">
                  <c:v>182.91161083517295</c:v>
                </c:pt>
                <c:pt idx="4130">
                  <c:v>182.55777164758427</c:v>
                </c:pt>
                <c:pt idx="4131">
                  <c:v>182.21927107097142</c:v>
                </c:pt>
                <c:pt idx="4132">
                  <c:v>182.000957815481</c:v>
                </c:pt>
                <c:pt idx="4133">
                  <c:v>182.000957815481</c:v>
                </c:pt>
                <c:pt idx="4134">
                  <c:v>182.000957815481</c:v>
                </c:pt>
                <c:pt idx="4135">
                  <c:v>180.98353327635073</c:v>
                </c:pt>
                <c:pt idx="4136">
                  <c:v>180.86724559219212</c:v>
                </c:pt>
                <c:pt idx="4137">
                  <c:v>180.63706937296752</c:v>
                </c:pt>
                <c:pt idx="4138">
                  <c:v>180.57319391137764</c:v>
                </c:pt>
                <c:pt idx="4139">
                  <c:v>182.04489213718912</c:v>
                </c:pt>
                <c:pt idx="4140">
                  <c:v>182.04489213718912</c:v>
                </c:pt>
                <c:pt idx="4141">
                  <c:v>182.04489213718912</c:v>
                </c:pt>
                <c:pt idx="4142">
                  <c:v>181.82698018482918</c:v>
                </c:pt>
                <c:pt idx="4143">
                  <c:v>182.07944903226735</c:v>
                </c:pt>
                <c:pt idx="4144">
                  <c:v>180.94969921076179</c:v>
                </c:pt>
                <c:pt idx="4145">
                  <c:v>180.57199233466477</c:v>
                </c:pt>
                <c:pt idx="4146">
                  <c:v>180.22257243895146</c:v>
                </c:pt>
                <c:pt idx="4147">
                  <c:v>180.22257243895146</c:v>
                </c:pt>
                <c:pt idx="4148">
                  <c:v>180.22257243895146</c:v>
                </c:pt>
                <c:pt idx="4149">
                  <c:v>180.75791726566911</c:v>
                </c:pt>
                <c:pt idx="4150">
                  <c:v>180.05869854556516</c:v>
                </c:pt>
                <c:pt idx="4151">
                  <c:v>178.53672351577907</c:v>
                </c:pt>
                <c:pt idx="4152">
                  <c:v>176.13935293944462</c:v>
                </c:pt>
                <c:pt idx="4153">
                  <c:v>173.94501640544303</c:v>
                </c:pt>
                <c:pt idx="4154">
                  <c:v>173.94501640544303</c:v>
                </c:pt>
                <c:pt idx="4155">
                  <c:v>173.94501640544303</c:v>
                </c:pt>
                <c:pt idx="4156">
                  <c:v>174.80999073637091</c:v>
                </c:pt>
                <c:pt idx="4157">
                  <c:v>175.67040310850754</c:v>
                </c:pt>
                <c:pt idx="4158">
                  <c:v>176.12600916207523</c:v>
                </c:pt>
                <c:pt idx="4159">
                  <c:v>176.74401144698271</c:v>
                </c:pt>
                <c:pt idx="4160">
                  <c:v>177.14246145840957</c:v>
                </c:pt>
                <c:pt idx="4161">
                  <c:v>177.14246145840957</c:v>
                </c:pt>
                <c:pt idx="4162">
                  <c:v>177.14246145840957</c:v>
                </c:pt>
                <c:pt idx="4163">
                  <c:v>177.4320969715545</c:v>
                </c:pt>
                <c:pt idx="4164">
                  <c:v>178.16760980921211</c:v>
                </c:pt>
                <c:pt idx="4165">
                  <c:v>178.79851408866088</c:v>
                </c:pt>
                <c:pt idx="4166">
                  <c:v>178.65079582478268</c:v>
                </c:pt>
                <c:pt idx="4167">
                  <c:v>179.61109926079436</c:v>
                </c:pt>
                <c:pt idx="4168">
                  <c:v>179.61109926079436</c:v>
                </c:pt>
                <c:pt idx="4169">
                  <c:v>179.61109926079436</c:v>
                </c:pt>
                <c:pt idx="4170">
                  <c:v>180.4643334668859</c:v>
                </c:pt>
                <c:pt idx="4171">
                  <c:v>179.74816163852938</c:v>
                </c:pt>
                <c:pt idx="4172">
                  <c:v>180.30198696196473</c:v>
                </c:pt>
                <c:pt idx="4173">
                  <c:v>180.37553238125045</c:v>
                </c:pt>
                <c:pt idx="4174">
                  <c:v>181.73401739271361</c:v>
                </c:pt>
                <c:pt idx="4175">
                  <c:v>181.73401739271361</c:v>
                </c:pt>
                <c:pt idx="4176">
                  <c:v>181.73401739271361</c:v>
                </c:pt>
                <c:pt idx="4177">
                  <c:v>181.77138576090587</c:v>
                </c:pt>
                <c:pt idx="4178">
                  <c:v>181.72602397443103</c:v>
                </c:pt>
                <c:pt idx="4179">
                  <c:v>180.2672942248013</c:v>
                </c:pt>
                <c:pt idx="4180">
                  <c:v>180.69185025109959</c:v>
                </c:pt>
                <c:pt idx="4181">
                  <c:v>179.27523305674072</c:v>
                </c:pt>
                <c:pt idx="4182">
                  <c:v>179.27523305674072</c:v>
                </c:pt>
                <c:pt idx="4183">
                  <c:v>179.27523305674072</c:v>
                </c:pt>
                <c:pt idx="4184">
                  <c:v>179.34591078159042</c:v>
                </c:pt>
                <c:pt idx="4185">
                  <c:v>179.15143635012186</c:v>
                </c:pt>
                <c:pt idx="4186">
                  <c:v>179.43240747367508</c:v>
                </c:pt>
                <c:pt idx="4187">
                  <c:v>178.59048257251848</c:v>
                </c:pt>
                <c:pt idx="4188">
                  <c:v>178.412017666754</c:v>
                </c:pt>
                <c:pt idx="4189">
                  <c:v>178.412017666754</c:v>
                </c:pt>
                <c:pt idx="4190">
                  <c:v>178.412017666754</c:v>
                </c:pt>
                <c:pt idx="4191">
                  <c:v>178.5198522324248</c:v>
                </c:pt>
                <c:pt idx="4192">
                  <c:v>176.80521749482213</c:v>
                </c:pt>
                <c:pt idx="4193">
                  <c:v>176.7335991912303</c:v>
                </c:pt>
                <c:pt idx="4194">
                  <c:v>178.15793557500987</c:v>
                </c:pt>
                <c:pt idx="4195">
                  <c:v>177.77643486286152</c:v>
                </c:pt>
                <c:pt idx="4196">
                  <c:v>177.77643486286152</c:v>
                </c:pt>
                <c:pt idx="4197">
                  <c:v>177.77643486286152</c:v>
                </c:pt>
                <c:pt idx="4198">
                  <c:v>178.08663235921176</c:v>
                </c:pt>
                <c:pt idx="4199">
                  <c:v>178.54071523788505</c:v>
                </c:pt>
                <c:pt idx="4200">
                  <c:v>179.20895573873378</c:v>
                </c:pt>
                <c:pt idx="4201">
                  <c:v>179.0755061632311</c:v>
                </c:pt>
                <c:pt idx="4202">
                  <c:v>178.90720065662774</c:v>
                </c:pt>
                <c:pt idx="4203">
                  <c:v>178.90720065662774</c:v>
                </c:pt>
                <c:pt idx="4204">
                  <c:v>178.90720065662774</c:v>
                </c:pt>
                <c:pt idx="4205">
                  <c:v>178.7440349397346</c:v>
                </c:pt>
                <c:pt idx="4206">
                  <c:v>177.54291550210013</c:v>
                </c:pt>
                <c:pt idx="4207">
                  <c:v>176.68101074800711</c:v>
                </c:pt>
                <c:pt idx="4208">
                  <c:v>176.16067217445243</c:v>
                </c:pt>
                <c:pt idx="4209">
                  <c:v>176.22238271443629</c:v>
                </c:pt>
                <c:pt idx="4210">
                  <c:v>176.22238271443629</c:v>
                </c:pt>
                <c:pt idx="4211">
                  <c:v>176.22238271443629</c:v>
                </c:pt>
                <c:pt idx="4212">
                  <c:v>176.15932449642449</c:v>
                </c:pt>
                <c:pt idx="4213">
                  <c:v>175.83976943150194</c:v>
                </c:pt>
                <c:pt idx="4214">
                  <c:v>176.19553068914155</c:v>
                </c:pt>
                <c:pt idx="4215">
                  <c:v>176.85023328071014</c:v>
                </c:pt>
                <c:pt idx="4216">
                  <c:v>175.82244595729506</c:v>
                </c:pt>
                <c:pt idx="4217">
                  <c:v>175.82244595729506</c:v>
                </c:pt>
                <c:pt idx="4218">
                  <c:v>175.82244595729506</c:v>
                </c:pt>
                <c:pt idx="4219">
                  <c:v>175.71955464282865</c:v>
                </c:pt>
                <c:pt idx="4220">
                  <c:v>175.43275244075338</c:v>
                </c:pt>
                <c:pt idx="4221">
                  <c:v>176.01818399640143</c:v>
                </c:pt>
                <c:pt idx="4222">
                  <c:v>176.17377152675806</c:v>
                </c:pt>
                <c:pt idx="4223">
                  <c:v>176.80560680056655</c:v>
                </c:pt>
                <c:pt idx="4224">
                  <c:v>176.80560680056655</c:v>
                </c:pt>
                <c:pt idx="4225">
                  <c:v>176.80560680056655</c:v>
                </c:pt>
                <c:pt idx="4226">
                  <c:v>175.84905402203316</c:v>
                </c:pt>
                <c:pt idx="4227">
                  <c:v>176.03767241738015</c:v>
                </c:pt>
                <c:pt idx="4228">
                  <c:v>176.31336047888783</c:v>
                </c:pt>
                <c:pt idx="4229">
                  <c:v>175.65952915943973</c:v>
                </c:pt>
                <c:pt idx="4230">
                  <c:v>175.39618074233442</c:v>
                </c:pt>
                <c:pt idx="4231">
                  <c:v>175.39618074233442</c:v>
                </c:pt>
                <c:pt idx="4232">
                  <c:v>175.39618074233442</c:v>
                </c:pt>
                <c:pt idx="4233">
                  <c:v>175.25832947152583</c:v>
                </c:pt>
                <c:pt idx="4234">
                  <c:v>174.35261121025451</c:v>
                </c:pt>
                <c:pt idx="4235">
                  <c:v>173.0018076135168</c:v>
                </c:pt>
                <c:pt idx="4236">
                  <c:v>173.27319738314353</c:v>
                </c:pt>
                <c:pt idx="4237">
                  <c:v>172.68930277806808</c:v>
                </c:pt>
                <c:pt idx="4238">
                  <c:v>172.68930277806808</c:v>
                </c:pt>
                <c:pt idx="4239">
                  <c:v>172.68930277806808</c:v>
                </c:pt>
                <c:pt idx="4240">
                  <c:v>173.80634925678055</c:v>
                </c:pt>
                <c:pt idx="4241">
                  <c:v>174.58513477628787</c:v>
                </c:pt>
                <c:pt idx="4242">
                  <c:v>173.9877933694508</c:v>
                </c:pt>
                <c:pt idx="4243">
                  <c:v>174.41902327324473</c:v>
                </c:pt>
                <c:pt idx="4244">
                  <c:v>174.99358545479146</c:v>
                </c:pt>
                <c:pt idx="4245">
                  <c:v>174.99358545479146</c:v>
                </c:pt>
                <c:pt idx="4246">
                  <c:v>174.99358545479146</c:v>
                </c:pt>
                <c:pt idx="4247">
                  <c:v>174.66243654822318</c:v>
                </c:pt>
                <c:pt idx="4248">
                  <c:v>174.91074503809105</c:v>
                </c:pt>
                <c:pt idx="4249">
                  <c:v>174.54316196219713</c:v>
                </c:pt>
                <c:pt idx="4250">
                  <c:v>174.47721648980374</c:v>
                </c:pt>
                <c:pt idx="4251">
                  <c:v>175.37559663383396</c:v>
                </c:pt>
                <c:pt idx="4252">
                  <c:v>175.37559663383396</c:v>
                </c:pt>
                <c:pt idx="4253">
                  <c:v>175.37559663383396</c:v>
                </c:pt>
                <c:pt idx="4254">
                  <c:v>174.75036754466103</c:v>
                </c:pt>
                <c:pt idx="4255">
                  <c:v>174.86938501302603</c:v>
                </c:pt>
                <c:pt idx="4256">
                  <c:v>175.55737647812859</c:v>
                </c:pt>
                <c:pt idx="4257">
                  <c:v>174.85058337160598</c:v>
                </c:pt>
                <c:pt idx="4258">
                  <c:v>174.29839165632714</c:v>
                </c:pt>
                <c:pt idx="4259">
                  <c:v>174.29839165632714</c:v>
                </c:pt>
                <c:pt idx="4260">
                  <c:v>174.29839165632714</c:v>
                </c:pt>
                <c:pt idx="4261">
                  <c:v>174.13428794367064</c:v>
                </c:pt>
                <c:pt idx="4262">
                  <c:v>173.92370765092275</c:v>
                </c:pt>
                <c:pt idx="4263">
                  <c:v>173.28256802426822</c:v>
                </c:pt>
                <c:pt idx="4264">
                  <c:v>173.23433135149969</c:v>
                </c:pt>
                <c:pt idx="4265">
                  <c:v>173.24709464022047</c:v>
                </c:pt>
                <c:pt idx="4266">
                  <c:v>173.24709464022047</c:v>
                </c:pt>
                <c:pt idx="4267">
                  <c:v>173.24709464022047</c:v>
                </c:pt>
                <c:pt idx="4268">
                  <c:v>172.38657683233885</c:v>
                </c:pt>
                <c:pt idx="4269">
                  <c:v>172.23704462712587</c:v>
                </c:pt>
                <c:pt idx="4270">
                  <c:v>171.55806709955442</c:v>
                </c:pt>
                <c:pt idx="4271">
                  <c:v>171.28438775336954</c:v>
                </c:pt>
                <c:pt idx="4272">
                  <c:v>172.02924283241418</c:v>
                </c:pt>
                <c:pt idx="4273">
                  <c:v>172.02924283241418</c:v>
                </c:pt>
                <c:pt idx="4274">
                  <c:v>172.02924283241418</c:v>
                </c:pt>
                <c:pt idx="4275">
                  <c:v>171.1537096192265</c:v>
                </c:pt>
                <c:pt idx="4276">
                  <c:v>170.05571774523239</c:v>
                </c:pt>
                <c:pt idx="4277">
                  <c:v>170.23628777676026</c:v>
                </c:pt>
                <c:pt idx="4278">
                  <c:v>169.57185688156957</c:v>
                </c:pt>
                <c:pt idx="4279">
                  <c:v>170.43756861364866</c:v>
                </c:pt>
                <c:pt idx="4280">
                  <c:v>170.43756861364866</c:v>
                </c:pt>
                <c:pt idx="4281">
                  <c:v>170.43756861364866</c:v>
                </c:pt>
                <c:pt idx="4282">
                  <c:v>170.86004406145031</c:v>
                </c:pt>
                <c:pt idx="4283">
                  <c:v>170.76141858654242</c:v>
                </c:pt>
                <c:pt idx="4284">
                  <c:v>169.64264819942022</c:v>
                </c:pt>
                <c:pt idx="4285">
                  <c:v>170.08094730289253</c:v>
                </c:pt>
                <c:pt idx="4286">
                  <c:v>169.52295595944383</c:v>
                </c:pt>
                <c:pt idx="4287">
                  <c:v>169.52295595944383</c:v>
                </c:pt>
                <c:pt idx="4288">
                  <c:v>169.52295595944383</c:v>
                </c:pt>
                <c:pt idx="4289">
                  <c:v>169.69288350935375</c:v>
                </c:pt>
                <c:pt idx="4290">
                  <c:v>169.65863781985894</c:v>
                </c:pt>
                <c:pt idx="4291">
                  <c:v>169.81513224756321</c:v>
                </c:pt>
                <c:pt idx="4292">
                  <c:v>170.32162587385417</c:v>
                </c:pt>
                <c:pt idx="4293">
                  <c:v>170.33419408283996</c:v>
                </c:pt>
                <c:pt idx="4294">
                  <c:v>170.33419408283996</c:v>
                </c:pt>
                <c:pt idx="4295">
                  <c:v>170.33419408283996</c:v>
                </c:pt>
                <c:pt idx="4296">
                  <c:v>170.4640461041989</c:v>
                </c:pt>
                <c:pt idx="4297">
                  <c:v>170.52335052323002</c:v>
                </c:pt>
                <c:pt idx="4298">
                  <c:v>169.81462327312596</c:v>
                </c:pt>
                <c:pt idx="4299">
                  <c:v>169.49926592017721</c:v>
                </c:pt>
                <c:pt idx="4300">
                  <c:v>169.76909226865843</c:v>
                </c:pt>
                <c:pt idx="4301">
                  <c:v>169.76909226865843</c:v>
                </c:pt>
                <c:pt idx="4302">
                  <c:v>169.76909226865843</c:v>
                </c:pt>
                <c:pt idx="4303">
                  <c:v>168.79583055482837</c:v>
                </c:pt>
                <c:pt idx="4304">
                  <c:v>168.83272283830803</c:v>
                </c:pt>
                <c:pt idx="4305">
                  <c:v>169.90912423998583</c:v>
                </c:pt>
                <c:pt idx="4306">
                  <c:v>170.24471887139464</c:v>
                </c:pt>
                <c:pt idx="4307">
                  <c:v>170.83115717358865</c:v>
                </c:pt>
                <c:pt idx="4308">
                  <c:v>170.83115717358865</c:v>
                </c:pt>
                <c:pt idx="4309">
                  <c:v>170.83115717358865</c:v>
                </c:pt>
                <c:pt idx="4310">
                  <c:v>171.7897954946535</c:v>
                </c:pt>
                <c:pt idx="4311">
                  <c:v>172.953961097161</c:v>
                </c:pt>
                <c:pt idx="4312">
                  <c:v>173.44553765836059</c:v>
                </c:pt>
                <c:pt idx="4313">
                  <c:v>172.72747980489751</c:v>
                </c:pt>
                <c:pt idx="4314">
                  <c:v>172.64555853581132</c:v>
                </c:pt>
                <c:pt idx="4315">
                  <c:v>172.64555853581132</c:v>
                </c:pt>
                <c:pt idx="4316">
                  <c:v>172.64555853581132</c:v>
                </c:pt>
                <c:pt idx="4317">
                  <c:v>172.40303207054095</c:v>
                </c:pt>
                <c:pt idx="4318">
                  <c:v>172.50007425441783</c:v>
                </c:pt>
                <c:pt idx="4319">
                  <c:v>172.33977799116516</c:v>
                </c:pt>
                <c:pt idx="4320">
                  <c:v>171.67251409559074</c:v>
                </c:pt>
                <c:pt idx="4321">
                  <c:v>171.43522081340649</c:v>
                </c:pt>
                <c:pt idx="4322">
                  <c:v>171.43522081340649</c:v>
                </c:pt>
                <c:pt idx="4323">
                  <c:v>171.43522081340649</c:v>
                </c:pt>
                <c:pt idx="4324">
                  <c:v>172.5903374253466</c:v>
                </c:pt>
                <c:pt idx="4325">
                  <c:v>173.14475759577869</c:v>
                </c:pt>
                <c:pt idx="4326">
                  <c:v>172.61742959444877</c:v>
                </c:pt>
                <c:pt idx="4327">
                  <c:v>172.53474649679092</c:v>
                </c:pt>
                <c:pt idx="4328">
                  <c:v>172.59429996442282</c:v>
                </c:pt>
                <c:pt idx="4329">
                  <c:v>172.59429996442282</c:v>
                </c:pt>
                <c:pt idx="4330">
                  <c:v>172.59429996442282</c:v>
                </c:pt>
                <c:pt idx="4331">
                  <c:v>172.91565336287954</c:v>
                </c:pt>
                <c:pt idx="4332">
                  <c:v>172.59806300518395</c:v>
                </c:pt>
                <c:pt idx="4333">
                  <c:v>173.11374446756648</c:v>
                </c:pt>
                <c:pt idx="4334">
                  <c:v>172.46469254229305</c:v>
                </c:pt>
                <c:pt idx="4335">
                  <c:v>172.58240305821562</c:v>
                </c:pt>
                <c:pt idx="4336">
                  <c:v>172.58240305821562</c:v>
                </c:pt>
                <c:pt idx="4337">
                  <c:v>172.58240305821562</c:v>
                </c:pt>
                <c:pt idx="4338">
                  <c:v>172.18952005746689</c:v>
                </c:pt>
                <c:pt idx="4339">
                  <c:v>172.14259363027236</c:v>
                </c:pt>
                <c:pt idx="4340">
                  <c:v>171.86351395451049</c:v>
                </c:pt>
                <c:pt idx="4341">
                  <c:v>172.25844002151663</c:v>
                </c:pt>
                <c:pt idx="4342">
                  <c:v>171.35694007809843</c:v>
                </c:pt>
                <c:pt idx="4343">
                  <c:v>171.35694007809843</c:v>
                </c:pt>
                <c:pt idx="4344">
                  <c:v>171.35694007809843</c:v>
                </c:pt>
                <c:pt idx="4345">
                  <c:v>171.46980262543514</c:v>
                </c:pt>
                <c:pt idx="4346">
                  <c:v>171.49435180204375</c:v>
                </c:pt>
                <c:pt idx="4347">
                  <c:v>171.34058412709632</c:v>
                </c:pt>
                <c:pt idx="4348">
                  <c:v>171.44997086637306</c:v>
                </c:pt>
                <c:pt idx="4349">
                  <c:v>170.92089725248647</c:v>
                </c:pt>
                <c:pt idx="4350">
                  <c:v>170.92089725248647</c:v>
                </c:pt>
                <c:pt idx="4351">
                  <c:v>170.92089725248647</c:v>
                </c:pt>
                <c:pt idx="4352">
                  <c:v>171.27576784304878</c:v>
                </c:pt>
                <c:pt idx="4353">
                  <c:v>171.67659204037417</c:v>
                </c:pt>
                <c:pt idx="4354">
                  <c:v>172.63732651445656</c:v>
                </c:pt>
                <c:pt idx="4355">
                  <c:v>173.22605496838483</c:v>
                </c:pt>
                <c:pt idx="4356">
                  <c:v>172.71552901656975</c:v>
                </c:pt>
                <c:pt idx="4357">
                  <c:v>172.71552901656975</c:v>
                </c:pt>
                <c:pt idx="4358">
                  <c:v>172.71552901656975</c:v>
                </c:pt>
                <c:pt idx="4359">
                  <c:v>173.52238090949047</c:v>
                </c:pt>
                <c:pt idx="4360">
                  <c:v>174.03627117352733</c:v>
                </c:pt>
                <c:pt idx="4361">
                  <c:v>174.48181767258797</c:v>
                </c:pt>
                <c:pt idx="4362">
                  <c:v>173.51036671844366</c:v>
                </c:pt>
                <c:pt idx="4363">
                  <c:v>174.75747084905819</c:v>
                </c:pt>
                <c:pt idx="4364">
                  <c:v>174.75747084905819</c:v>
                </c:pt>
                <c:pt idx="4365">
                  <c:v>174.75747084905819</c:v>
                </c:pt>
                <c:pt idx="4366">
                  <c:v>176.4053120437824</c:v>
                </c:pt>
                <c:pt idx="4367">
                  <c:v>174.94728282444063</c:v>
                </c:pt>
                <c:pt idx="4368">
                  <c:v>175.90570369074521</c:v>
                </c:pt>
                <c:pt idx="4369">
                  <c:v>175.2482149050052</c:v>
                </c:pt>
                <c:pt idx="4370">
                  <c:v>175.68660039416434</c:v>
                </c:pt>
                <c:pt idx="4371">
                  <c:v>175.68660039416434</c:v>
                </c:pt>
                <c:pt idx="4372">
                  <c:v>175.68660039416434</c:v>
                </c:pt>
                <c:pt idx="4373">
                  <c:v>175.74988302203352</c:v>
                </c:pt>
                <c:pt idx="4374">
                  <c:v>175.71936945059079</c:v>
                </c:pt>
                <c:pt idx="4375">
                  <c:v>175.83082355071338</c:v>
                </c:pt>
                <c:pt idx="4376">
                  <c:v>175.83082355071338</c:v>
                </c:pt>
                <c:pt idx="4377">
                  <c:v>175.83082355071338</c:v>
                </c:pt>
                <c:pt idx="4378">
                  <c:v>175.83082355071338</c:v>
                </c:pt>
                <c:pt idx="4379">
                  <c:v>175.83082355071338</c:v>
                </c:pt>
                <c:pt idx="4380">
                  <c:v>175.08101901197037</c:v>
                </c:pt>
                <c:pt idx="4381">
                  <c:v>176.34872138302745</c:v>
                </c:pt>
                <c:pt idx="4382">
                  <c:v>176.37936162613204</c:v>
                </c:pt>
                <c:pt idx="4383">
                  <c:v>176.37936162613204</c:v>
                </c:pt>
                <c:pt idx="4384">
                  <c:v>177.15507058985605</c:v>
                </c:pt>
                <c:pt idx="4385">
                  <c:v>177.15507058985605</c:v>
                </c:pt>
                <c:pt idx="4386">
                  <c:v>177.15507058985605</c:v>
                </c:pt>
                <c:pt idx="4387">
                  <c:v>178.83464369359984</c:v>
                </c:pt>
                <c:pt idx="4388">
                  <c:v>178.43265400934146</c:v>
                </c:pt>
                <c:pt idx="4389">
                  <c:v>178.17361709829797</c:v>
                </c:pt>
                <c:pt idx="4390">
                  <c:v>176.49511189701533</c:v>
                </c:pt>
                <c:pt idx="4391">
                  <c:v>178.78544229555931</c:v>
                </c:pt>
                <c:pt idx="4392">
                  <c:v>178.78544229555931</c:v>
                </c:pt>
                <c:pt idx="4393">
                  <c:v>178.78544229555931</c:v>
                </c:pt>
                <c:pt idx="4394">
                  <c:v>178.07297158466491</c:v>
                </c:pt>
                <c:pt idx="4395">
                  <c:v>178.39485327838636</c:v>
                </c:pt>
                <c:pt idx="4396">
                  <c:v>179.55564778045067</c:v>
                </c:pt>
                <c:pt idx="4397">
                  <c:v>177.28532884260889</c:v>
                </c:pt>
                <c:pt idx="4398">
                  <c:v>176.35217016986601</c:v>
                </c:pt>
                <c:pt idx="4399">
                  <c:v>176.35217016986601</c:v>
                </c:pt>
                <c:pt idx="4400">
                  <c:v>176.35217016986601</c:v>
                </c:pt>
                <c:pt idx="4401">
                  <c:v>177.13742395597666</c:v>
                </c:pt>
                <c:pt idx="4402">
                  <c:v>176.60595963799284</c:v>
                </c:pt>
                <c:pt idx="4403">
                  <c:v>175.83670867738627</c:v>
                </c:pt>
                <c:pt idx="4404">
                  <c:v>175.81310792428769</c:v>
                </c:pt>
                <c:pt idx="4405">
                  <c:v>174.60301188277634</c:v>
                </c:pt>
                <c:pt idx="4406">
                  <c:v>174.60301188277634</c:v>
                </c:pt>
                <c:pt idx="4407">
                  <c:v>174.60301188277634</c:v>
                </c:pt>
                <c:pt idx="4408">
                  <c:v>174.97395123584087</c:v>
                </c:pt>
                <c:pt idx="4409">
                  <c:v>174.32382054461203</c:v>
                </c:pt>
                <c:pt idx="4410">
                  <c:v>174.65098583537065</c:v>
                </c:pt>
                <c:pt idx="4411">
                  <c:v>174.39168644850562</c:v>
                </c:pt>
                <c:pt idx="4412">
                  <c:v>175.53711666583467</c:v>
                </c:pt>
                <c:pt idx="4413">
                  <c:v>175.53711666583467</c:v>
                </c:pt>
                <c:pt idx="4414">
                  <c:v>175.53711666583467</c:v>
                </c:pt>
                <c:pt idx="4415">
                  <c:v>175.19037866966016</c:v>
                </c:pt>
                <c:pt idx="4416">
                  <c:v>176.16994059412616</c:v>
                </c:pt>
                <c:pt idx="4417">
                  <c:v>175.83375711202208</c:v>
                </c:pt>
                <c:pt idx="4418">
                  <c:v>176.95771046902843</c:v>
                </c:pt>
                <c:pt idx="4419">
                  <c:v>176.96186897824765</c:v>
                </c:pt>
                <c:pt idx="4420">
                  <c:v>176.96186897824765</c:v>
                </c:pt>
                <c:pt idx="4421">
                  <c:v>176.96186897824765</c:v>
                </c:pt>
                <c:pt idx="4422">
                  <c:v>176.35910545415501</c:v>
                </c:pt>
                <c:pt idx="4423">
                  <c:v>177.25099742180964</c:v>
                </c:pt>
                <c:pt idx="4424">
                  <c:v>177.23739305696728</c:v>
                </c:pt>
                <c:pt idx="4425">
                  <c:v>178.96696649631266</c:v>
                </c:pt>
                <c:pt idx="4426">
                  <c:v>178.68735099905629</c:v>
                </c:pt>
                <c:pt idx="4427">
                  <c:v>178.68735099905629</c:v>
                </c:pt>
                <c:pt idx="4428">
                  <c:v>178.68735099905629</c:v>
                </c:pt>
                <c:pt idx="4429">
                  <c:v>178.34488627417088</c:v>
                </c:pt>
                <c:pt idx="4430">
                  <c:v>177.37831493135184</c:v>
                </c:pt>
                <c:pt idx="4431">
                  <c:v>178.3268093316984</c:v>
                </c:pt>
                <c:pt idx="4432">
                  <c:v>178.27641552724884</c:v>
                </c:pt>
                <c:pt idx="4433">
                  <c:v>178.19152089887717</c:v>
                </c:pt>
                <c:pt idx="4434">
                  <c:v>178.19152089887717</c:v>
                </c:pt>
                <c:pt idx="4435">
                  <c:v>178.19152089887717</c:v>
                </c:pt>
                <c:pt idx="4436">
                  <c:v>178.2136100621446</c:v>
                </c:pt>
                <c:pt idx="4437">
                  <c:v>178.28442090453882</c:v>
                </c:pt>
                <c:pt idx="4438">
                  <c:v>178.49338256012419</c:v>
                </c:pt>
                <c:pt idx="4439">
                  <c:v>177.81860681630874</c:v>
                </c:pt>
                <c:pt idx="4440">
                  <c:v>177.24118338529382</c:v>
                </c:pt>
                <c:pt idx="4441">
                  <c:v>177.24118338529382</c:v>
                </c:pt>
                <c:pt idx="4442">
                  <c:v>177.24118338529382</c:v>
                </c:pt>
                <c:pt idx="4443">
                  <c:v>177.50182119870865</c:v>
                </c:pt>
                <c:pt idx="4444">
                  <c:v>177.63855450132019</c:v>
                </c:pt>
                <c:pt idx="4445">
                  <c:v>176.14520791957528</c:v>
                </c:pt>
                <c:pt idx="4446">
                  <c:v>177.26474373739859</c:v>
                </c:pt>
                <c:pt idx="4447">
                  <c:v>177.83158826191712</c:v>
                </c:pt>
                <c:pt idx="4448">
                  <c:v>177.83158826191712</c:v>
                </c:pt>
                <c:pt idx="4449">
                  <c:v>177.83158826191712</c:v>
                </c:pt>
                <c:pt idx="4450">
                  <c:v>177.48819855358272</c:v>
                </c:pt>
                <c:pt idx="4451">
                  <c:v>178.31031892570309</c:v>
                </c:pt>
                <c:pt idx="4452">
                  <c:v>177.69273709474191</c:v>
                </c:pt>
                <c:pt idx="4453">
                  <c:v>177.95602054247172</c:v>
                </c:pt>
                <c:pt idx="4454">
                  <c:v>178.24115810857541</c:v>
                </c:pt>
                <c:pt idx="4455">
                  <c:v>178.24115810857541</c:v>
                </c:pt>
                <c:pt idx="4456">
                  <c:v>178.24115810857541</c:v>
                </c:pt>
                <c:pt idx="4457">
                  <c:v>177.35768821880691</c:v>
                </c:pt>
                <c:pt idx="4458">
                  <c:v>176.82124720701637</c:v>
                </c:pt>
                <c:pt idx="4459">
                  <c:v>176.37032377663775</c:v>
                </c:pt>
                <c:pt idx="4460">
                  <c:v>176.52222504147898</c:v>
                </c:pt>
                <c:pt idx="4461">
                  <c:v>175.4257077615882</c:v>
                </c:pt>
                <c:pt idx="4462">
                  <c:v>175.4257077615882</c:v>
                </c:pt>
                <c:pt idx="4463">
                  <c:v>175.4257077615882</c:v>
                </c:pt>
                <c:pt idx="4464">
                  <c:v>175.99287354465415</c:v>
                </c:pt>
                <c:pt idx="4465">
                  <c:v>176.52192964704761</c:v>
                </c:pt>
                <c:pt idx="4466">
                  <c:v>177.03195542143808</c:v>
                </c:pt>
                <c:pt idx="4467">
                  <c:v>175.98213324760215</c:v>
                </c:pt>
                <c:pt idx="4468">
                  <c:v>175.56617804615283</c:v>
                </c:pt>
                <c:pt idx="4469">
                  <c:v>175.56617804615283</c:v>
                </c:pt>
                <c:pt idx="4470">
                  <c:v>175.56617804615283</c:v>
                </c:pt>
                <c:pt idx="4471">
                  <c:v>175.68431817704652</c:v>
                </c:pt>
                <c:pt idx="4472">
                  <c:v>176.95646588069448</c:v>
                </c:pt>
                <c:pt idx="4473">
                  <c:v>176.82229446976413</c:v>
                </c:pt>
                <c:pt idx="4474">
                  <c:v>177.32699480616961</c:v>
                </c:pt>
                <c:pt idx="4475">
                  <c:v>177.32699480616961</c:v>
                </c:pt>
                <c:pt idx="4476">
                  <c:v>177.32699480616961</c:v>
                </c:pt>
                <c:pt idx="4477">
                  <c:v>177.32699480616961</c:v>
                </c:pt>
                <c:pt idx="4478">
                  <c:v>177.32699480616961</c:v>
                </c:pt>
                <c:pt idx="4479">
                  <c:v>177.37093524951911</c:v>
                </c:pt>
                <c:pt idx="4480">
                  <c:v>178.11544831297488</c:v>
                </c:pt>
                <c:pt idx="4481">
                  <c:v>177.7276831144396</c:v>
                </c:pt>
                <c:pt idx="4482">
                  <c:v>177.72210946406113</c:v>
                </c:pt>
                <c:pt idx="4483">
                  <c:v>177.72210946406113</c:v>
                </c:pt>
                <c:pt idx="4484">
                  <c:v>177.72210946406113</c:v>
                </c:pt>
                <c:pt idx="4485">
                  <c:v>178.01248667892031</c:v>
                </c:pt>
                <c:pt idx="4486">
                  <c:v>178.23124709157631</c:v>
                </c:pt>
                <c:pt idx="4487">
                  <c:v>177.84989745976338</c:v>
                </c:pt>
                <c:pt idx="4488">
                  <c:v>177.91307718633379</c:v>
                </c:pt>
                <c:pt idx="4489">
                  <c:v>177.74360599978237</c:v>
                </c:pt>
                <c:pt idx="4490">
                  <c:v>177.74360599978237</c:v>
                </c:pt>
                <c:pt idx="4491">
                  <c:v>177.74360599978237</c:v>
                </c:pt>
                <c:pt idx="4492">
                  <c:v>177.37043422217698</c:v>
                </c:pt>
                <c:pt idx="4493">
                  <c:v>178.02428984774468</c:v>
                </c:pt>
                <c:pt idx="4494">
                  <c:v>176.99321309342383</c:v>
                </c:pt>
                <c:pt idx="4495">
                  <c:v>176.94983163975542</c:v>
                </c:pt>
                <c:pt idx="4496">
                  <c:v>177.06662572567146</c:v>
                </c:pt>
                <c:pt idx="4497">
                  <c:v>177.06662572567146</c:v>
                </c:pt>
                <c:pt idx="4498">
                  <c:v>177.06662572567146</c:v>
                </c:pt>
                <c:pt idx="4499">
                  <c:v>177.20668501173876</c:v>
                </c:pt>
                <c:pt idx="4500">
                  <c:v>177.5391991415749</c:v>
                </c:pt>
                <c:pt idx="4501">
                  <c:v>178.22259087735512</c:v>
                </c:pt>
                <c:pt idx="4502">
                  <c:v>178.64888003593217</c:v>
                </c:pt>
                <c:pt idx="4503">
                  <c:v>178.16485933425929</c:v>
                </c:pt>
                <c:pt idx="4504">
                  <c:v>178.16485933425929</c:v>
                </c:pt>
                <c:pt idx="4505">
                  <c:v>178.16485933425929</c:v>
                </c:pt>
                <c:pt idx="4506">
                  <c:v>178.59805521336065</c:v>
                </c:pt>
                <c:pt idx="4507">
                  <c:v>179.061293550931</c:v>
                </c:pt>
                <c:pt idx="4508">
                  <c:v>178.87751797321778</c:v>
                </c:pt>
                <c:pt idx="4509">
                  <c:v>180.05528963462845</c:v>
                </c:pt>
                <c:pt idx="4510">
                  <c:v>179.28086655322829</c:v>
                </c:pt>
                <c:pt idx="4511">
                  <c:v>179.28086655322829</c:v>
                </c:pt>
                <c:pt idx="4512">
                  <c:v>179.28086655322829</c:v>
                </c:pt>
                <c:pt idx="4513">
                  <c:v>179.78636442343876</c:v>
                </c:pt>
                <c:pt idx="4514">
                  <c:v>180.18849818255114</c:v>
                </c:pt>
                <c:pt idx="4515">
                  <c:v>181.6662822897637</c:v>
                </c:pt>
                <c:pt idx="4516">
                  <c:v>181.3045973465332</c:v>
                </c:pt>
                <c:pt idx="4517">
                  <c:v>182.23672840449618</c:v>
                </c:pt>
                <c:pt idx="4518">
                  <c:v>182.23672840449618</c:v>
                </c:pt>
                <c:pt idx="4519">
                  <c:v>182.23672840449618</c:v>
                </c:pt>
                <c:pt idx="4520">
                  <c:v>181.89576626714143</c:v>
                </c:pt>
                <c:pt idx="4521">
                  <c:v>181.40978266694944</c:v>
                </c:pt>
                <c:pt idx="4522">
                  <c:v>180.44529107224687</c:v>
                </c:pt>
                <c:pt idx="4523">
                  <c:v>180.5160539933795</c:v>
                </c:pt>
                <c:pt idx="4524">
                  <c:v>180.26001639991335</c:v>
                </c:pt>
                <c:pt idx="4525">
                  <c:v>180.26001639991335</c:v>
                </c:pt>
                <c:pt idx="4526">
                  <c:v>180.26001639991335</c:v>
                </c:pt>
                <c:pt idx="4527">
                  <c:v>180.00787600884357</c:v>
                </c:pt>
                <c:pt idx="4528">
                  <c:v>180.49371893249523</c:v>
                </c:pt>
                <c:pt idx="4529">
                  <c:v>179.66214467114969</c:v>
                </c:pt>
                <c:pt idx="4530">
                  <c:v>179.9052843024991</c:v>
                </c:pt>
                <c:pt idx="4531">
                  <c:v>181.2306621834999</c:v>
                </c:pt>
                <c:pt idx="4532">
                  <c:v>181.2306621834999</c:v>
                </c:pt>
                <c:pt idx="4533">
                  <c:v>181.2306621834999</c:v>
                </c:pt>
                <c:pt idx="4534">
                  <c:v>181.79123145039799</c:v>
                </c:pt>
                <c:pt idx="4535">
                  <c:v>182.55965466507263</c:v>
                </c:pt>
                <c:pt idx="4536">
                  <c:v>182.75686221735967</c:v>
                </c:pt>
                <c:pt idx="4537">
                  <c:v>182.63953718898031</c:v>
                </c:pt>
                <c:pt idx="4538">
                  <c:v>182.21927204402016</c:v>
                </c:pt>
                <c:pt idx="4539">
                  <c:v>182.21927204402016</c:v>
                </c:pt>
                <c:pt idx="4540">
                  <c:v>182.21927204402016</c:v>
                </c:pt>
                <c:pt idx="4541">
                  <c:v>182.40169790153976</c:v>
                </c:pt>
                <c:pt idx="4542">
                  <c:v>182.84995658036365</c:v>
                </c:pt>
                <c:pt idx="4543">
                  <c:v>182.21631146175287</c:v>
                </c:pt>
                <c:pt idx="4544">
                  <c:v>182.19116930508386</c:v>
                </c:pt>
                <c:pt idx="4545">
                  <c:v>182.22279167224997</c:v>
                </c:pt>
                <c:pt idx="4546">
                  <c:v>182.22279167224997</c:v>
                </c:pt>
                <c:pt idx="4547">
                  <c:v>182.22279167224997</c:v>
                </c:pt>
                <c:pt idx="4548">
                  <c:v>181.91075646071798</c:v>
                </c:pt>
                <c:pt idx="4549">
                  <c:v>182.06666906874747</c:v>
                </c:pt>
                <c:pt idx="4550">
                  <c:v>182.03037021693723</c:v>
                </c:pt>
                <c:pt idx="4551">
                  <c:v>181.40524706388868</c:v>
                </c:pt>
                <c:pt idx="4552">
                  <c:v>181.51313651137559</c:v>
                </c:pt>
                <c:pt idx="4553">
                  <c:v>181.51313651137559</c:v>
                </c:pt>
                <c:pt idx="4554">
                  <c:v>181.51313651137559</c:v>
                </c:pt>
                <c:pt idx="4555">
                  <c:v>179.84668912653893</c:v>
                </c:pt>
                <c:pt idx="4556">
                  <c:v>180.62872104840818</c:v>
                </c:pt>
                <c:pt idx="4557">
                  <c:v>180.2548669421476</c:v>
                </c:pt>
                <c:pt idx="4558">
                  <c:v>181.13983619940447</c:v>
                </c:pt>
                <c:pt idx="4559">
                  <c:v>181.28560870992001</c:v>
                </c:pt>
                <c:pt idx="4560">
                  <c:v>181.28560870992001</c:v>
                </c:pt>
                <c:pt idx="4561">
                  <c:v>181.28560870992001</c:v>
                </c:pt>
                <c:pt idx="4562">
                  <c:v>181.99232791174774</c:v>
                </c:pt>
                <c:pt idx="4563">
                  <c:v>184.01489889144059</c:v>
                </c:pt>
                <c:pt idx="4564">
                  <c:v>184.03926677704081</c:v>
                </c:pt>
                <c:pt idx="4565">
                  <c:v>183.2680435978032</c:v>
                </c:pt>
                <c:pt idx="4566">
                  <c:v>183.65976938318261</c:v>
                </c:pt>
                <c:pt idx="4567">
                  <c:v>183.65976938318261</c:v>
                </c:pt>
                <c:pt idx="4568">
                  <c:v>183.65976938318261</c:v>
                </c:pt>
                <c:pt idx="4569">
                  <c:v>183.60289293482529</c:v>
                </c:pt>
                <c:pt idx="4570">
                  <c:v>183.77183364125344</c:v>
                </c:pt>
                <c:pt idx="4571">
                  <c:v>182.38105388452186</c:v>
                </c:pt>
                <c:pt idx="4572">
                  <c:v>182.014518174671</c:v>
                </c:pt>
                <c:pt idx="4573">
                  <c:v>181.33471122593517</c:v>
                </c:pt>
                <c:pt idx="4574">
                  <c:v>181.33471122593517</c:v>
                </c:pt>
                <c:pt idx="4575">
                  <c:v>181.33471122593517</c:v>
                </c:pt>
                <c:pt idx="4576">
                  <c:v>181.4274198530176</c:v>
                </c:pt>
                <c:pt idx="4577">
                  <c:v>180.30064719294566</c:v>
                </c:pt>
                <c:pt idx="4578">
                  <c:v>180.868734145091</c:v>
                </c:pt>
                <c:pt idx="4579">
                  <c:v>180.97830374753423</c:v>
                </c:pt>
                <c:pt idx="4580">
                  <c:v>181.30905317386276</c:v>
                </c:pt>
                <c:pt idx="4581">
                  <c:v>181.30905317386276</c:v>
                </c:pt>
                <c:pt idx="4582">
                  <c:v>181.30905317386276</c:v>
                </c:pt>
                <c:pt idx="4583">
                  <c:v>181.66611444729909</c:v>
                </c:pt>
                <c:pt idx="4584">
                  <c:v>181.94130196890529</c:v>
                </c:pt>
                <c:pt idx="4585">
                  <c:v>182.46345868022448</c:v>
                </c:pt>
                <c:pt idx="4586">
                  <c:v>182.28357354869087</c:v>
                </c:pt>
                <c:pt idx="4587">
                  <c:v>182.86507042540376</c:v>
                </c:pt>
                <c:pt idx="4588">
                  <c:v>182.86507042540376</c:v>
                </c:pt>
                <c:pt idx="4589">
                  <c:v>182.86507042540376</c:v>
                </c:pt>
                <c:pt idx="4590">
                  <c:v>182.73265740109173</c:v>
                </c:pt>
                <c:pt idx="4591">
                  <c:v>182.500605881936</c:v>
                </c:pt>
                <c:pt idx="4592">
                  <c:v>182.23509752355881</c:v>
                </c:pt>
                <c:pt idx="4593">
                  <c:v>181.33704497073251</c:v>
                </c:pt>
                <c:pt idx="4594">
                  <c:v>181.47659202877745</c:v>
                </c:pt>
                <c:pt idx="4595">
                  <c:v>181.47659202877745</c:v>
                </c:pt>
                <c:pt idx="4596">
                  <c:v>181.47659202877745</c:v>
                </c:pt>
                <c:pt idx="4597">
                  <c:v>181.13433089334472</c:v>
                </c:pt>
                <c:pt idx="4598">
                  <c:v>181.54448054684181</c:v>
                </c:pt>
                <c:pt idx="4599">
                  <c:v>179.98771310404754</c:v>
                </c:pt>
                <c:pt idx="4600">
                  <c:v>179.71722244102605</c:v>
                </c:pt>
                <c:pt idx="4601">
                  <c:v>179.44739748688968</c:v>
                </c:pt>
                <c:pt idx="4602">
                  <c:v>179.44739748688968</c:v>
                </c:pt>
                <c:pt idx="4603">
                  <c:v>179.44739748688968</c:v>
                </c:pt>
                <c:pt idx="4604">
                  <c:v>179.57188440921203</c:v>
                </c:pt>
                <c:pt idx="4605">
                  <c:v>180.36277679948347</c:v>
                </c:pt>
                <c:pt idx="4606">
                  <c:v>181.16185172293746</c:v>
                </c:pt>
                <c:pt idx="4607">
                  <c:v>181.71069634011806</c:v>
                </c:pt>
                <c:pt idx="4608">
                  <c:v>182.33674646980236</c:v>
                </c:pt>
                <c:pt idx="4609">
                  <c:v>182.33674646980236</c:v>
                </c:pt>
                <c:pt idx="4610">
                  <c:v>182.33674646980236</c:v>
                </c:pt>
                <c:pt idx="4611">
                  <c:v>182.16706631139797</c:v>
                </c:pt>
                <c:pt idx="4612">
                  <c:v>182.68209337440081</c:v>
                </c:pt>
                <c:pt idx="4613">
                  <c:v>183.18039669040343</c:v>
                </c:pt>
                <c:pt idx="4614">
                  <c:v>182.41950677636081</c:v>
                </c:pt>
                <c:pt idx="4615">
                  <c:v>183.5187354384887</c:v>
                </c:pt>
                <c:pt idx="4616">
                  <c:v>183.5187354384887</c:v>
                </c:pt>
                <c:pt idx="4617">
                  <c:v>183.5187354384887</c:v>
                </c:pt>
                <c:pt idx="4618">
                  <c:v>184.99184181660948</c:v>
                </c:pt>
                <c:pt idx="4619">
                  <c:v>184.84866317009667</c:v>
                </c:pt>
                <c:pt idx="4620">
                  <c:v>186.8236409784395</c:v>
                </c:pt>
                <c:pt idx="4621">
                  <c:v>184.98781015391467</c:v>
                </c:pt>
                <c:pt idx="4622">
                  <c:v>185.05401967409932</c:v>
                </c:pt>
                <c:pt idx="4623">
                  <c:v>185.05401967409932</c:v>
                </c:pt>
                <c:pt idx="4624">
                  <c:v>185.05401967409932</c:v>
                </c:pt>
                <c:pt idx="4625">
                  <c:v>185.30109591054526</c:v>
                </c:pt>
                <c:pt idx="4626">
                  <c:v>186.64936788505349</c:v>
                </c:pt>
                <c:pt idx="4627">
                  <c:v>187.02457210952326</c:v>
                </c:pt>
                <c:pt idx="4628">
                  <c:v>186.41614262186371</c:v>
                </c:pt>
                <c:pt idx="4629">
                  <c:v>187.40210189201045</c:v>
                </c:pt>
                <c:pt idx="4630">
                  <c:v>187.40210189201045</c:v>
                </c:pt>
                <c:pt idx="4631">
                  <c:v>187.40210189201045</c:v>
                </c:pt>
                <c:pt idx="4632">
                  <c:v>187.01456768471286</c:v>
                </c:pt>
                <c:pt idx="4633">
                  <c:v>187.03291871121351</c:v>
                </c:pt>
                <c:pt idx="4634">
                  <c:v>186.41382461812361</c:v>
                </c:pt>
                <c:pt idx="4635">
                  <c:v>187.43706395477579</c:v>
                </c:pt>
                <c:pt idx="4636">
                  <c:v>187.69207923305359</c:v>
                </c:pt>
                <c:pt idx="4637">
                  <c:v>187.69207923305359</c:v>
                </c:pt>
                <c:pt idx="4638">
                  <c:v>187.69207923305359</c:v>
                </c:pt>
                <c:pt idx="4639">
                  <c:v>187.6397592801122</c:v>
                </c:pt>
                <c:pt idx="4640">
                  <c:v>186.53805012438116</c:v>
                </c:pt>
                <c:pt idx="4641">
                  <c:v>185.42526894548453</c:v>
                </c:pt>
                <c:pt idx="4642">
                  <c:v>185.9993615784467</c:v>
                </c:pt>
                <c:pt idx="4643">
                  <c:v>187.62112880649326</c:v>
                </c:pt>
                <c:pt idx="4644">
                  <c:v>187.62112880649323</c:v>
                </c:pt>
                <c:pt idx="4645">
                  <c:v>187.62112880649323</c:v>
                </c:pt>
                <c:pt idx="4646">
                  <c:v>186.99179203469691</c:v>
                </c:pt>
                <c:pt idx="4647">
                  <c:v>188.17072984095688</c:v>
                </c:pt>
                <c:pt idx="4648">
                  <c:v>188.21059419662254</c:v>
                </c:pt>
                <c:pt idx="4649">
                  <c:v>188.33754200497643</c:v>
                </c:pt>
                <c:pt idx="4650">
                  <c:v>186.86379763830479</c:v>
                </c:pt>
                <c:pt idx="4651">
                  <c:v>186.86379763830476</c:v>
                </c:pt>
                <c:pt idx="4652">
                  <c:v>186.86379763830476</c:v>
                </c:pt>
                <c:pt idx="4653">
                  <c:v>188.12156984265144</c:v>
                </c:pt>
                <c:pt idx="4654">
                  <c:v>187.84081976542305</c:v>
                </c:pt>
                <c:pt idx="4655">
                  <c:v>186.63912312839659</c:v>
                </c:pt>
                <c:pt idx="4656">
                  <c:v>187.29804299402471</c:v>
                </c:pt>
                <c:pt idx="4657">
                  <c:v>186.97647380677464</c:v>
                </c:pt>
                <c:pt idx="4658">
                  <c:v>186.97647380677461</c:v>
                </c:pt>
                <c:pt idx="4659">
                  <c:v>186.97647380677461</c:v>
                </c:pt>
                <c:pt idx="4660">
                  <c:v>186.47603505903004</c:v>
                </c:pt>
                <c:pt idx="4661">
                  <c:v>186.60441963551909</c:v>
                </c:pt>
                <c:pt idx="4662">
                  <c:v>186.09242877426112</c:v>
                </c:pt>
                <c:pt idx="4663">
                  <c:v>186.0191961199159</c:v>
                </c:pt>
                <c:pt idx="4664">
                  <c:v>185.46939477555884</c:v>
                </c:pt>
                <c:pt idx="4665">
                  <c:v>185.46939477555884</c:v>
                </c:pt>
                <c:pt idx="4666">
                  <c:v>185.46939477555884</c:v>
                </c:pt>
                <c:pt idx="4667">
                  <c:v>184.49009990024467</c:v>
                </c:pt>
                <c:pt idx="4668">
                  <c:v>184.31825937769446</c:v>
                </c:pt>
                <c:pt idx="4669">
                  <c:v>184.75189179790939</c:v>
                </c:pt>
                <c:pt idx="4670">
                  <c:v>184.49365684952403</c:v>
                </c:pt>
                <c:pt idx="4671">
                  <c:v>183.42454739684649</c:v>
                </c:pt>
                <c:pt idx="4672">
                  <c:v>183.42454739684649</c:v>
                </c:pt>
                <c:pt idx="4673">
                  <c:v>183.42454739684649</c:v>
                </c:pt>
                <c:pt idx="4674">
                  <c:v>184.25652750004997</c:v>
                </c:pt>
                <c:pt idx="4675">
                  <c:v>185.49009324974764</c:v>
                </c:pt>
                <c:pt idx="4676">
                  <c:v>185.91607072528623</c:v>
                </c:pt>
                <c:pt idx="4677">
                  <c:v>184.0643003021784</c:v>
                </c:pt>
                <c:pt idx="4678">
                  <c:v>184.24891142403888</c:v>
                </c:pt>
                <c:pt idx="4679">
                  <c:v>184.24891142403888</c:v>
                </c:pt>
                <c:pt idx="4680">
                  <c:v>184.24891142403888</c:v>
                </c:pt>
                <c:pt idx="4681">
                  <c:v>184.2576281683898</c:v>
                </c:pt>
                <c:pt idx="4682">
                  <c:v>183.62948755456364</c:v>
                </c:pt>
                <c:pt idx="4683">
                  <c:v>183.73505754397914</c:v>
                </c:pt>
                <c:pt idx="4684">
                  <c:v>184.00259839959452</c:v>
                </c:pt>
                <c:pt idx="4685">
                  <c:v>184.42934065802177</c:v>
                </c:pt>
                <c:pt idx="4686">
                  <c:v>184.42934065802177</c:v>
                </c:pt>
                <c:pt idx="4687">
                  <c:v>184.42934065802177</c:v>
                </c:pt>
                <c:pt idx="4688">
                  <c:v>184.80720497340059</c:v>
                </c:pt>
                <c:pt idx="4689">
                  <c:v>184.49061028206816</c:v>
                </c:pt>
                <c:pt idx="4690">
                  <c:v>184.00358636906444</c:v>
                </c:pt>
                <c:pt idx="4691">
                  <c:v>183.76086439388814</c:v>
                </c:pt>
                <c:pt idx="4692">
                  <c:v>184.82608634179144</c:v>
                </c:pt>
                <c:pt idx="4693">
                  <c:v>184.82608634179144</c:v>
                </c:pt>
                <c:pt idx="4694">
                  <c:v>184.82608634179144</c:v>
                </c:pt>
                <c:pt idx="4695">
                  <c:v>185.32548837169227</c:v>
                </c:pt>
                <c:pt idx="4696">
                  <c:v>184.95437782285961</c:v>
                </c:pt>
                <c:pt idx="4697">
                  <c:v>184.7627815945097</c:v>
                </c:pt>
                <c:pt idx="4698">
                  <c:v>185.04485871113249</c:v>
                </c:pt>
                <c:pt idx="4699">
                  <c:v>185.4869666622221</c:v>
                </c:pt>
                <c:pt idx="4700">
                  <c:v>185.4869666622221</c:v>
                </c:pt>
                <c:pt idx="4701">
                  <c:v>185.4869666622221</c:v>
                </c:pt>
                <c:pt idx="4702">
                  <c:v>186.11924464367007</c:v>
                </c:pt>
                <c:pt idx="4703">
                  <c:v>184.96482529061893</c:v>
                </c:pt>
                <c:pt idx="4704">
                  <c:v>185.43795305541022</c:v>
                </c:pt>
                <c:pt idx="4705">
                  <c:v>185.32445759368804</c:v>
                </c:pt>
                <c:pt idx="4706">
                  <c:v>185.0642829597731</c:v>
                </c:pt>
                <c:pt idx="4707">
                  <c:v>185.0642829597731</c:v>
                </c:pt>
                <c:pt idx="4708">
                  <c:v>185.0642829597731</c:v>
                </c:pt>
                <c:pt idx="4709">
                  <c:v>185.45112502692072</c:v>
                </c:pt>
                <c:pt idx="4710">
                  <c:v>185.01474080279235</c:v>
                </c:pt>
                <c:pt idx="4711">
                  <c:v>184.89232694102742</c:v>
                </c:pt>
                <c:pt idx="4712">
                  <c:v>184.61029080418592</c:v>
                </c:pt>
                <c:pt idx="4713">
                  <c:v>185.17412694720446</c:v>
                </c:pt>
                <c:pt idx="4714">
                  <c:v>185.17412694720446</c:v>
                </c:pt>
                <c:pt idx="4715">
                  <c:v>185.17412694720446</c:v>
                </c:pt>
                <c:pt idx="4716">
                  <c:v>186.1668386619823</c:v>
                </c:pt>
                <c:pt idx="4717">
                  <c:v>187.11777417669103</c:v>
                </c:pt>
                <c:pt idx="4718">
                  <c:v>187.36569187689236</c:v>
                </c:pt>
                <c:pt idx="4719">
                  <c:v>189.25642341224042</c:v>
                </c:pt>
                <c:pt idx="4720">
                  <c:v>189.73817900176184</c:v>
                </c:pt>
                <c:pt idx="4721">
                  <c:v>189.73817900176181</c:v>
                </c:pt>
                <c:pt idx="4722">
                  <c:v>189.73817900176181</c:v>
                </c:pt>
                <c:pt idx="4723">
                  <c:v>189.6008602241744</c:v>
                </c:pt>
                <c:pt idx="4724">
                  <c:v>189.69137239265339</c:v>
                </c:pt>
                <c:pt idx="4725">
                  <c:v>189.79740986269829</c:v>
                </c:pt>
                <c:pt idx="4726">
                  <c:v>189.65152605655078</c:v>
                </c:pt>
                <c:pt idx="4727">
                  <c:v>190.57594091402063</c:v>
                </c:pt>
                <c:pt idx="4728">
                  <c:v>190.57594091402063</c:v>
                </c:pt>
                <c:pt idx="4729">
                  <c:v>190.57594091402063</c:v>
                </c:pt>
                <c:pt idx="4730">
                  <c:v>191.75621854671752</c:v>
                </c:pt>
                <c:pt idx="4731">
                  <c:v>190.74326675416623</c:v>
                </c:pt>
                <c:pt idx="4732">
                  <c:v>190.8407404186396</c:v>
                </c:pt>
                <c:pt idx="4733">
                  <c:v>189.92202730472567</c:v>
                </c:pt>
                <c:pt idx="4734">
                  <c:v>190.45751046213215</c:v>
                </c:pt>
                <c:pt idx="4735">
                  <c:v>190.45751046213215</c:v>
                </c:pt>
                <c:pt idx="4736">
                  <c:v>190.45751046213215</c:v>
                </c:pt>
                <c:pt idx="4737">
                  <c:v>190.85315149960388</c:v>
                </c:pt>
                <c:pt idx="4738">
                  <c:v>190.66778615721188</c:v>
                </c:pt>
                <c:pt idx="4739">
                  <c:v>189.42938833822046</c:v>
                </c:pt>
                <c:pt idx="4740">
                  <c:v>189.4706797320427</c:v>
                </c:pt>
                <c:pt idx="4741">
                  <c:v>189.4706797320427</c:v>
                </c:pt>
                <c:pt idx="4742">
                  <c:v>189.4706797320427</c:v>
                </c:pt>
                <c:pt idx="4743">
                  <c:v>189.4706797320427</c:v>
                </c:pt>
                <c:pt idx="4744">
                  <c:v>189.99211916691769</c:v>
                </c:pt>
                <c:pt idx="4745">
                  <c:v>189.33037247586876</c:v>
                </c:pt>
                <c:pt idx="4746">
                  <c:v>190.18165542978915</c:v>
                </c:pt>
                <c:pt idx="4747">
                  <c:v>190.70811104391333</c:v>
                </c:pt>
                <c:pt idx="4748">
                  <c:v>190.70811104391333</c:v>
                </c:pt>
                <c:pt idx="4749">
                  <c:v>190.70811104391333</c:v>
                </c:pt>
                <c:pt idx="4750">
                  <c:v>190.70811104391333</c:v>
                </c:pt>
                <c:pt idx="4751">
                  <c:v>191.75040614115073</c:v>
                </c:pt>
                <c:pt idx="4752">
                  <c:v>190.69524302984854</c:v>
                </c:pt>
                <c:pt idx="4753">
                  <c:v>190.54109679913128</c:v>
                </c:pt>
                <c:pt idx="4754">
                  <c:v>190.33111476875081</c:v>
                </c:pt>
                <c:pt idx="4755">
                  <c:v>191.14992864711701</c:v>
                </c:pt>
                <c:pt idx="4756">
                  <c:v>191.14992864711701</c:v>
                </c:pt>
                <c:pt idx="4757">
                  <c:v>191.14992864711701</c:v>
                </c:pt>
                <c:pt idx="4758">
                  <c:v>190.82260728442552</c:v>
                </c:pt>
                <c:pt idx="4759">
                  <c:v>189.62937333931299</c:v>
                </c:pt>
                <c:pt idx="4760">
                  <c:v>188.72619243515311</c:v>
                </c:pt>
                <c:pt idx="4761">
                  <c:v>187.40765168415061</c:v>
                </c:pt>
                <c:pt idx="4762">
                  <c:v>187.46370917688967</c:v>
                </c:pt>
                <c:pt idx="4763">
                  <c:v>187.46370917688967</c:v>
                </c:pt>
                <c:pt idx="4764">
                  <c:v>187.46370917688967</c:v>
                </c:pt>
                <c:pt idx="4765">
                  <c:v>185.72642422405536</c:v>
                </c:pt>
                <c:pt idx="4766">
                  <c:v>185.69762626477851</c:v>
                </c:pt>
                <c:pt idx="4767">
                  <c:v>185.87235717866633</c:v>
                </c:pt>
                <c:pt idx="4768">
                  <c:v>185.20760012197397</c:v>
                </c:pt>
                <c:pt idx="4769">
                  <c:v>185.12819805606145</c:v>
                </c:pt>
                <c:pt idx="4770">
                  <c:v>185.12819805606145</c:v>
                </c:pt>
                <c:pt idx="4771">
                  <c:v>185.12819805606145</c:v>
                </c:pt>
                <c:pt idx="4772">
                  <c:v>186.15814572114985</c:v>
                </c:pt>
                <c:pt idx="4773">
                  <c:v>185.984153288469</c:v>
                </c:pt>
                <c:pt idx="4774">
                  <c:v>185.64513482702753</c:v>
                </c:pt>
                <c:pt idx="4775">
                  <c:v>186.67805343257041</c:v>
                </c:pt>
                <c:pt idx="4776">
                  <c:v>186.70572746118805</c:v>
                </c:pt>
                <c:pt idx="4777">
                  <c:v>186.70572746118805</c:v>
                </c:pt>
                <c:pt idx="4778">
                  <c:v>186.70572746118805</c:v>
                </c:pt>
                <c:pt idx="4779">
                  <c:v>187.55720792940144</c:v>
                </c:pt>
                <c:pt idx="4780">
                  <c:v>188.6703594242378</c:v>
                </c:pt>
                <c:pt idx="4781">
                  <c:v>188.75970752893807</c:v>
                </c:pt>
                <c:pt idx="4782">
                  <c:v>188.6030502940026</c:v>
                </c:pt>
                <c:pt idx="4783">
                  <c:v>188.34715382031447</c:v>
                </c:pt>
                <c:pt idx="4784">
                  <c:v>188.34715382031447</c:v>
                </c:pt>
                <c:pt idx="4785">
                  <c:v>188.34715382031447</c:v>
                </c:pt>
                <c:pt idx="4786">
                  <c:v>185.69327668526986</c:v>
                </c:pt>
                <c:pt idx="4787">
                  <c:v>186.05703962193093</c:v>
                </c:pt>
                <c:pt idx="4788">
                  <c:v>186.49991410277846</c:v>
                </c:pt>
                <c:pt idx="4789">
                  <c:v>188.20948568931863</c:v>
                </c:pt>
                <c:pt idx="4790">
                  <c:v>187.06954717355654</c:v>
                </c:pt>
                <c:pt idx="4791">
                  <c:v>187.06954717355651</c:v>
                </c:pt>
                <c:pt idx="4792">
                  <c:v>187.06954717355651</c:v>
                </c:pt>
                <c:pt idx="4793">
                  <c:v>187.61781297219028</c:v>
                </c:pt>
                <c:pt idx="4794">
                  <c:v>187.64706191150592</c:v>
                </c:pt>
                <c:pt idx="4795">
                  <c:v>188.2934486205441</c:v>
                </c:pt>
                <c:pt idx="4796">
                  <c:v>190.17312559962235</c:v>
                </c:pt>
                <c:pt idx="4797">
                  <c:v>190.07705646099788</c:v>
                </c:pt>
                <c:pt idx="4798">
                  <c:v>190.07705646099788</c:v>
                </c:pt>
                <c:pt idx="4799">
                  <c:v>190.07705646099788</c:v>
                </c:pt>
                <c:pt idx="4800">
                  <c:v>189.38320041923836</c:v>
                </c:pt>
                <c:pt idx="4801">
                  <c:v>190.68219061713833</c:v>
                </c:pt>
                <c:pt idx="4802">
                  <c:v>191.39767762601744</c:v>
                </c:pt>
                <c:pt idx="4803">
                  <c:v>191.21141812459479</c:v>
                </c:pt>
                <c:pt idx="4804">
                  <c:v>191.22680856820975</c:v>
                </c:pt>
                <c:pt idx="4805">
                  <c:v>191.22680856820975</c:v>
                </c:pt>
                <c:pt idx="4806">
                  <c:v>191.22680856820975</c:v>
                </c:pt>
                <c:pt idx="4807">
                  <c:v>191.42673336007732</c:v>
                </c:pt>
                <c:pt idx="4808">
                  <c:v>191.47166396685213</c:v>
                </c:pt>
                <c:pt idx="4809">
                  <c:v>189.87179118318144</c:v>
                </c:pt>
                <c:pt idx="4810">
                  <c:v>190.76388639244954</c:v>
                </c:pt>
                <c:pt idx="4811">
                  <c:v>191.34235637005122</c:v>
                </c:pt>
                <c:pt idx="4812">
                  <c:v>191.34235637005122</c:v>
                </c:pt>
                <c:pt idx="4813">
                  <c:v>191.34235637005122</c:v>
                </c:pt>
                <c:pt idx="4814">
                  <c:v>191.37716939665179</c:v>
                </c:pt>
                <c:pt idx="4815">
                  <c:v>190.43910712184942</c:v>
                </c:pt>
                <c:pt idx="4816">
                  <c:v>190.04448785702428</c:v>
                </c:pt>
                <c:pt idx="4817">
                  <c:v>190.80817896431918</c:v>
                </c:pt>
                <c:pt idx="4818">
                  <c:v>190.42101095527781</c:v>
                </c:pt>
                <c:pt idx="4819">
                  <c:v>190.42101095527781</c:v>
                </c:pt>
                <c:pt idx="4820">
                  <c:v>190.42101095527781</c:v>
                </c:pt>
                <c:pt idx="4821">
                  <c:v>191.07275220747246</c:v>
                </c:pt>
                <c:pt idx="4822">
                  <c:v>191.58268452195546</c:v>
                </c:pt>
                <c:pt idx="4823">
                  <c:v>192.38984635847385</c:v>
                </c:pt>
                <c:pt idx="4824">
                  <c:v>192.9029268631121</c:v>
                </c:pt>
                <c:pt idx="4825">
                  <c:v>193.49184551171047</c:v>
                </c:pt>
                <c:pt idx="4826">
                  <c:v>193.49184551171049</c:v>
                </c:pt>
                <c:pt idx="4827">
                  <c:v>193.49184551171049</c:v>
                </c:pt>
                <c:pt idx="4828">
                  <c:v>193.02157012636675</c:v>
                </c:pt>
                <c:pt idx="4829">
                  <c:v>193.07162567638468</c:v>
                </c:pt>
                <c:pt idx="4830">
                  <c:v>192.98693880599487</c:v>
                </c:pt>
                <c:pt idx="4831">
                  <c:v>193.7616623090681</c:v>
                </c:pt>
                <c:pt idx="4832">
                  <c:v>193.76166230906807</c:v>
                </c:pt>
                <c:pt idx="4833">
                  <c:v>193.76166230906807</c:v>
                </c:pt>
                <c:pt idx="4834">
                  <c:v>193.76166230906807</c:v>
                </c:pt>
                <c:pt idx="4835">
                  <c:v>193.76166230906807</c:v>
                </c:pt>
                <c:pt idx="4836">
                  <c:v>193.61935282125586</c:v>
                </c:pt>
                <c:pt idx="4837">
                  <c:v>193.87730363312102</c:v>
                </c:pt>
                <c:pt idx="4838">
                  <c:v>194.71475221666429</c:v>
                </c:pt>
                <c:pt idx="4839">
                  <c:v>196.04507349828503</c:v>
                </c:pt>
                <c:pt idx="4840">
                  <c:v>196.04507349828501</c:v>
                </c:pt>
                <c:pt idx="4841">
                  <c:v>196.04507349828501</c:v>
                </c:pt>
                <c:pt idx="4842">
                  <c:v>195.24063075634606</c:v>
                </c:pt>
                <c:pt idx="4843">
                  <c:v>195.61733599072187</c:v>
                </c:pt>
                <c:pt idx="4844">
                  <c:v>195.02079453958135</c:v>
                </c:pt>
                <c:pt idx="4845">
                  <c:v>194.60210989600171</c:v>
                </c:pt>
                <c:pt idx="4846">
                  <c:v>194.81013243703015</c:v>
                </c:pt>
                <c:pt idx="4847">
                  <c:v>194.81013243703015</c:v>
                </c:pt>
                <c:pt idx="4848">
                  <c:v>194.81013243703015</c:v>
                </c:pt>
                <c:pt idx="4849">
                  <c:v>194.80892173120469</c:v>
                </c:pt>
                <c:pt idx="4850">
                  <c:v>194.28019840586103</c:v>
                </c:pt>
                <c:pt idx="4851">
                  <c:v>192.54796589563</c:v>
                </c:pt>
                <c:pt idx="4852">
                  <c:v>191.56013488375353</c:v>
                </c:pt>
                <c:pt idx="4853">
                  <c:v>191.36064489469629</c:v>
                </c:pt>
                <c:pt idx="4854">
                  <c:v>191.36064489469629</c:v>
                </c:pt>
                <c:pt idx="4855">
                  <c:v>191.36064489469629</c:v>
                </c:pt>
                <c:pt idx="4856">
                  <c:v>191.01685516533408</c:v>
                </c:pt>
                <c:pt idx="4857">
                  <c:v>190.56058684580324</c:v>
                </c:pt>
                <c:pt idx="4858">
                  <c:v>189.83786017521186</c:v>
                </c:pt>
                <c:pt idx="4859">
                  <c:v>189.67864590459706</c:v>
                </c:pt>
                <c:pt idx="4860">
                  <c:v>190.2469407538095</c:v>
                </c:pt>
                <c:pt idx="4861">
                  <c:v>190.2469407538095</c:v>
                </c:pt>
                <c:pt idx="4862">
                  <c:v>190.2469407538095</c:v>
                </c:pt>
                <c:pt idx="4863">
                  <c:v>191.05432650141711</c:v>
                </c:pt>
                <c:pt idx="4864">
                  <c:v>190.91591506851469</c:v>
                </c:pt>
                <c:pt idx="4865">
                  <c:v>190.90598766024269</c:v>
                </c:pt>
                <c:pt idx="4866">
                  <c:v>190.9172008315137</c:v>
                </c:pt>
                <c:pt idx="4867">
                  <c:v>192.51676801972604</c:v>
                </c:pt>
                <c:pt idx="4868">
                  <c:v>192.51676801972604</c:v>
                </c:pt>
                <c:pt idx="4869">
                  <c:v>192.51676801972604</c:v>
                </c:pt>
                <c:pt idx="4870">
                  <c:v>192.3276842417128</c:v>
                </c:pt>
                <c:pt idx="4871">
                  <c:v>193.34554466537097</c:v>
                </c:pt>
                <c:pt idx="4872">
                  <c:v>194.6972705112376</c:v>
                </c:pt>
                <c:pt idx="4873">
                  <c:v>195.17815641263221</c:v>
                </c:pt>
                <c:pt idx="4874">
                  <c:v>195.09272484546153</c:v>
                </c:pt>
                <c:pt idx="4875">
                  <c:v>195.09272484546153</c:v>
                </c:pt>
                <c:pt idx="4876">
                  <c:v>195.09272484546153</c:v>
                </c:pt>
                <c:pt idx="4877">
                  <c:v>194.2992458810478</c:v>
                </c:pt>
                <c:pt idx="4878">
                  <c:v>194.06004924254464</c:v>
                </c:pt>
                <c:pt idx="4879">
                  <c:v>194.17852813659462</c:v>
                </c:pt>
                <c:pt idx="4880">
                  <c:v>194.8535036940375</c:v>
                </c:pt>
                <c:pt idx="4881">
                  <c:v>193.74991779300933</c:v>
                </c:pt>
                <c:pt idx="4882">
                  <c:v>193.74991779300933</c:v>
                </c:pt>
                <c:pt idx="4883">
                  <c:v>193.74991779300933</c:v>
                </c:pt>
                <c:pt idx="4884">
                  <c:v>194.25054390917589</c:v>
                </c:pt>
                <c:pt idx="4885">
                  <c:v>195.18456395230524</c:v>
                </c:pt>
                <c:pt idx="4886">
                  <c:v>195.20728955321445</c:v>
                </c:pt>
                <c:pt idx="4887">
                  <c:v>195.7948182316571</c:v>
                </c:pt>
                <c:pt idx="4888">
                  <c:v>195.66372367387638</c:v>
                </c:pt>
                <c:pt idx="4889">
                  <c:v>195.66372367387638</c:v>
                </c:pt>
                <c:pt idx="4890">
                  <c:v>195.66372367387638</c:v>
                </c:pt>
                <c:pt idx="4891">
                  <c:v>197.02653105227461</c:v>
                </c:pt>
                <c:pt idx="4892">
                  <c:v>195.38427851282586</c:v>
                </c:pt>
                <c:pt idx="4893">
                  <c:v>194.35736524508121</c:v>
                </c:pt>
                <c:pt idx="4894">
                  <c:v>193.83409916504965</c:v>
                </c:pt>
                <c:pt idx="4895">
                  <c:v>193.58725972013625</c:v>
                </c:pt>
                <c:pt idx="4896">
                  <c:v>193.58725972013625</c:v>
                </c:pt>
                <c:pt idx="4897">
                  <c:v>193.58725972013625</c:v>
                </c:pt>
                <c:pt idx="4898">
                  <c:v>193.44481530063095</c:v>
                </c:pt>
                <c:pt idx="4899">
                  <c:v>194.26203417590148</c:v>
                </c:pt>
                <c:pt idx="4900">
                  <c:v>194.1542211683832</c:v>
                </c:pt>
                <c:pt idx="4901">
                  <c:v>194.57189583032388</c:v>
                </c:pt>
                <c:pt idx="4902">
                  <c:v>195.07969348855647</c:v>
                </c:pt>
                <c:pt idx="4903">
                  <c:v>195.07969348855647</c:v>
                </c:pt>
                <c:pt idx="4904">
                  <c:v>195.07969348855647</c:v>
                </c:pt>
                <c:pt idx="4905">
                  <c:v>194.95409693155491</c:v>
                </c:pt>
                <c:pt idx="4906">
                  <c:v>195.21324801413155</c:v>
                </c:pt>
                <c:pt idx="4907">
                  <c:v>195.22539951975676</c:v>
                </c:pt>
                <c:pt idx="4908">
                  <c:v>195.60112024480242</c:v>
                </c:pt>
                <c:pt idx="4909">
                  <c:v>195.1013845076429</c:v>
                </c:pt>
                <c:pt idx="4910">
                  <c:v>195.1013845076429</c:v>
                </c:pt>
                <c:pt idx="4911">
                  <c:v>195.1013845076429</c:v>
                </c:pt>
                <c:pt idx="4912">
                  <c:v>194.60347129792294</c:v>
                </c:pt>
                <c:pt idx="4913">
                  <c:v>194.45333692324388</c:v>
                </c:pt>
                <c:pt idx="4914">
                  <c:v>194.00344549872818</c:v>
                </c:pt>
                <c:pt idx="4915">
                  <c:v>191.81104333374623</c:v>
                </c:pt>
                <c:pt idx="4916">
                  <c:v>193.6717116416776</c:v>
                </c:pt>
                <c:pt idx="4917">
                  <c:v>193.67171164167758</c:v>
                </c:pt>
                <c:pt idx="4918">
                  <c:v>193.67171164167758</c:v>
                </c:pt>
                <c:pt idx="4919">
                  <c:v>193.92572579364889</c:v>
                </c:pt>
                <c:pt idx="4920">
                  <c:v>193.1991929742085</c:v>
                </c:pt>
                <c:pt idx="4921">
                  <c:v>192.53244528096531</c:v>
                </c:pt>
                <c:pt idx="4922">
                  <c:v>193.26701762645277</c:v>
                </c:pt>
                <c:pt idx="4923">
                  <c:v>191.32750293544271</c:v>
                </c:pt>
                <c:pt idx="4924">
                  <c:v>191.32750293544271</c:v>
                </c:pt>
                <c:pt idx="4925">
                  <c:v>191.32750293544271</c:v>
                </c:pt>
                <c:pt idx="4926">
                  <c:v>185.97808453792328</c:v>
                </c:pt>
                <c:pt idx="4927">
                  <c:v>186.66534609201793</c:v>
                </c:pt>
                <c:pt idx="4928">
                  <c:v>186.08610293151136</c:v>
                </c:pt>
                <c:pt idx="4929">
                  <c:v>185.5946864028173</c:v>
                </c:pt>
                <c:pt idx="4930">
                  <c:v>186.67641137916618</c:v>
                </c:pt>
                <c:pt idx="4931">
                  <c:v>186.67641137916618</c:v>
                </c:pt>
                <c:pt idx="4932">
                  <c:v>186.67641137916618</c:v>
                </c:pt>
                <c:pt idx="4933">
                  <c:v>185.34268911482795</c:v>
                </c:pt>
                <c:pt idx="4934">
                  <c:v>183.248914450635</c:v>
                </c:pt>
                <c:pt idx="4935">
                  <c:v>183.79803189214343</c:v>
                </c:pt>
                <c:pt idx="4936">
                  <c:v>184.15418036944581</c:v>
                </c:pt>
                <c:pt idx="4937">
                  <c:v>185.26992660401791</c:v>
                </c:pt>
                <c:pt idx="4938">
                  <c:v>185.26992660401791</c:v>
                </c:pt>
                <c:pt idx="4939">
                  <c:v>185.26992660401791</c:v>
                </c:pt>
                <c:pt idx="4940">
                  <c:v>187.29751260394005</c:v>
                </c:pt>
                <c:pt idx="4941">
                  <c:v>187.63587441532925</c:v>
                </c:pt>
                <c:pt idx="4942">
                  <c:v>187.85792044425193</c:v>
                </c:pt>
                <c:pt idx="4943">
                  <c:v>187.63538669254254</c:v>
                </c:pt>
                <c:pt idx="4944">
                  <c:v>186.93692309064815</c:v>
                </c:pt>
                <c:pt idx="4945">
                  <c:v>186.93692309064812</c:v>
                </c:pt>
                <c:pt idx="4946">
                  <c:v>186.93692309064812</c:v>
                </c:pt>
                <c:pt idx="4947">
                  <c:v>188.05751181872844</c:v>
                </c:pt>
                <c:pt idx="4948">
                  <c:v>189.14331262117867</c:v>
                </c:pt>
                <c:pt idx="4949">
                  <c:v>188.90571094925758</c:v>
                </c:pt>
                <c:pt idx="4950">
                  <c:v>188.9407859506193</c:v>
                </c:pt>
                <c:pt idx="4951">
                  <c:v>188.28023248457382</c:v>
                </c:pt>
                <c:pt idx="4952">
                  <c:v>188.28023248457382</c:v>
                </c:pt>
                <c:pt idx="4953">
                  <c:v>188.28023248457382</c:v>
                </c:pt>
                <c:pt idx="4954">
                  <c:v>189.16669531576156</c:v>
                </c:pt>
                <c:pt idx="4955">
                  <c:v>189.12768919644276</c:v>
                </c:pt>
                <c:pt idx="4956">
                  <c:v>189.87470912838182</c:v>
                </c:pt>
                <c:pt idx="4957">
                  <c:v>190.79830378294176</c:v>
                </c:pt>
                <c:pt idx="4958">
                  <c:v>190.14663620500082</c:v>
                </c:pt>
                <c:pt idx="4959">
                  <c:v>190.14663620500082</c:v>
                </c:pt>
                <c:pt idx="4960">
                  <c:v>190.14663620500082</c:v>
                </c:pt>
                <c:pt idx="4961">
                  <c:v>189.78156478587638</c:v>
                </c:pt>
                <c:pt idx="4962">
                  <c:v>190.77123790312382</c:v>
                </c:pt>
                <c:pt idx="4963">
                  <c:v>190.28241281213101</c:v>
                </c:pt>
                <c:pt idx="4964">
                  <c:v>190.25222467826404</c:v>
                </c:pt>
                <c:pt idx="4965">
                  <c:v>190.59316698222068</c:v>
                </c:pt>
                <c:pt idx="4966">
                  <c:v>190.59316698222065</c:v>
                </c:pt>
                <c:pt idx="4967">
                  <c:v>190.59316698222065</c:v>
                </c:pt>
                <c:pt idx="4968">
                  <c:v>191.19683852367123</c:v>
                </c:pt>
                <c:pt idx="4969">
                  <c:v>191.23122722886433</c:v>
                </c:pt>
                <c:pt idx="4970">
                  <c:v>191.32398853127091</c:v>
                </c:pt>
                <c:pt idx="4971">
                  <c:v>191.2525848437638</c:v>
                </c:pt>
                <c:pt idx="4972">
                  <c:v>191.90060605081638</c:v>
                </c:pt>
                <c:pt idx="4973">
                  <c:v>191.90060605081638</c:v>
                </c:pt>
                <c:pt idx="4974">
                  <c:v>191.90060605081638</c:v>
                </c:pt>
                <c:pt idx="4975">
                  <c:v>191.39848494201442</c:v>
                </c:pt>
                <c:pt idx="4976">
                  <c:v>191.42643949664665</c:v>
                </c:pt>
                <c:pt idx="4977">
                  <c:v>191.34135288332868</c:v>
                </c:pt>
                <c:pt idx="4978">
                  <c:v>192.30665716569086</c:v>
                </c:pt>
                <c:pt idx="4979">
                  <c:v>192.22397456676163</c:v>
                </c:pt>
                <c:pt idx="4980">
                  <c:v>192.22397456676165</c:v>
                </c:pt>
                <c:pt idx="4981">
                  <c:v>192.22397456676165</c:v>
                </c:pt>
                <c:pt idx="4982">
                  <c:v>192.85294336158842</c:v>
                </c:pt>
                <c:pt idx="4983">
                  <c:v>192.87125266058365</c:v>
                </c:pt>
                <c:pt idx="4984">
                  <c:v>192.9694408229096</c:v>
                </c:pt>
                <c:pt idx="4985">
                  <c:v>192.67474772119689</c:v>
                </c:pt>
                <c:pt idx="4986">
                  <c:v>192.41874572487055</c:v>
                </c:pt>
                <c:pt idx="4987">
                  <c:v>192.41874572487055</c:v>
                </c:pt>
                <c:pt idx="4988">
                  <c:v>192.41874572487055</c:v>
                </c:pt>
                <c:pt idx="4989">
                  <c:v>192.6256793732002</c:v>
                </c:pt>
                <c:pt idx="4990">
                  <c:v>191.81685883926343</c:v>
                </c:pt>
                <c:pt idx="4991">
                  <c:v>191.34968690756534</c:v>
                </c:pt>
                <c:pt idx="4992">
                  <c:v>192.79465850887243</c:v>
                </c:pt>
                <c:pt idx="4993">
                  <c:v>191.30395061584755</c:v>
                </c:pt>
                <c:pt idx="4994">
                  <c:v>191.30395061584755</c:v>
                </c:pt>
                <c:pt idx="4995">
                  <c:v>191.30395061584755</c:v>
                </c:pt>
                <c:pt idx="4996">
                  <c:v>192.0598523725198</c:v>
                </c:pt>
                <c:pt idx="4997">
                  <c:v>192.56228190810998</c:v>
                </c:pt>
                <c:pt idx="4998">
                  <c:v>192.4139974070867</c:v>
                </c:pt>
                <c:pt idx="4999">
                  <c:v>192.71036310329214</c:v>
                </c:pt>
                <c:pt idx="5000">
                  <c:v>192.11614376571532</c:v>
                </c:pt>
                <c:pt idx="5001">
                  <c:v>192.11614376571529</c:v>
                </c:pt>
                <c:pt idx="5002">
                  <c:v>192.11614376571529</c:v>
                </c:pt>
                <c:pt idx="5003">
                  <c:v>191.99186307591182</c:v>
                </c:pt>
                <c:pt idx="5004">
                  <c:v>192.05570973155773</c:v>
                </c:pt>
                <c:pt idx="5005">
                  <c:v>192.70247940856231</c:v>
                </c:pt>
                <c:pt idx="5006">
                  <c:v>192.95134311683594</c:v>
                </c:pt>
                <c:pt idx="5007">
                  <c:v>193.92682145395867</c:v>
                </c:pt>
                <c:pt idx="5008">
                  <c:v>193.92682145395867</c:v>
                </c:pt>
                <c:pt idx="5009">
                  <c:v>193.92682145395867</c:v>
                </c:pt>
                <c:pt idx="5010">
                  <c:v>193.40939530596748</c:v>
                </c:pt>
                <c:pt idx="5011">
                  <c:v>192.96564677430479</c:v>
                </c:pt>
                <c:pt idx="5012">
                  <c:v>192.89381034527869</c:v>
                </c:pt>
                <c:pt idx="5013">
                  <c:v>192.31313129960128</c:v>
                </c:pt>
                <c:pt idx="5014">
                  <c:v>191.88259988052957</c:v>
                </c:pt>
                <c:pt idx="5015">
                  <c:v>191.88259988052957</c:v>
                </c:pt>
                <c:pt idx="5016">
                  <c:v>191.88259988052957</c:v>
                </c:pt>
                <c:pt idx="5017">
                  <c:v>192.54957193738159</c:v>
                </c:pt>
                <c:pt idx="5018">
                  <c:v>191.89900200468742</c:v>
                </c:pt>
                <c:pt idx="5019">
                  <c:v>192.28912263348832</c:v>
                </c:pt>
                <c:pt idx="5020">
                  <c:v>192.25663167044419</c:v>
                </c:pt>
                <c:pt idx="5021">
                  <c:v>192.82770216962462</c:v>
                </c:pt>
                <c:pt idx="5022">
                  <c:v>192.82770216962462</c:v>
                </c:pt>
                <c:pt idx="5023">
                  <c:v>192.82770216962462</c:v>
                </c:pt>
                <c:pt idx="5024">
                  <c:v>193.67142275929444</c:v>
                </c:pt>
                <c:pt idx="5025">
                  <c:v>192.80117531171453</c:v>
                </c:pt>
                <c:pt idx="5026">
                  <c:v>192.65332082386308</c:v>
                </c:pt>
                <c:pt idx="5027">
                  <c:v>192.56474266450485</c:v>
                </c:pt>
                <c:pt idx="5028">
                  <c:v>191.68560570287784</c:v>
                </c:pt>
                <c:pt idx="5029">
                  <c:v>191.68560570287787</c:v>
                </c:pt>
                <c:pt idx="5030">
                  <c:v>191.68560570287787</c:v>
                </c:pt>
                <c:pt idx="5031">
                  <c:v>191.36422405690047</c:v>
                </c:pt>
                <c:pt idx="5032">
                  <c:v>191.41493206027482</c:v>
                </c:pt>
                <c:pt idx="5033">
                  <c:v>191.78976920187759</c:v>
                </c:pt>
                <c:pt idx="5034">
                  <c:v>192.51971860077941</c:v>
                </c:pt>
                <c:pt idx="5035">
                  <c:v>192.06646643045926</c:v>
                </c:pt>
                <c:pt idx="5036">
                  <c:v>192.06646643045926</c:v>
                </c:pt>
                <c:pt idx="5037">
                  <c:v>192.06646643045926</c:v>
                </c:pt>
                <c:pt idx="5038">
                  <c:v>191.95332292583134</c:v>
                </c:pt>
                <c:pt idx="5039">
                  <c:v>192.0746318669776</c:v>
                </c:pt>
                <c:pt idx="5040">
                  <c:v>192.3756340479909</c:v>
                </c:pt>
                <c:pt idx="5041">
                  <c:v>191.66422810112473</c:v>
                </c:pt>
                <c:pt idx="5042">
                  <c:v>191.75045252647311</c:v>
                </c:pt>
                <c:pt idx="5043">
                  <c:v>191.75045252647311</c:v>
                </c:pt>
                <c:pt idx="5044">
                  <c:v>191.75045252647311</c:v>
                </c:pt>
                <c:pt idx="5045">
                  <c:v>191.50408628591057</c:v>
                </c:pt>
                <c:pt idx="5046">
                  <c:v>190.66588352231093</c:v>
                </c:pt>
                <c:pt idx="5047">
                  <c:v>190.75500534797894</c:v>
                </c:pt>
                <c:pt idx="5048">
                  <c:v>189.31478170767721</c:v>
                </c:pt>
                <c:pt idx="5049">
                  <c:v>190.02330335066691</c:v>
                </c:pt>
                <c:pt idx="5050">
                  <c:v>190.02330335066694</c:v>
                </c:pt>
                <c:pt idx="5051">
                  <c:v>190.02330335066694</c:v>
                </c:pt>
                <c:pt idx="5052">
                  <c:v>190.45744426513602</c:v>
                </c:pt>
                <c:pt idx="5053">
                  <c:v>191.17347862830809</c:v>
                </c:pt>
                <c:pt idx="5054">
                  <c:v>191.36468369562616</c:v>
                </c:pt>
                <c:pt idx="5055">
                  <c:v>193.09914062603048</c:v>
                </c:pt>
                <c:pt idx="5056">
                  <c:v>192.3331672096264</c:v>
                </c:pt>
                <c:pt idx="5057">
                  <c:v>192.33316720962637</c:v>
                </c:pt>
                <c:pt idx="5058">
                  <c:v>192.33316720962637</c:v>
                </c:pt>
                <c:pt idx="5059">
                  <c:v>191.43341699359931</c:v>
                </c:pt>
                <c:pt idx="5060">
                  <c:v>190.81587244256107</c:v>
                </c:pt>
                <c:pt idx="5061">
                  <c:v>190.4261816944304</c:v>
                </c:pt>
                <c:pt idx="5062">
                  <c:v>190.90866304262099</c:v>
                </c:pt>
                <c:pt idx="5063">
                  <c:v>190.59117772357638</c:v>
                </c:pt>
                <c:pt idx="5064">
                  <c:v>190.59117772357641</c:v>
                </c:pt>
                <c:pt idx="5065">
                  <c:v>190.59117772357641</c:v>
                </c:pt>
                <c:pt idx="5066">
                  <c:v>190.03668487745566</c:v>
                </c:pt>
                <c:pt idx="5067">
                  <c:v>190.81453754170096</c:v>
                </c:pt>
                <c:pt idx="5068">
                  <c:v>191.06334221397452</c:v>
                </c:pt>
                <c:pt idx="5069">
                  <c:v>190.77680846634715</c:v>
                </c:pt>
                <c:pt idx="5070">
                  <c:v>191.85065476767809</c:v>
                </c:pt>
                <c:pt idx="5071">
                  <c:v>191.85065476767807</c:v>
                </c:pt>
                <c:pt idx="5072">
                  <c:v>191.85065476767807</c:v>
                </c:pt>
                <c:pt idx="5073">
                  <c:v>191.3500709381118</c:v>
                </c:pt>
                <c:pt idx="5074">
                  <c:v>192.26820399865139</c:v>
                </c:pt>
                <c:pt idx="5075">
                  <c:v>191.98006410227828</c:v>
                </c:pt>
                <c:pt idx="5076">
                  <c:v>192.08533195965552</c:v>
                </c:pt>
                <c:pt idx="5077">
                  <c:v>191.50653116611795</c:v>
                </c:pt>
                <c:pt idx="5078">
                  <c:v>191.50653116611795</c:v>
                </c:pt>
                <c:pt idx="5079">
                  <c:v>191.50653116611795</c:v>
                </c:pt>
                <c:pt idx="5080">
                  <c:v>191.90090073864516</c:v>
                </c:pt>
                <c:pt idx="5081">
                  <c:v>191.85018000421221</c:v>
                </c:pt>
                <c:pt idx="5082">
                  <c:v>191.70458518093591</c:v>
                </c:pt>
                <c:pt idx="5083">
                  <c:v>192.17073419006937</c:v>
                </c:pt>
                <c:pt idx="5084">
                  <c:v>191.65004938267717</c:v>
                </c:pt>
                <c:pt idx="5085">
                  <c:v>191.65004938267717</c:v>
                </c:pt>
                <c:pt idx="5086">
                  <c:v>191.65004938267717</c:v>
                </c:pt>
                <c:pt idx="5087">
                  <c:v>191.40147983643374</c:v>
                </c:pt>
                <c:pt idx="5088">
                  <c:v>190.66701510942156</c:v>
                </c:pt>
                <c:pt idx="5089">
                  <c:v>189.77834944359341</c:v>
                </c:pt>
                <c:pt idx="5090">
                  <c:v>189.23929065491356</c:v>
                </c:pt>
                <c:pt idx="5091">
                  <c:v>189.28467582124114</c:v>
                </c:pt>
                <c:pt idx="5092">
                  <c:v>189.28467582124114</c:v>
                </c:pt>
                <c:pt idx="5093">
                  <c:v>189.28467582124114</c:v>
                </c:pt>
                <c:pt idx="5094">
                  <c:v>189.38379527866852</c:v>
                </c:pt>
                <c:pt idx="5095">
                  <c:v>188.58266394593099</c:v>
                </c:pt>
                <c:pt idx="5096">
                  <c:v>188.65983619147397</c:v>
                </c:pt>
                <c:pt idx="5097">
                  <c:v>188.04985789166668</c:v>
                </c:pt>
                <c:pt idx="5098">
                  <c:v>188.25444577550218</c:v>
                </c:pt>
                <c:pt idx="5099">
                  <c:v>188.25444577550218</c:v>
                </c:pt>
                <c:pt idx="5100">
                  <c:v>188.25444577550218</c:v>
                </c:pt>
                <c:pt idx="5101">
                  <c:v>188.55365705806705</c:v>
                </c:pt>
                <c:pt idx="5102">
                  <c:v>188.30948126505962</c:v>
                </c:pt>
                <c:pt idx="5103">
                  <c:v>188.90928998595248</c:v>
                </c:pt>
                <c:pt idx="5104">
                  <c:v>188.8424154260575</c:v>
                </c:pt>
                <c:pt idx="5105">
                  <c:v>189.24029231118018</c:v>
                </c:pt>
                <c:pt idx="5106">
                  <c:v>189.24029231118018</c:v>
                </c:pt>
                <c:pt idx="5107">
                  <c:v>189.24029231118018</c:v>
                </c:pt>
                <c:pt idx="5108">
                  <c:v>189.24029231118018</c:v>
                </c:pt>
                <c:pt idx="5109">
                  <c:v>189.61347106105956</c:v>
                </c:pt>
                <c:pt idx="5110">
                  <c:v>189.68121725899562</c:v>
                </c:pt>
                <c:pt idx="5111">
                  <c:v>189.893199325311</c:v>
                </c:pt>
                <c:pt idx="5112">
                  <c:v>189.88847415006711</c:v>
                </c:pt>
                <c:pt idx="5113">
                  <c:v>189.88847415006708</c:v>
                </c:pt>
                <c:pt idx="5114">
                  <c:v>189.88847415006708</c:v>
                </c:pt>
                <c:pt idx="5115">
                  <c:v>190.46003254333678</c:v>
                </c:pt>
                <c:pt idx="5116">
                  <c:v>190.60806968130728</c:v>
                </c:pt>
                <c:pt idx="5117">
                  <c:v>190.32010899788065</c:v>
                </c:pt>
                <c:pt idx="5118">
                  <c:v>190.88582182827457</c:v>
                </c:pt>
                <c:pt idx="5119">
                  <c:v>190.58522887920304</c:v>
                </c:pt>
                <c:pt idx="5120">
                  <c:v>190.58522887920304</c:v>
                </c:pt>
                <c:pt idx="5121">
                  <c:v>190.58522887920304</c:v>
                </c:pt>
                <c:pt idx="5122">
                  <c:v>190.21139152014968</c:v>
                </c:pt>
                <c:pt idx="5123">
                  <c:v>189.71506946369834</c:v>
                </c:pt>
                <c:pt idx="5124">
                  <c:v>189.75662906804658</c:v>
                </c:pt>
                <c:pt idx="5125">
                  <c:v>189.60916906289847</c:v>
                </c:pt>
                <c:pt idx="5126">
                  <c:v>189.2370607213519</c:v>
                </c:pt>
                <c:pt idx="5127">
                  <c:v>189.2370607213519</c:v>
                </c:pt>
                <c:pt idx="5128">
                  <c:v>189.2370607213519</c:v>
                </c:pt>
                <c:pt idx="5129">
                  <c:v>189.31437802545551</c:v>
                </c:pt>
                <c:pt idx="5130">
                  <c:v>190.25854975629855</c:v>
                </c:pt>
                <c:pt idx="5131">
                  <c:v>190.43228451848711</c:v>
                </c:pt>
                <c:pt idx="5132">
                  <c:v>190.96148574581119</c:v>
                </c:pt>
                <c:pt idx="5133">
                  <c:v>190.72030539267871</c:v>
                </c:pt>
                <c:pt idx="5134">
                  <c:v>190.72030539267874</c:v>
                </c:pt>
                <c:pt idx="5135">
                  <c:v>190.72030539267874</c:v>
                </c:pt>
                <c:pt idx="5136">
                  <c:v>191.4433713240015</c:v>
                </c:pt>
                <c:pt idx="5137">
                  <c:v>191.38555335900537</c:v>
                </c:pt>
                <c:pt idx="5138">
                  <c:v>191.07477320255413</c:v>
                </c:pt>
                <c:pt idx="5139">
                  <c:v>191.18942488808747</c:v>
                </c:pt>
                <c:pt idx="5140">
                  <c:v>191.80400657334826</c:v>
                </c:pt>
                <c:pt idx="5141">
                  <c:v>191.80400657334826</c:v>
                </c:pt>
                <c:pt idx="5142">
                  <c:v>191.80400657334826</c:v>
                </c:pt>
                <c:pt idx="5143">
                  <c:v>191.68222048461215</c:v>
                </c:pt>
                <c:pt idx="5144">
                  <c:v>192.21453129286411</c:v>
                </c:pt>
                <c:pt idx="5145">
                  <c:v>192.74535655613286</c:v>
                </c:pt>
                <c:pt idx="5146">
                  <c:v>193.14971976652481</c:v>
                </c:pt>
                <c:pt idx="5147">
                  <c:v>193.12588044958667</c:v>
                </c:pt>
                <c:pt idx="5148">
                  <c:v>193.12588044958667</c:v>
                </c:pt>
                <c:pt idx="5149">
                  <c:v>193.12588044958667</c:v>
                </c:pt>
                <c:pt idx="5150">
                  <c:v>193.04895122492925</c:v>
                </c:pt>
                <c:pt idx="5151">
                  <c:v>194.31782262685758</c:v>
                </c:pt>
                <c:pt idx="5152">
                  <c:v>194.56591210093441</c:v>
                </c:pt>
                <c:pt idx="5153">
                  <c:v>193.66235722206852</c:v>
                </c:pt>
                <c:pt idx="5154">
                  <c:v>193.9022020526813</c:v>
                </c:pt>
                <c:pt idx="5155">
                  <c:v>193.9022020526813</c:v>
                </c:pt>
                <c:pt idx="5156">
                  <c:v>193.9022020526813</c:v>
                </c:pt>
                <c:pt idx="5157">
                  <c:v>193.97249580273868</c:v>
                </c:pt>
                <c:pt idx="5158">
                  <c:v>194.67555000434507</c:v>
                </c:pt>
                <c:pt idx="5159">
                  <c:v>194.00209280730135</c:v>
                </c:pt>
                <c:pt idx="5160">
                  <c:v>193.90532544378624</c:v>
                </c:pt>
                <c:pt idx="5161">
                  <c:v>193.1199410189374</c:v>
                </c:pt>
                <c:pt idx="5162">
                  <c:v>193.11994101893742</c:v>
                </c:pt>
                <c:pt idx="5163">
                  <c:v>193.11994101893742</c:v>
                </c:pt>
                <c:pt idx="5164">
                  <c:v>193.59832413158639</c:v>
                </c:pt>
                <c:pt idx="5165">
                  <c:v>193.95548572753003</c:v>
                </c:pt>
                <c:pt idx="5166">
                  <c:v>193.21998496401761</c:v>
                </c:pt>
                <c:pt idx="5167">
                  <c:v>193.82746210543138</c:v>
                </c:pt>
                <c:pt idx="5168">
                  <c:v>193.23455130042024</c:v>
                </c:pt>
                <c:pt idx="5169">
                  <c:v>193.23455130042021</c:v>
                </c:pt>
                <c:pt idx="5170">
                  <c:v>193.23455130042021</c:v>
                </c:pt>
                <c:pt idx="5171">
                  <c:v>193.76059297471076</c:v>
                </c:pt>
                <c:pt idx="5172">
                  <c:v>194.0426163393864</c:v>
                </c:pt>
                <c:pt idx="5173">
                  <c:v>193.50676797544875</c:v>
                </c:pt>
                <c:pt idx="5174">
                  <c:v>193.71720606045668</c:v>
                </c:pt>
                <c:pt idx="5175">
                  <c:v>192.89620190765189</c:v>
                </c:pt>
                <c:pt idx="5176">
                  <c:v>192.89620190765189</c:v>
                </c:pt>
                <c:pt idx="5177">
                  <c:v>192.89620190765189</c:v>
                </c:pt>
                <c:pt idx="5178">
                  <c:v>193.49398010959933</c:v>
                </c:pt>
                <c:pt idx="5179">
                  <c:v>193.51331764129597</c:v>
                </c:pt>
                <c:pt idx="5180">
                  <c:v>193.69814300619052</c:v>
                </c:pt>
                <c:pt idx="5181">
                  <c:v>193.595912951532</c:v>
                </c:pt>
                <c:pt idx="5182">
                  <c:v>193.81627004963732</c:v>
                </c:pt>
                <c:pt idx="5183">
                  <c:v>193.81627004963732</c:v>
                </c:pt>
                <c:pt idx="5184">
                  <c:v>193.81627004963732</c:v>
                </c:pt>
                <c:pt idx="5185">
                  <c:v>194.01651027491468</c:v>
                </c:pt>
                <c:pt idx="5186">
                  <c:v>193.85212642026502</c:v>
                </c:pt>
                <c:pt idx="5187">
                  <c:v>194.06221831468585</c:v>
                </c:pt>
                <c:pt idx="5188">
                  <c:v>194.04596852579766</c:v>
                </c:pt>
                <c:pt idx="5189">
                  <c:v>194.22458600306828</c:v>
                </c:pt>
                <c:pt idx="5190">
                  <c:v>194.22458600306828</c:v>
                </c:pt>
                <c:pt idx="5191">
                  <c:v>194.22458600306828</c:v>
                </c:pt>
                <c:pt idx="5192">
                  <c:v>194.755632005206</c:v>
                </c:pt>
                <c:pt idx="5193">
                  <c:v>194.04571491369117</c:v>
                </c:pt>
                <c:pt idx="5194">
                  <c:v>193.40698017932141</c:v>
                </c:pt>
                <c:pt idx="5195">
                  <c:v>194.19714857616569</c:v>
                </c:pt>
                <c:pt idx="5196">
                  <c:v>194.25355197656037</c:v>
                </c:pt>
                <c:pt idx="5197">
                  <c:v>194.25355197656037</c:v>
                </c:pt>
                <c:pt idx="5198">
                  <c:v>194.25355197656037</c:v>
                </c:pt>
                <c:pt idx="5199">
                  <c:v>193.8757721423126</c:v>
                </c:pt>
                <c:pt idx="5200">
                  <c:v>193.84049787847033</c:v>
                </c:pt>
                <c:pt idx="5201">
                  <c:v>193.399630287245</c:v>
                </c:pt>
                <c:pt idx="5202">
                  <c:v>193.80986992550879</c:v>
                </c:pt>
                <c:pt idx="5203">
                  <c:v>194.66422289433615</c:v>
                </c:pt>
                <c:pt idx="5204">
                  <c:v>194.66422289433615</c:v>
                </c:pt>
                <c:pt idx="5205">
                  <c:v>194.66422289433615</c:v>
                </c:pt>
                <c:pt idx="5206">
                  <c:v>195.4322661750243</c:v>
                </c:pt>
                <c:pt idx="5207">
                  <c:v>195.35027606959403</c:v>
                </c:pt>
                <c:pt idx="5208">
                  <c:v>196.07314850137365</c:v>
                </c:pt>
                <c:pt idx="5209">
                  <c:v>196.26206349340245</c:v>
                </c:pt>
                <c:pt idx="5210">
                  <c:v>196.14773722788772</c:v>
                </c:pt>
                <c:pt idx="5211">
                  <c:v>196.14773722788772</c:v>
                </c:pt>
                <c:pt idx="5212">
                  <c:v>196.14773722788772</c:v>
                </c:pt>
                <c:pt idx="5213">
                  <c:v>197.04826875674507</c:v>
                </c:pt>
                <c:pt idx="5214">
                  <c:v>196.92282593203726</c:v>
                </c:pt>
                <c:pt idx="5215">
                  <c:v>197.79387640773027</c:v>
                </c:pt>
                <c:pt idx="5216">
                  <c:v>198.64075068674362</c:v>
                </c:pt>
                <c:pt idx="5217">
                  <c:v>198.64075068674362</c:v>
                </c:pt>
                <c:pt idx="5218">
                  <c:v>198.64075068674362</c:v>
                </c:pt>
                <c:pt idx="5219">
                  <c:v>198.64075068674362</c:v>
                </c:pt>
                <c:pt idx="5220">
                  <c:v>198.64075068674362</c:v>
                </c:pt>
                <c:pt idx="5221">
                  <c:v>199.69756794387646</c:v>
                </c:pt>
                <c:pt idx="5222">
                  <c:v>200.47145867118437</c:v>
                </c:pt>
                <c:pt idx="5223">
                  <c:v>200.11106865248809</c:v>
                </c:pt>
                <c:pt idx="5224">
                  <c:v>199.87101773318059</c:v>
                </c:pt>
                <c:pt idx="5225">
                  <c:v>199.87101773318059</c:v>
                </c:pt>
                <c:pt idx="5226">
                  <c:v>199.87101773318059</c:v>
                </c:pt>
                <c:pt idx="5227">
                  <c:v>198.52540926124075</c:v>
                </c:pt>
                <c:pt idx="5228">
                  <c:v>198.74700691243314</c:v>
                </c:pt>
                <c:pt idx="5229">
                  <c:v>199.37393076565778</c:v>
                </c:pt>
                <c:pt idx="5230">
                  <c:v>199.84870398117252</c:v>
                </c:pt>
                <c:pt idx="5231">
                  <c:v>200.19838680208767</c:v>
                </c:pt>
                <c:pt idx="5232">
                  <c:v>200.19838680208767</c:v>
                </c:pt>
                <c:pt idx="5233">
                  <c:v>200.19838680208767</c:v>
                </c:pt>
                <c:pt idx="5234">
                  <c:v>200.20663966206291</c:v>
                </c:pt>
                <c:pt idx="5235">
                  <c:v>201.05346747611063</c:v>
                </c:pt>
                <c:pt idx="5236">
                  <c:v>199.5931886802754</c:v>
                </c:pt>
                <c:pt idx="5237">
                  <c:v>199.02491212183287</c:v>
                </c:pt>
                <c:pt idx="5238">
                  <c:v>198.74310096724741</c:v>
                </c:pt>
                <c:pt idx="5239">
                  <c:v>198.74310096724741</c:v>
                </c:pt>
                <c:pt idx="5240">
                  <c:v>198.74310096724741</c:v>
                </c:pt>
                <c:pt idx="5241">
                  <c:v>198.7034755242853</c:v>
                </c:pt>
                <c:pt idx="5242">
                  <c:v>198.93253649941974</c:v>
                </c:pt>
                <c:pt idx="5243">
                  <c:v>198.86451119008851</c:v>
                </c:pt>
                <c:pt idx="5244">
                  <c:v>198.52105283324667</c:v>
                </c:pt>
                <c:pt idx="5245">
                  <c:v>197.96100110962385</c:v>
                </c:pt>
                <c:pt idx="5246">
                  <c:v>197.96100110962388</c:v>
                </c:pt>
                <c:pt idx="5247">
                  <c:v>197.96100110962388</c:v>
                </c:pt>
                <c:pt idx="5248">
                  <c:v>197.92664921866856</c:v>
                </c:pt>
                <c:pt idx="5249">
                  <c:v>197.25581884094413</c:v>
                </c:pt>
                <c:pt idx="5250">
                  <c:v>196.55646095555269</c:v>
                </c:pt>
                <c:pt idx="5251">
                  <c:v>196.43720242278044</c:v>
                </c:pt>
                <c:pt idx="5252">
                  <c:v>197.21695594504757</c:v>
                </c:pt>
                <c:pt idx="5253">
                  <c:v>197.21695594504754</c:v>
                </c:pt>
                <c:pt idx="5254">
                  <c:v>197.21695594504754</c:v>
                </c:pt>
                <c:pt idx="5255">
                  <c:v>197.50394292646425</c:v>
                </c:pt>
                <c:pt idx="5256">
                  <c:v>197.72937622838285</c:v>
                </c:pt>
                <c:pt idx="5257">
                  <c:v>198.44016068288354</c:v>
                </c:pt>
                <c:pt idx="5258">
                  <c:v>198.39773405468927</c:v>
                </c:pt>
                <c:pt idx="5259">
                  <c:v>198.88463238579516</c:v>
                </c:pt>
                <c:pt idx="5260">
                  <c:v>198.88463238579513</c:v>
                </c:pt>
                <c:pt idx="5261">
                  <c:v>198.88463238579513</c:v>
                </c:pt>
                <c:pt idx="5262">
                  <c:v>198.437424900727</c:v>
                </c:pt>
                <c:pt idx="5263">
                  <c:v>199.06189507399864</c:v>
                </c:pt>
                <c:pt idx="5264">
                  <c:v>198.68435244483999</c:v>
                </c:pt>
                <c:pt idx="5265">
                  <c:v>199.4733901589197</c:v>
                </c:pt>
                <c:pt idx="5266">
                  <c:v>199.10583640670481</c:v>
                </c:pt>
                <c:pt idx="5267">
                  <c:v>199.10583640670481</c:v>
                </c:pt>
                <c:pt idx="5268">
                  <c:v>199.10583640670481</c:v>
                </c:pt>
                <c:pt idx="5269">
                  <c:v>198.5304731933274</c:v>
                </c:pt>
                <c:pt idx="5270">
                  <c:v>198.1521835330999</c:v>
                </c:pt>
                <c:pt idx="5271">
                  <c:v>199.00190978230512</c:v>
                </c:pt>
                <c:pt idx="5272">
                  <c:v>198.90557382583634</c:v>
                </c:pt>
                <c:pt idx="5273">
                  <c:v>198.17234478566732</c:v>
                </c:pt>
                <c:pt idx="5274">
                  <c:v>198.17234478566732</c:v>
                </c:pt>
                <c:pt idx="5275">
                  <c:v>198.17234478566732</c:v>
                </c:pt>
                <c:pt idx="5276">
                  <c:v>197.40813132277071</c:v>
                </c:pt>
                <c:pt idx="5277">
                  <c:v>198.53703607651994</c:v>
                </c:pt>
                <c:pt idx="5278">
                  <c:v>199.43541464547295</c:v>
                </c:pt>
                <c:pt idx="5279">
                  <c:v>198.01262082549957</c:v>
                </c:pt>
                <c:pt idx="5280">
                  <c:v>198.62611156132348</c:v>
                </c:pt>
                <c:pt idx="5281">
                  <c:v>198.62611156132346</c:v>
                </c:pt>
                <c:pt idx="5282">
                  <c:v>198.62611156132346</c:v>
                </c:pt>
                <c:pt idx="5283">
                  <c:v>198.06208478974162</c:v>
                </c:pt>
                <c:pt idx="5284">
                  <c:v>197.80069867799082</c:v>
                </c:pt>
                <c:pt idx="5285">
                  <c:v>198.11414619796949</c:v>
                </c:pt>
                <c:pt idx="5286">
                  <c:v>197.82255484911872</c:v>
                </c:pt>
                <c:pt idx="5287">
                  <c:v>198.21554316389427</c:v>
                </c:pt>
                <c:pt idx="5288">
                  <c:v>198.21554316389427</c:v>
                </c:pt>
                <c:pt idx="5289">
                  <c:v>198.21554316389427</c:v>
                </c:pt>
                <c:pt idx="5290">
                  <c:v>197.43087681549139</c:v>
                </c:pt>
                <c:pt idx="5291">
                  <c:v>196.44902971304876</c:v>
                </c:pt>
                <c:pt idx="5292">
                  <c:v>196.68874102725695</c:v>
                </c:pt>
                <c:pt idx="5293">
                  <c:v>196.9048267652995</c:v>
                </c:pt>
                <c:pt idx="5294">
                  <c:v>198.34710257701806</c:v>
                </c:pt>
                <c:pt idx="5295">
                  <c:v>198.34710257701806</c:v>
                </c:pt>
                <c:pt idx="5296">
                  <c:v>198.34710257701806</c:v>
                </c:pt>
                <c:pt idx="5297">
                  <c:v>197.05992401943277</c:v>
                </c:pt>
                <c:pt idx="5298">
                  <c:v>197.46663680042442</c:v>
                </c:pt>
                <c:pt idx="5299">
                  <c:v>198.10887096835776</c:v>
                </c:pt>
                <c:pt idx="5300">
                  <c:v>197.9104457164733</c:v>
                </c:pt>
                <c:pt idx="5301">
                  <c:v>198.12996552739793</c:v>
                </c:pt>
                <c:pt idx="5302">
                  <c:v>198.12996552739793</c:v>
                </c:pt>
                <c:pt idx="5303">
                  <c:v>198.12996552739793</c:v>
                </c:pt>
                <c:pt idx="5304">
                  <c:v>198.16391858793656</c:v>
                </c:pt>
                <c:pt idx="5305">
                  <c:v>198.06760093119391</c:v>
                </c:pt>
                <c:pt idx="5306">
                  <c:v>197.20378436625623</c:v>
                </c:pt>
                <c:pt idx="5307">
                  <c:v>197.7295389797936</c:v>
                </c:pt>
                <c:pt idx="5308">
                  <c:v>198.23838315404629</c:v>
                </c:pt>
                <c:pt idx="5309">
                  <c:v>198.23838315404629</c:v>
                </c:pt>
                <c:pt idx="5310">
                  <c:v>198.23838315404629</c:v>
                </c:pt>
                <c:pt idx="5311">
                  <c:v>199.09421526237881</c:v>
                </c:pt>
                <c:pt idx="5312">
                  <c:v>200.21718935448069</c:v>
                </c:pt>
                <c:pt idx="5313">
                  <c:v>200.30798212279129</c:v>
                </c:pt>
                <c:pt idx="5314">
                  <c:v>199.66138153394655</c:v>
                </c:pt>
                <c:pt idx="5315">
                  <c:v>200.03945750521206</c:v>
                </c:pt>
                <c:pt idx="5316">
                  <c:v>200.03945750521203</c:v>
                </c:pt>
                <c:pt idx="5317">
                  <c:v>200.03945750521203</c:v>
                </c:pt>
                <c:pt idx="5318">
                  <c:v>200.12797060254249</c:v>
                </c:pt>
                <c:pt idx="5319">
                  <c:v>199.48049442744016</c:v>
                </c:pt>
                <c:pt idx="5320">
                  <c:v>200.20039186122963</c:v>
                </c:pt>
                <c:pt idx="5321">
                  <c:v>200.88817163878767</c:v>
                </c:pt>
                <c:pt idx="5322">
                  <c:v>200.82968029338227</c:v>
                </c:pt>
                <c:pt idx="5323">
                  <c:v>200.82968029338224</c:v>
                </c:pt>
                <c:pt idx="5324">
                  <c:v>200.82968029338224</c:v>
                </c:pt>
                <c:pt idx="5325">
                  <c:v>201.43434346574639</c:v>
                </c:pt>
                <c:pt idx="5326">
                  <c:v>201.37155629242321</c:v>
                </c:pt>
                <c:pt idx="5327">
                  <c:v>201.89163700636701</c:v>
                </c:pt>
                <c:pt idx="5328">
                  <c:v>201.46319271125395</c:v>
                </c:pt>
                <c:pt idx="5329">
                  <c:v>201.00014659733682</c:v>
                </c:pt>
                <c:pt idx="5330">
                  <c:v>201.00014659733682</c:v>
                </c:pt>
                <c:pt idx="5331">
                  <c:v>201.00014659733682</c:v>
                </c:pt>
                <c:pt idx="5332">
                  <c:v>201.20952261766897</c:v>
                </c:pt>
                <c:pt idx="5333">
                  <c:v>200.79466286124998</c:v>
                </c:pt>
                <c:pt idx="5334">
                  <c:v>201.24444837010412</c:v>
                </c:pt>
                <c:pt idx="5335">
                  <c:v>202.06016005803721</c:v>
                </c:pt>
                <c:pt idx="5336">
                  <c:v>201.72883973588733</c:v>
                </c:pt>
                <c:pt idx="5337">
                  <c:v>201.72883973588733</c:v>
                </c:pt>
                <c:pt idx="5338">
                  <c:v>201.72883973588733</c:v>
                </c:pt>
                <c:pt idx="5339">
                  <c:v>202.02629563912274</c:v>
                </c:pt>
                <c:pt idx="5340">
                  <c:v>201.45708829650067</c:v>
                </c:pt>
                <c:pt idx="5341">
                  <c:v>201.8323174637633</c:v>
                </c:pt>
                <c:pt idx="5342">
                  <c:v>202.23251034331929</c:v>
                </c:pt>
                <c:pt idx="5343">
                  <c:v>202.22644731740351</c:v>
                </c:pt>
                <c:pt idx="5344">
                  <c:v>202.22644731740351</c:v>
                </c:pt>
                <c:pt idx="5345">
                  <c:v>202.22644731740351</c:v>
                </c:pt>
                <c:pt idx="5346">
                  <c:v>202.66604587440978</c:v>
                </c:pt>
                <c:pt idx="5347">
                  <c:v>202.41548931949131</c:v>
                </c:pt>
                <c:pt idx="5348">
                  <c:v>202.3571990169894</c:v>
                </c:pt>
                <c:pt idx="5349">
                  <c:v>201.89829081642583</c:v>
                </c:pt>
                <c:pt idx="5350">
                  <c:v>202.02061476314603</c:v>
                </c:pt>
                <c:pt idx="5351">
                  <c:v>202.02061476314603</c:v>
                </c:pt>
                <c:pt idx="5352">
                  <c:v>202.02061476314603</c:v>
                </c:pt>
                <c:pt idx="5353">
                  <c:v>201.79593034130372</c:v>
                </c:pt>
                <c:pt idx="5354">
                  <c:v>201.2977240784694</c:v>
                </c:pt>
                <c:pt idx="5355">
                  <c:v>201.88727805893475</c:v>
                </c:pt>
                <c:pt idx="5356">
                  <c:v>202.29181458254385</c:v>
                </c:pt>
                <c:pt idx="5357">
                  <c:v>201.89795460898432</c:v>
                </c:pt>
                <c:pt idx="5358">
                  <c:v>201.89795460898432</c:v>
                </c:pt>
                <c:pt idx="5359">
                  <c:v>201.89795460898432</c:v>
                </c:pt>
                <c:pt idx="5360">
                  <c:v>202.01340025651211</c:v>
                </c:pt>
                <c:pt idx="5361">
                  <c:v>202.66303941575816</c:v>
                </c:pt>
                <c:pt idx="5362">
                  <c:v>202.13020614341943</c:v>
                </c:pt>
                <c:pt idx="5363">
                  <c:v>202.54973137763869</c:v>
                </c:pt>
                <c:pt idx="5364">
                  <c:v>202.51523941246941</c:v>
                </c:pt>
                <c:pt idx="5365">
                  <c:v>202.51523941246941</c:v>
                </c:pt>
                <c:pt idx="5366">
                  <c:v>202.51523941246941</c:v>
                </c:pt>
                <c:pt idx="5367">
                  <c:v>202.04644302202658</c:v>
                </c:pt>
                <c:pt idx="5368">
                  <c:v>201.81797240138908</c:v>
                </c:pt>
                <c:pt idx="5369">
                  <c:v>201.25645361911535</c:v>
                </c:pt>
                <c:pt idx="5370">
                  <c:v>201.92944659508322</c:v>
                </c:pt>
                <c:pt idx="5371">
                  <c:v>202.2823756877392</c:v>
                </c:pt>
                <c:pt idx="5372">
                  <c:v>202.28237568773918</c:v>
                </c:pt>
                <c:pt idx="5373">
                  <c:v>202.28237568773918</c:v>
                </c:pt>
                <c:pt idx="5374">
                  <c:v>202.45054542390767</c:v>
                </c:pt>
                <c:pt idx="5375">
                  <c:v>202.88523685348017</c:v>
                </c:pt>
                <c:pt idx="5376">
                  <c:v>203.1410286204607</c:v>
                </c:pt>
                <c:pt idx="5377">
                  <c:v>202.57502919863373</c:v>
                </c:pt>
                <c:pt idx="5378">
                  <c:v>202.84342417201589</c:v>
                </c:pt>
                <c:pt idx="5379">
                  <c:v>202.84342417201586</c:v>
                </c:pt>
                <c:pt idx="5380">
                  <c:v>202.84342417201586</c:v>
                </c:pt>
                <c:pt idx="5381">
                  <c:v>202.95718726616585</c:v>
                </c:pt>
                <c:pt idx="5382">
                  <c:v>202.42529384761423</c:v>
                </c:pt>
                <c:pt idx="5383">
                  <c:v>202.27796465079638</c:v>
                </c:pt>
                <c:pt idx="5384">
                  <c:v>203.09212753131359</c:v>
                </c:pt>
                <c:pt idx="5385">
                  <c:v>202.99381483617634</c:v>
                </c:pt>
                <c:pt idx="5386">
                  <c:v>202.99381483617634</c:v>
                </c:pt>
                <c:pt idx="5387">
                  <c:v>202.99381483617634</c:v>
                </c:pt>
                <c:pt idx="5388">
                  <c:v>202.68915120023667</c:v>
                </c:pt>
                <c:pt idx="5389">
                  <c:v>203.21542614829451</c:v>
                </c:pt>
                <c:pt idx="5390">
                  <c:v>203.10104956003633</c:v>
                </c:pt>
                <c:pt idx="5391">
                  <c:v>202.58621154372508</c:v>
                </c:pt>
                <c:pt idx="5392">
                  <c:v>202.45265358884251</c:v>
                </c:pt>
                <c:pt idx="5393">
                  <c:v>202.45265358884251</c:v>
                </c:pt>
                <c:pt idx="5394">
                  <c:v>202.45265358884251</c:v>
                </c:pt>
                <c:pt idx="5395">
                  <c:v>202.36312928966879</c:v>
                </c:pt>
                <c:pt idx="5396">
                  <c:v>202.78275200164418</c:v>
                </c:pt>
                <c:pt idx="5397">
                  <c:v>202.77400146609662</c:v>
                </c:pt>
                <c:pt idx="5398">
                  <c:v>203.03847925721686</c:v>
                </c:pt>
                <c:pt idx="5399">
                  <c:v>203.28313434973134</c:v>
                </c:pt>
                <c:pt idx="5400">
                  <c:v>203.28313434973134</c:v>
                </c:pt>
                <c:pt idx="5401">
                  <c:v>203.28313434973134</c:v>
                </c:pt>
                <c:pt idx="5402">
                  <c:v>202.75723585590325</c:v>
                </c:pt>
                <c:pt idx="5403">
                  <c:v>202.10779715349582</c:v>
                </c:pt>
                <c:pt idx="5404">
                  <c:v>202.46643220843998</c:v>
                </c:pt>
                <c:pt idx="5405">
                  <c:v>201.29813935376743</c:v>
                </c:pt>
                <c:pt idx="5406">
                  <c:v>201.73409294825836</c:v>
                </c:pt>
                <c:pt idx="5407">
                  <c:v>201.73409294825836</c:v>
                </c:pt>
                <c:pt idx="5408">
                  <c:v>201.73409294825836</c:v>
                </c:pt>
                <c:pt idx="5409">
                  <c:v>201.64317612132299</c:v>
                </c:pt>
                <c:pt idx="5410">
                  <c:v>201.74535835082554</c:v>
                </c:pt>
                <c:pt idx="5411">
                  <c:v>202.61276460672241</c:v>
                </c:pt>
                <c:pt idx="5412">
                  <c:v>202.07885118759509</c:v>
                </c:pt>
                <c:pt idx="5413">
                  <c:v>201.75985499634916</c:v>
                </c:pt>
                <c:pt idx="5414">
                  <c:v>201.75985499634916</c:v>
                </c:pt>
                <c:pt idx="5415">
                  <c:v>201.75985499634916</c:v>
                </c:pt>
                <c:pt idx="5416">
                  <c:v>202.54011834319434</c:v>
                </c:pt>
                <c:pt idx="5417">
                  <c:v>202.71120741076453</c:v>
                </c:pt>
                <c:pt idx="5418">
                  <c:v>202.91231445375655</c:v>
                </c:pt>
                <c:pt idx="5419">
                  <c:v>202.07670432050546</c:v>
                </c:pt>
                <c:pt idx="5420">
                  <c:v>202.8326739700012</c:v>
                </c:pt>
                <c:pt idx="5421">
                  <c:v>202.83267397000122</c:v>
                </c:pt>
                <c:pt idx="5422">
                  <c:v>202.83267397000122</c:v>
                </c:pt>
                <c:pt idx="5423">
                  <c:v>202.67870522257206</c:v>
                </c:pt>
                <c:pt idx="5424">
                  <c:v>202.81783531679488</c:v>
                </c:pt>
                <c:pt idx="5425">
                  <c:v>202.38085203754781</c:v>
                </c:pt>
                <c:pt idx="5426">
                  <c:v>202.12138438160909</c:v>
                </c:pt>
                <c:pt idx="5427">
                  <c:v>202.49286649221531</c:v>
                </c:pt>
                <c:pt idx="5428">
                  <c:v>202.49286649221531</c:v>
                </c:pt>
                <c:pt idx="5429">
                  <c:v>202.49286649221531</c:v>
                </c:pt>
                <c:pt idx="5430">
                  <c:v>201.44450598782461</c:v>
                </c:pt>
                <c:pt idx="5431">
                  <c:v>202.37177015940185</c:v>
                </c:pt>
                <c:pt idx="5432">
                  <c:v>201.86966401600648</c:v>
                </c:pt>
                <c:pt idx="5433">
                  <c:v>203.11587857970937</c:v>
                </c:pt>
                <c:pt idx="5434">
                  <c:v>202.60047811338566</c:v>
                </c:pt>
                <c:pt idx="5435">
                  <c:v>202.60047811338563</c:v>
                </c:pt>
                <c:pt idx="5436">
                  <c:v>202.60047811338563</c:v>
                </c:pt>
                <c:pt idx="5437">
                  <c:v>202.82413099720711</c:v>
                </c:pt>
                <c:pt idx="5438">
                  <c:v>202.80514772108609</c:v>
                </c:pt>
                <c:pt idx="5439">
                  <c:v>203.01414828751683</c:v>
                </c:pt>
                <c:pt idx="5440">
                  <c:v>203.09963263722682</c:v>
                </c:pt>
                <c:pt idx="5441">
                  <c:v>202.57524363185266</c:v>
                </c:pt>
                <c:pt idx="5442">
                  <c:v>202.57524363185266</c:v>
                </c:pt>
                <c:pt idx="5443">
                  <c:v>202.57524363185266</c:v>
                </c:pt>
                <c:pt idx="5444">
                  <c:v>202.78097327630067</c:v>
                </c:pt>
                <c:pt idx="5445">
                  <c:v>202.64432715205186</c:v>
                </c:pt>
                <c:pt idx="5446">
                  <c:v>203.08507663396009</c:v>
                </c:pt>
                <c:pt idx="5447">
                  <c:v>204.02047332396887</c:v>
                </c:pt>
                <c:pt idx="5448">
                  <c:v>204.52911626952329</c:v>
                </c:pt>
                <c:pt idx="5449">
                  <c:v>204.52911626952329</c:v>
                </c:pt>
                <c:pt idx="5450">
                  <c:v>204.52911626952329</c:v>
                </c:pt>
                <c:pt idx="5451">
                  <c:v>203.87805517438355</c:v>
                </c:pt>
                <c:pt idx="5452">
                  <c:v>204.11644353252419</c:v>
                </c:pt>
                <c:pt idx="5453">
                  <c:v>203.66708325489168</c:v>
                </c:pt>
                <c:pt idx="5454">
                  <c:v>204.16928401375122</c:v>
                </c:pt>
                <c:pt idx="5455">
                  <c:v>204.24667814684824</c:v>
                </c:pt>
                <c:pt idx="5456">
                  <c:v>204.24667814684824</c:v>
                </c:pt>
                <c:pt idx="5457">
                  <c:v>204.24667814684824</c:v>
                </c:pt>
                <c:pt idx="5458">
                  <c:v>204.1008388700688</c:v>
                </c:pt>
                <c:pt idx="5459">
                  <c:v>203.0454082858268</c:v>
                </c:pt>
                <c:pt idx="5460">
                  <c:v>202.76584432576257</c:v>
                </c:pt>
                <c:pt idx="5461">
                  <c:v>203.80218334285809</c:v>
                </c:pt>
                <c:pt idx="5462">
                  <c:v>203.54663657579485</c:v>
                </c:pt>
                <c:pt idx="5463">
                  <c:v>203.54663657579485</c:v>
                </c:pt>
                <c:pt idx="5464">
                  <c:v>203.54663657579485</c:v>
                </c:pt>
                <c:pt idx="5465">
                  <c:v>203.82263197679333</c:v>
                </c:pt>
                <c:pt idx="5466">
                  <c:v>204.43435397326169</c:v>
                </c:pt>
                <c:pt idx="5467">
                  <c:v>205.31913729640206</c:v>
                </c:pt>
                <c:pt idx="5468">
                  <c:v>204.52837785791723</c:v>
                </c:pt>
                <c:pt idx="5469">
                  <c:v>205.30883951059241</c:v>
                </c:pt>
                <c:pt idx="5470">
                  <c:v>205.30883951059241</c:v>
                </c:pt>
                <c:pt idx="5471">
                  <c:v>205.30883951059241</c:v>
                </c:pt>
                <c:pt idx="5472">
                  <c:v>205.30883951059241</c:v>
                </c:pt>
                <c:pt idx="5473">
                  <c:v>205.30883951059241</c:v>
                </c:pt>
                <c:pt idx="5474">
                  <c:v>206.53005919881664</c:v>
                </c:pt>
                <c:pt idx="5475">
                  <c:v>207.04177748384862</c:v>
                </c:pt>
                <c:pt idx="5476">
                  <c:v>207.39729063081862</c:v>
                </c:pt>
                <c:pt idx="5477">
                  <c:v>207.39729063081862</c:v>
                </c:pt>
                <c:pt idx="5478">
                  <c:v>207.39729063081862</c:v>
                </c:pt>
                <c:pt idx="5479">
                  <c:v>207.39729063081862</c:v>
                </c:pt>
                <c:pt idx="5480">
                  <c:v>208.06450587300094</c:v>
                </c:pt>
                <c:pt idx="5481">
                  <c:v>208.2017644936154</c:v>
                </c:pt>
                <c:pt idx="5482">
                  <c:v>207.81159240747454</c:v>
                </c:pt>
                <c:pt idx="5483">
                  <c:v>207.67748421691397</c:v>
                </c:pt>
                <c:pt idx="5484">
                  <c:v>207.67748421691397</c:v>
                </c:pt>
                <c:pt idx="5485">
                  <c:v>207.67748421691397</c:v>
                </c:pt>
                <c:pt idx="5486">
                  <c:v>207.70491380882768</c:v>
                </c:pt>
                <c:pt idx="5487">
                  <c:v>207.55447843069953</c:v>
                </c:pt>
                <c:pt idx="5488">
                  <c:v>206.7471880411203</c:v>
                </c:pt>
                <c:pt idx="5489">
                  <c:v>206.66180595671074</c:v>
                </c:pt>
                <c:pt idx="5490">
                  <c:v>206.80513235752016</c:v>
                </c:pt>
                <c:pt idx="5491">
                  <c:v>206.80513235752016</c:v>
                </c:pt>
                <c:pt idx="5492">
                  <c:v>206.80513235752016</c:v>
                </c:pt>
                <c:pt idx="5493">
                  <c:v>206.68111215032044</c:v>
                </c:pt>
                <c:pt idx="5494">
                  <c:v>207.22217829683871</c:v>
                </c:pt>
                <c:pt idx="5495">
                  <c:v>207.63687697134543</c:v>
                </c:pt>
                <c:pt idx="5496">
                  <c:v>207.43023526090761</c:v>
                </c:pt>
                <c:pt idx="5497">
                  <c:v>207.63057800062634</c:v>
                </c:pt>
                <c:pt idx="5498">
                  <c:v>207.63057800062634</c:v>
                </c:pt>
                <c:pt idx="5499">
                  <c:v>207.63057800062634</c:v>
                </c:pt>
                <c:pt idx="5500">
                  <c:v>207.59871168316619</c:v>
                </c:pt>
                <c:pt idx="5501">
                  <c:v>207.93337875135191</c:v>
                </c:pt>
                <c:pt idx="5502">
                  <c:v>208.37751735999606</c:v>
                </c:pt>
                <c:pt idx="5503">
                  <c:v>208.22327639673378</c:v>
                </c:pt>
                <c:pt idx="5504">
                  <c:v>207.98308518493235</c:v>
                </c:pt>
                <c:pt idx="5505">
                  <c:v>207.98308518493235</c:v>
                </c:pt>
                <c:pt idx="5506">
                  <c:v>207.98308518493235</c:v>
                </c:pt>
                <c:pt idx="5507">
                  <c:v>207.46629696490481</c:v>
                </c:pt>
                <c:pt idx="5508">
                  <c:v>207.22764000374619</c:v>
                </c:pt>
                <c:pt idx="5509">
                  <c:v>208.24280524956268</c:v>
                </c:pt>
                <c:pt idx="5510">
                  <c:v>209.3378616961713</c:v>
                </c:pt>
                <c:pt idx="5511">
                  <c:v>208.73499680843918</c:v>
                </c:pt>
                <c:pt idx="5512">
                  <c:v>208.73499680843918</c:v>
                </c:pt>
                <c:pt idx="5513">
                  <c:v>208.73499680843918</c:v>
                </c:pt>
                <c:pt idx="5514">
                  <c:v>208.26244121565017</c:v>
                </c:pt>
                <c:pt idx="5515">
                  <c:v>209.15974552098382</c:v>
                </c:pt>
                <c:pt idx="5516">
                  <c:v>209.70596428261905</c:v>
                </c:pt>
                <c:pt idx="5517">
                  <c:v>209.43539810954894</c:v>
                </c:pt>
                <c:pt idx="5518">
                  <c:v>210.20024489457128</c:v>
                </c:pt>
                <c:pt idx="5519">
                  <c:v>210.20024489457128</c:v>
                </c:pt>
                <c:pt idx="5520">
                  <c:v>210.20024489457128</c:v>
                </c:pt>
                <c:pt idx="5521">
                  <c:v>209.49896836952732</c:v>
                </c:pt>
                <c:pt idx="5522">
                  <c:v>209.63890836398443</c:v>
                </c:pt>
                <c:pt idx="5523">
                  <c:v>209.92573333900808</c:v>
                </c:pt>
                <c:pt idx="5524">
                  <c:v>210.51575154892311</c:v>
                </c:pt>
                <c:pt idx="5525">
                  <c:v>210.7726983956764</c:v>
                </c:pt>
                <c:pt idx="5526">
                  <c:v>210.77269839567637</c:v>
                </c:pt>
                <c:pt idx="5527">
                  <c:v>210.77269839567637</c:v>
                </c:pt>
                <c:pt idx="5528">
                  <c:v>211.41006751799878</c:v>
                </c:pt>
                <c:pt idx="5529">
                  <c:v>211.60587855568221</c:v>
                </c:pt>
                <c:pt idx="5530">
                  <c:v>211.30339319677682</c:v>
                </c:pt>
                <c:pt idx="5531">
                  <c:v>211.31485160262824</c:v>
                </c:pt>
                <c:pt idx="5532">
                  <c:v>211.78149916130113</c:v>
                </c:pt>
                <c:pt idx="5533">
                  <c:v>211.7814991613011</c:v>
                </c:pt>
                <c:pt idx="5534">
                  <c:v>211.7814991613011</c:v>
                </c:pt>
                <c:pt idx="5535">
                  <c:v>211.15478088257325</c:v>
                </c:pt>
                <c:pt idx="5536">
                  <c:v>211.39063578224327</c:v>
                </c:pt>
                <c:pt idx="5537">
                  <c:v>211.30156718263856</c:v>
                </c:pt>
                <c:pt idx="5538">
                  <c:v>211.27935051030406</c:v>
                </c:pt>
                <c:pt idx="5539">
                  <c:v>212.35658846227389</c:v>
                </c:pt>
                <c:pt idx="5540">
                  <c:v>212.35658846227389</c:v>
                </c:pt>
                <c:pt idx="5541">
                  <c:v>212.35658846227389</c:v>
                </c:pt>
                <c:pt idx="5542">
                  <c:v>212.12091272641638</c:v>
                </c:pt>
                <c:pt idx="5543">
                  <c:v>213.38925829105207</c:v>
                </c:pt>
                <c:pt idx="5544">
                  <c:v>213.58348927624414</c:v>
                </c:pt>
                <c:pt idx="5545">
                  <c:v>213.61468587753419</c:v>
                </c:pt>
                <c:pt idx="5546">
                  <c:v>214.1400905947539</c:v>
                </c:pt>
                <c:pt idx="5547">
                  <c:v>214.1400905947539</c:v>
                </c:pt>
                <c:pt idx="5548">
                  <c:v>214.1400905947539</c:v>
                </c:pt>
                <c:pt idx="5549">
                  <c:v>214.10148183313171</c:v>
                </c:pt>
                <c:pt idx="5550">
                  <c:v>214.53501074715678</c:v>
                </c:pt>
                <c:pt idx="5551">
                  <c:v>214.0235816523433</c:v>
                </c:pt>
                <c:pt idx="5552">
                  <c:v>213.98355360237971</c:v>
                </c:pt>
                <c:pt idx="5553">
                  <c:v>212.99620909574551</c:v>
                </c:pt>
                <c:pt idx="5554">
                  <c:v>212.99620909574551</c:v>
                </c:pt>
                <c:pt idx="5555">
                  <c:v>212.99620909574551</c:v>
                </c:pt>
                <c:pt idx="5556">
                  <c:v>214.45527036617156</c:v>
                </c:pt>
                <c:pt idx="5557">
                  <c:v>213.96209759756019</c:v>
                </c:pt>
                <c:pt idx="5558">
                  <c:v>214.23516654927053</c:v>
                </c:pt>
                <c:pt idx="5559">
                  <c:v>214.33548551628914</c:v>
                </c:pt>
                <c:pt idx="5560">
                  <c:v>215.19126146655185</c:v>
                </c:pt>
                <c:pt idx="5561">
                  <c:v>215.19126146655185</c:v>
                </c:pt>
                <c:pt idx="5562">
                  <c:v>215.19126146655185</c:v>
                </c:pt>
                <c:pt idx="5563">
                  <c:v>215.12245561473927</c:v>
                </c:pt>
                <c:pt idx="5564">
                  <c:v>214.61014647926464</c:v>
                </c:pt>
                <c:pt idx="5565">
                  <c:v>212.80553966883843</c:v>
                </c:pt>
                <c:pt idx="5566">
                  <c:v>213.02685152139176</c:v>
                </c:pt>
                <c:pt idx="5567">
                  <c:v>213.02685152139176</c:v>
                </c:pt>
                <c:pt idx="5568">
                  <c:v>213.02685152139176</c:v>
                </c:pt>
                <c:pt idx="5569">
                  <c:v>213.02685152139176</c:v>
                </c:pt>
                <c:pt idx="5570">
                  <c:v>213.02685152139176</c:v>
                </c:pt>
                <c:pt idx="5571">
                  <c:v>212.66034510751808</c:v>
                </c:pt>
                <c:pt idx="5572">
                  <c:v>211.45206725494324</c:v>
                </c:pt>
                <c:pt idx="5573">
                  <c:v>210.66696614723307</c:v>
                </c:pt>
                <c:pt idx="5574">
                  <c:v>211.07675675333084</c:v>
                </c:pt>
                <c:pt idx="5575">
                  <c:v>211.07675675333084</c:v>
                </c:pt>
                <c:pt idx="5576">
                  <c:v>211.07675675333084</c:v>
                </c:pt>
                <c:pt idx="5577">
                  <c:v>210.64144548957444</c:v>
                </c:pt>
                <c:pt idx="5578">
                  <c:v>210.93983554189393</c:v>
                </c:pt>
                <c:pt idx="5579">
                  <c:v>211.05846895168315</c:v>
                </c:pt>
                <c:pt idx="5580">
                  <c:v>211.61296427986093</c:v>
                </c:pt>
                <c:pt idx="5581">
                  <c:v>211.84196605731381</c:v>
                </c:pt>
                <c:pt idx="5582">
                  <c:v>211.84196605731381</c:v>
                </c:pt>
                <c:pt idx="5583">
                  <c:v>211.84196605731381</c:v>
                </c:pt>
                <c:pt idx="5584">
                  <c:v>212.22138592597048</c:v>
                </c:pt>
                <c:pt idx="5585">
                  <c:v>212.16926922459845</c:v>
                </c:pt>
                <c:pt idx="5586">
                  <c:v>212.5363656895062</c:v>
                </c:pt>
                <c:pt idx="5587">
                  <c:v>213.17023062430064</c:v>
                </c:pt>
                <c:pt idx="5588">
                  <c:v>212.58147263463488</c:v>
                </c:pt>
                <c:pt idx="5589">
                  <c:v>212.58147263463488</c:v>
                </c:pt>
                <c:pt idx="5590">
                  <c:v>212.58147263463488</c:v>
                </c:pt>
                <c:pt idx="5591">
                  <c:v>212.5998867303405</c:v>
                </c:pt>
                <c:pt idx="5592">
                  <c:v>211.68468313740462</c:v>
                </c:pt>
                <c:pt idx="5593">
                  <c:v>211.49258761371115</c:v>
                </c:pt>
                <c:pt idx="5594">
                  <c:v>211.41130159862618</c:v>
                </c:pt>
                <c:pt idx="5595">
                  <c:v>210.92404813426333</c:v>
                </c:pt>
                <c:pt idx="5596">
                  <c:v>210.92404813426333</c:v>
                </c:pt>
                <c:pt idx="5597">
                  <c:v>210.92404813426333</c:v>
                </c:pt>
                <c:pt idx="5598">
                  <c:v>210.37614166906857</c:v>
                </c:pt>
                <c:pt idx="5599">
                  <c:v>210.49184109451076</c:v>
                </c:pt>
                <c:pt idx="5600">
                  <c:v>211.32353050348055</c:v>
                </c:pt>
                <c:pt idx="5601">
                  <c:v>211.51245373330585</c:v>
                </c:pt>
                <c:pt idx="5602">
                  <c:v>210.90342481012365</c:v>
                </c:pt>
                <c:pt idx="5603">
                  <c:v>210.90342481012365</c:v>
                </c:pt>
                <c:pt idx="5604">
                  <c:v>210.90342481012365</c:v>
                </c:pt>
                <c:pt idx="5605">
                  <c:v>211.56608746408963</c:v>
                </c:pt>
                <c:pt idx="5606">
                  <c:v>212.22966375015415</c:v>
                </c:pt>
                <c:pt idx="5607">
                  <c:v>211.80175764691762</c:v>
                </c:pt>
                <c:pt idx="5608">
                  <c:v>211.34472510851</c:v>
                </c:pt>
                <c:pt idx="5609">
                  <c:v>211.67381169784673</c:v>
                </c:pt>
                <c:pt idx="5610">
                  <c:v>211.67381169784673</c:v>
                </c:pt>
                <c:pt idx="5611">
                  <c:v>211.67381169784673</c:v>
                </c:pt>
                <c:pt idx="5612">
                  <c:v>211.62452598040531</c:v>
                </c:pt>
                <c:pt idx="5613">
                  <c:v>211.02005316955953</c:v>
                </c:pt>
                <c:pt idx="5614">
                  <c:v>211.25237549243386</c:v>
                </c:pt>
                <c:pt idx="5615">
                  <c:v>211.70530725564083</c:v>
                </c:pt>
                <c:pt idx="5616">
                  <c:v>211.52490674615208</c:v>
                </c:pt>
                <c:pt idx="5617">
                  <c:v>211.52490674615208</c:v>
                </c:pt>
                <c:pt idx="5618">
                  <c:v>211.52490674615208</c:v>
                </c:pt>
                <c:pt idx="5619">
                  <c:v>211.84742044469201</c:v>
                </c:pt>
                <c:pt idx="5620">
                  <c:v>211.83693674632431</c:v>
                </c:pt>
                <c:pt idx="5621">
                  <c:v>212.09873968319934</c:v>
                </c:pt>
                <c:pt idx="5622">
                  <c:v>212.7553292050481</c:v>
                </c:pt>
                <c:pt idx="5623">
                  <c:v>213.26337803415387</c:v>
                </c:pt>
                <c:pt idx="5624">
                  <c:v>213.26337803415387</c:v>
                </c:pt>
                <c:pt idx="5625">
                  <c:v>213.26337803415387</c:v>
                </c:pt>
                <c:pt idx="5626">
                  <c:v>213.18952054444247</c:v>
                </c:pt>
                <c:pt idx="5627">
                  <c:v>212.36770677640942</c:v>
                </c:pt>
                <c:pt idx="5628">
                  <c:v>212.67375880050733</c:v>
                </c:pt>
                <c:pt idx="5629">
                  <c:v>214.03793515483517</c:v>
                </c:pt>
                <c:pt idx="5630">
                  <c:v>214.1182660705843</c:v>
                </c:pt>
                <c:pt idx="5631">
                  <c:v>214.11826607058433</c:v>
                </c:pt>
                <c:pt idx="5632">
                  <c:v>214.11826607058433</c:v>
                </c:pt>
                <c:pt idx="5633">
                  <c:v>214.68644222960711</c:v>
                </c:pt>
                <c:pt idx="5634">
                  <c:v>215.33598109745887</c:v>
                </c:pt>
                <c:pt idx="5635">
                  <c:v>215.81163010265894</c:v>
                </c:pt>
                <c:pt idx="5636">
                  <c:v>215.52965464622318</c:v>
                </c:pt>
                <c:pt idx="5637">
                  <c:v>215.36783739507629</c:v>
                </c:pt>
                <c:pt idx="5638">
                  <c:v>215.36783739507632</c:v>
                </c:pt>
                <c:pt idx="5639">
                  <c:v>215.36783739507632</c:v>
                </c:pt>
                <c:pt idx="5640">
                  <c:v>215.44093785957668</c:v>
                </c:pt>
                <c:pt idx="5641">
                  <c:v>215.92409738900994</c:v>
                </c:pt>
                <c:pt idx="5642">
                  <c:v>216.07300058653951</c:v>
                </c:pt>
                <c:pt idx="5643">
                  <c:v>216.26130467091411</c:v>
                </c:pt>
                <c:pt idx="5644">
                  <c:v>214.99039129406677</c:v>
                </c:pt>
                <c:pt idx="5645">
                  <c:v>214.99039129406677</c:v>
                </c:pt>
                <c:pt idx="5646">
                  <c:v>214.99039129406677</c:v>
                </c:pt>
                <c:pt idx="5647">
                  <c:v>215.65463929581961</c:v>
                </c:pt>
                <c:pt idx="5648">
                  <c:v>215.31682291854165</c:v>
                </c:pt>
                <c:pt idx="5649">
                  <c:v>215.53177686146921</c:v>
                </c:pt>
                <c:pt idx="5650">
                  <c:v>215.61753860652811</c:v>
                </c:pt>
                <c:pt idx="5651">
                  <c:v>214.86281591415133</c:v>
                </c:pt>
                <c:pt idx="5652">
                  <c:v>214.86281591415133</c:v>
                </c:pt>
                <c:pt idx="5653">
                  <c:v>214.86281591415133</c:v>
                </c:pt>
                <c:pt idx="5654">
                  <c:v>216.66464469287274</c:v>
                </c:pt>
                <c:pt idx="5655">
                  <c:v>216.03848847497392</c:v>
                </c:pt>
                <c:pt idx="5656">
                  <c:v>215.14583812490744</c:v>
                </c:pt>
                <c:pt idx="5657">
                  <c:v>213.71615050518216</c:v>
                </c:pt>
                <c:pt idx="5658">
                  <c:v>214.14877169966775</c:v>
                </c:pt>
                <c:pt idx="5659">
                  <c:v>214.14877169966772</c:v>
                </c:pt>
                <c:pt idx="5660">
                  <c:v>214.14877169966772</c:v>
                </c:pt>
                <c:pt idx="5661">
                  <c:v>213.2086768751887</c:v>
                </c:pt>
                <c:pt idx="5662">
                  <c:v>212.98612808496682</c:v>
                </c:pt>
                <c:pt idx="5663">
                  <c:v>212.27730515494716</c:v>
                </c:pt>
                <c:pt idx="5664">
                  <c:v>211.79074092981509</c:v>
                </c:pt>
                <c:pt idx="5665">
                  <c:v>212.22740215708305</c:v>
                </c:pt>
                <c:pt idx="5666">
                  <c:v>212.22740215708305</c:v>
                </c:pt>
                <c:pt idx="5667">
                  <c:v>212.22740215708305</c:v>
                </c:pt>
                <c:pt idx="5668">
                  <c:v>212.8361741125218</c:v>
                </c:pt>
                <c:pt idx="5669">
                  <c:v>213.1738985878149</c:v>
                </c:pt>
                <c:pt idx="5670">
                  <c:v>213.91500490970273</c:v>
                </c:pt>
                <c:pt idx="5671">
                  <c:v>213.89273243838514</c:v>
                </c:pt>
                <c:pt idx="5672">
                  <c:v>212.66383942603267</c:v>
                </c:pt>
                <c:pt idx="5673">
                  <c:v>212.66383942603267</c:v>
                </c:pt>
                <c:pt idx="5674">
                  <c:v>212.66383942603267</c:v>
                </c:pt>
                <c:pt idx="5675">
                  <c:v>213.81538368281301</c:v>
                </c:pt>
                <c:pt idx="5676">
                  <c:v>213.72174429817628</c:v>
                </c:pt>
                <c:pt idx="5677">
                  <c:v>213.13578093364308</c:v>
                </c:pt>
                <c:pt idx="5678">
                  <c:v>212.65021528875874</c:v>
                </c:pt>
                <c:pt idx="5679">
                  <c:v>213.14486821293002</c:v>
                </c:pt>
                <c:pt idx="5680">
                  <c:v>213.14486821293002</c:v>
                </c:pt>
                <c:pt idx="5681">
                  <c:v>213.14486821293002</c:v>
                </c:pt>
                <c:pt idx="5682">
                  <c:v>212.80865867800424</c:v>
                </c:pt>
                <c:pt idx="5683">
                  <c:v>212.66558645639697</c:v>
                </c:pt>
                <c:pt idx="5684">
                  <c:v>212.9249332446484</c:v>
                </c:pt>
                <c:pt idx="5685">
                  <c:v>212.0618650286039</c:v>
                </c:pt>
                <c:pt idx="5686">
                  <c:v>211.97089054599024</c:v>
                </c:pt>
                <c:pt idx="5687">
                  <c:v>211.97089054599024</c:v>
                </c:pt>
                <c:pt idx="5688">
                  <c:v>211.97089054599024</c:v>
                </c:pt>
                <c:pt idx="5689">
                  <c:v>211.8608357064098</c:v>
                </c:pt>
                <c:pt idx="5690">
                  <c:v>210.73602869183827</c:v>
                </c:pt>
                <c:pt idx="5691">
                  <c:v>211.83941443410279</c:v>
                </c:pt>
                <c:pt idx="5692">
                  <c:v>211.81616582348516</c:v>
                </c:pt>
                <c:pt idx="5693">
                  <c:v>211.21081133216356</c:v>
                </c:pt>
                <c:pt idx="5694">
                  <c:v>211.21081133216359</c:v>
                </c:pt>
                <c:pt idx="5695">
                  <c:v>211.21081133216359</c:v>
                </c:pt>
                <c:pt idx="5696">
                  <c:v>211.47270482590969</c:v>
                </c:pt>
                <c:pt idx="5697">
                  <c:v>211.12114878852319</c:v>
                </c:pt>
                <c:pt idx="5698">
                  <c:v>210.7869897349207</c:v>
                </c:pt>
                <c:pt idx="5699">
                  <c:v>211.7402695501624</c:v>
                </c:pt>
                <c:pt idx="5700">
                  <c:v>212.68803606001936</c:v>
                </c:pt>
                <c:pt idx="5701">
                  <c:v>212.68803606001936</c:v>
                </c:pt>
                <c:pt idx="5702">
                  <c:v>212.68803606001936</c:v>
                </c:pt>
                <c:pt idx="5703">
                  <c:v>212.8743909056779</c:v>
                </c:pt>
                <c:pt idx="5704">
                  <c:v>212.20628554782903</c:v>
                </c:pt>
                <c:pt idx="5705">
                  <c:v>212.38984488591586</c:v>
                </c:pt>
                <c:pt idx="5706">
                  <c:v>212.30845777830871</c:v>
                </c:pt>
                <c:pt idx="5707">
                  <c:v>211.75925361704893</c:v>
                </c:pt>
                <c:pt idx="5708">
                  <c:v>211.75925361704893</c:v>
                </c:pt>
                <c:pt idx="5709">
                  <c:v>211.75925361704893</c:v>
                </c:pt>
                <c:pt idx="5710">
                  <c:v>211.80882582089788</c:v>
                </c:pt>
                <c:pt idx="5711">
                  <c:v>212.29553861144885</c:v>
                </c:pt>
                <c:pt idx="5712">
                  <c:v>212.60581069312522</c:v>
                </c:pt>
                <c:pt idx="5713">
                  <c:v>213.05311936279307</c:v>
                </c:pt>
                <c:pt idx="5714">
                  <c:v>212.87956406913267</c:v>
                </c:pt>
                <c:pt idx="5715">
                  <c:v>212.8795640691327</c:v>
                </c:pt>
                <c:pt idx="5716">
                  <c:v>212.8795640691327</c:v>
                </c:pt>
                <c:pt idx="5717">
                  <c:v>212.79461026380187</c:v>
                </c:pt>
                <c:pt idx="5718">
                  <c:v>213.30600425604393</c:v>
                </c:pt>
                <c:pt idx="5719">
                  <c:v>213.32620469254823</c:v>
                </c:pt>
                <c:pt idx="5720">
                  <c:v>213.53848074498913</c:v>
                </c:pt>
                <c:pt idx="5721">
                  <c:v>214.909644418722</c:v>
                </c:pt>
                <c:pt idx="5722">
                  <c:v>214.90964441872197</c:v>
                </c:pt>
                <c:pt idx="5723">
                  <c:v>214.90964441872197</c:v>
                </c:pt>
                <c:pt idx="5724">
                  <c:v>214.13020592590044</c:v>
                </c:pt>
                <c:pt idx="5725">
                  <c:v>214.36197400512702</c:v>
                </c:pt>
                <c:pt idx="5726">
                  <c:v>214.94274512572923</c:v>
                </c:pt>
                <c:pt idx="5727">
                  <c:v>214.81050577836885</c:v>
                </c:pt>
                <c:pt idx="5728">
                  <c:v>214.46926389100128</c:v>
                </c:pt>
                <c:pt idx="5729">
                  <c:v>214.46926389100128</c:v>
                </c:pt>
                <c:pt idx="5730">
                  <c:v>214.46926389100128</c:v>
                </c:pt>
                <c:pt idx="5731">
                  <c:v>214.7961047222017</c:v>
                </c:pt>
                <c:pt idx="5732">
                  <c:v>214.97568175728659</c:v>
                </c:pt>
                <c:pt idx="5733">
                  <c:v>215.56361981213928</c:v>
                </c:pt>
                <c:pt idx="5734">
                  <c:v>214.60942193046517</c:v>
                </c:pt>
                <c:pt idx="5735">
                  <c:v>215.04017183777094</c:v>
                </c:pt>
                <c:pt idx="5736">
                  <c:v>215.04017183777094</c:v>
                </c:pt>
                <c:pt idx="5737">
                  <c:v>215.04017183777094</c:v>
                </c:pt>
                <c:pt idx="5738">
                  <c:v>215.33525081881737</c:v>
                </c:pt>
                <c:pt idx="5739">
                  <c:v>215.70888135655133</c:v>
                </c:pt>
                <c:pt idx="5740">
                  <c:v>214.7311827923179</c:v>
                </c:pt>
                <c:pt idx="5741">
                  <c:v>213.50946864079856</c:v>
                </c:pt>
                <c:pt idx="5742">
                  <c:v>212.17418400708007</c:v>
                </c:pt>
                <c:pt idx="5743">
                  <c:v>212.17418400708007</c:v>
                </c:pt>
                <c:pt idx="5744">
                  <c:v>212.17418400708007</c:v>
                </c:pt>
                <c:pt idx="5745">
                  <c:v>212.23975325392206</c:v>
                </c:pt>
                <c:pt idx="5746">
                  <c:v>211.47669270829169</c:v>
                </c:pt>
                <c:pt idx="5747">
                  <c:v>210.8182069784437</c:v>
                </c:pt>
                <c:pt idx="5748">
                  <c:v>209.4371208266094</c:v>
                </c:pt>
                <c:pt idx="5749">
                  <c:v>210.31406931654126</c:v>
                </c:pt>
                <c:pt idx="5750">
                  <c:v>210.31406931654126</c:v>
                </c:pt>
                <c:pt idx="5751">
                  <c:v>210.31406931654126</c:v>
                </c:pt>
                <c:pt idx="5752">
                  <c:v>210.61664214747665</c:v>
                </c:pt>
                <c:pt idx="5753">
                  <c:v>210.15106096659179</c:v>
                </c:pt>
                <c:pt idx="5754">
                  <c:v>209.89245999129599</c:v>
                </c:pt>
                <c:pt idx="5755">
                  <c:v>209.31764219439191</c:v>
                </c:pt>
                <c:pt idx="5756">
                  <c:v>208.77153834156493</c:v>
                </c:pt>
                <c:pt idx="5757">
                  <c:v>208.77153834156493</c:v>
                </c:pt>
                <c:pt idx="5758">
                  <c:v>208.77153834156493</c:v>
                </c:pt>
                <c:pt idx="5759">
                  <c:v>207.73180912844683</c:v>
                </c:pt>
                <c:pt idx="5760">
                  <c:v>207.16081465914118</c:v>
                </c:pt>
                <c:pt idx="5761">
                  <c:v>205.98143046828696</c:v>
                </c:pt>
                <c:pt idx="5762">
                  <c:v>206.63432842584973</c:v>
                </c:pt>
                <c:pt idx="5763">
                  <c:v>208.10456806982282</c:v>
                </c:pt>
                <c:pt idx="5764">
                  <c:v>208.10456806982282</c:v>
                </c:pt>
                <c:pt idx="5765">
                  <c:v>208.10456806982282</c:v>
                </c:pt>
                <c:pt idx="5766">
                  <c:v>205.98726011726038</c:v>
                </c:pt>
                <c:pt idx="5767">
                  <c:v>208.09619784020785</c:v>
                </c:pt>
                <c:pt idx="5768">
                  <c:v>207.88230642833304</c:v>
                </c:pt>
                <c:pt idx="5769">
                  <c:v>208.64492870011233</c:v>
                </c:pt>
                <c:pt idx="5770">
                  <c:v>206.46131365541208</c:v>
                </c:pt>
                <c:pt idx="5771">
                  <c:v>206.46131365541208</c:v>
                </c:pt>
                <c:pt idx="5772">
                  <c:v>206.46131365541208</c:v>
                </c:pt>
                <c:pt idx="5773">
                  <c:v>206.36908656801486</c:v>
                </c:pt>
                <c:pt idx="5774">
                  <c:v>204.58561368602483</c:v>
                </c:pt>
                <c:pt idx="5775">
                  <c:v>205.19854368476712</c:v>
                </c:pt>
                <c:pt idx="5776">
                  <c:v>204.60799495733809</c:v>
                </c:pt>
                <c:pt idx="5777">
                  <c:v>203.90492742855514</c:v>
                </c:pt>
                <c:pt idx="5778">
                  <c:v>203.90492742855514</c:v>
                </c:pt>
                <c:pt idx="5779">
                  <c:v>203.90492742855514</c:v>
                </c:pt>
                <c:pt idx="5780">
                  <c:v>204.98968516058713</c:v>
                </c:pt>
                <c:pt idx="5781">
                  <c:v>205.81661355753803</c:v>
                </c:pt>
                <c:pt idx="5782">
                  <c:v>205.94834723509311</c:v>
                </c:pt>
                <c:pt idx="5783">
                  <c:v>206.97444155660673</c:v>
                </c:pt>
                <c:pt idx="5784">
                  <c:v>208.45986141865762</c:v>
                </c:pt>
                <c:pt idx="5785">
                  <c:v>208.45986141865762</c:v>
                </c:pt>
                <c:pt idx="5786">
                  <c:v>208.45986141865762</c:v>
                </c:pt>
                <c:pt idx="5787">
                  <c:v>206.58811143113681</c:v>
                </c:pt>
                <c:pt idx="5788">
                  <c:v>207.56315419425945</c:v>
                </c:pt>
                <c:pt idx="5789">
                  <c:v>207.77155477183368</c:v>
                </c:pt>
                <c:pt idx="5790">
                  <c:v>207.57704985472182</c:v>
                </c:pt>
                <c:pt idx="5791">
                  <c:v>206.5861012834151</c:v>
                </c:pt>
                <c:pt idx="5792">
                  <c:v>206.5861012834151</c:v>
                </c:pt>
                <c:pt idx="5793">
                  <c:v>206.5861012834151</c:v>
                </c:pt>
                <c:pt idx="5794">
                  <c:v>205.32218606716563</c:v>
                </c:pt>
                <c:pt idx="5795">
                  <c:v>205.30117913991344</c:v>
                </c:pt>
                <c:pt idx="5796">
                  <c:v>206.08428126665828</c:v>
                </c:pt>
                <c:pt idx="5797">
                  <c:v>204.31804845135545</c:v>
                </c:pt>
                <c:pt idx="5798">
                  <c:v>204.57383134316413</c:v>
                </c:pt>
                <c:pt idx="5799">
                  <c:v>204.5738313431641</c:v>
                </c:pt>
                <c:pt idx="5800">
                  <c:v>204.5738313431641</c:v>
                </c:pt>
                <c:pt idx="5801">
                  <c:v>204.06463538431115</c:v>
                </c:pt>
                <c:pt idx="5802">
                  <c:v>202.68016027863072</c:v>
                </c:pt>
                <c:pt idx="5803">
                  <c:v>202.76489628750923</c:v>
                </c:pt>
                <c:pt idx="5804">
                  <c:v>203.66982007085983</c:v>
                </c:pt>
                <c:pt idx="5805">
                  <c:v>203.45690745929483</c:v>
                </c:pt>
                <c:pt idx="5806">
                  <c:v>203.45690745929483</c:v>
                </c:pt>
                <c:pt idx="5807">
                  <c:v>203.45690745929483</c:v>
                </c:pt>
                <c:pt idx="5808">
                  <c:v>203.77846171003915</c:v>
                </c:pt>
                <c:pt idx="5809">
                  <c:v>203.78648675378389</c:v>
                </c:pt>
                <c:pt idx="5810">
                  <c:v>203.7105743397949</c:v>
                </c:pt>
                <c:pt idx="5811">
                  <c:v>203.78793855050174</c:v>
                </c:pt>
                <c:pt idx="5812">
                  <c:v>202.60121353263034</c:v>
                </c:pt>
                <c:pt idx="5813">
                  <c:v>202.60121353263034</c:v>
                </c:pt>
                <c:pt idx="5814">
                  <c:v>202.60121353263034</c:v>
                </c:pt>
                <c:pt idx="5815">
                  <c:v>202.72728419457789</c:v>
                </c:pt>
                <c:pt idx="5816">
                  <c:v>201.89892075242915</c:v>
                </c:pt>
                <c:pt idx="5817">
                  <c:v>203.35594378931407</c:v>
                </c:pt>
                <c:pt idx="5818">
                  <c:v>204.17458123544645</c:v>
                </c:pt>
                <c:pt idx="5819">
                  <c:v>203.85343866020003</c:v>
                </c:pt>
                <c:pt idx="5820">
                  <c:v>203.85343866020003</c:v>
                </c:pt>
                <c:pt idx="5821">
                  <c:v>203.85343866020003</c:v>
                </c:pt>
                <c:pt idx="5822">
                  <c:v>202.81867863547646</c:v>
                </c:pt>
                <c:pt idx="5823">
                  <c:v>202.31007828406877</c:v>
                </c:pt>
                <c:pt idx="5824">
                  <c:v>202.67869241132365</c:v>
                </c:pt>
                <c:pt idx="5825">
                  <c:v>201.94794552905913</c:v>
                </c:pt>
                <c:pt idx="5826">
                  <c:v>201.74298604185802</c:v>
                </c:pt>
                <c:pt idx="5827">
                  <c:v>201.74298604185802</c:v>
                </c:pt>
                <c:pt idx="5828">
                  <c:v>201.74298604185802</c:v>
                </c:pt>
                <c:pt idx="5829">
                  <c:v>201.46314568032818</c:v>
                </c:pt>
                <c:pt idx="5830">
                  <c:v>202.21814798856639</c:v>
                </c:pt>
                <c:pt idx="5831">
                  <c:v>202.50133272086495</c:v>
                </c:pt>
                <c:pt idx="5832">
                  <c:v>202.22260472020622</c:v>
                </c:pt>
                <c:pt idx="5833">
                  <c:v>201.932080017939</c:v>
                </c:pt>
                <c:pt idx="5834">
                  <c:v>201.932080017939</c:v>
                </c:pt>
                <c:pt idx="5835">
                  <c:v>201.932080017939</c:v>
                </c:pt>
                <c:pt idx="5836">
                  <c:v>202.36004716844147</c:v>
                </c:pt>
                <c:pt idx="5837">
                  <c:v>202.36004716844147</c:v>
                </c:pt>
                <c:pt idx="5838">
                  <c:v>202.36004716844147</c:v>
                </c:pt>
                <c:pt idx="5839">
                  <c:v>202.95181603246596</c:v>
                </c:pt>
                <c:pt idx="5840">
                  <c:v>203.03325740574519</c:v>
                </c:pt>
                <c:pt idx="5841">
                  <c:v>203.03325740574519</c:v>
                </c:pt>
                <c:pt idx="5842">
                  <c:v>203.03325740574519</c:v>
                </c:pt>
                <c:pt idx="5843">
                  <c:v>203.54445700637612</c:v>
                </c:pt>
                <c:pt idx="5844">
                  <c:v>203.54445700637612</c:v>
                </c:pt>
                <c:pt idx="5845">
                  <c:v>203.94594972164728</c:v>
                </c:pt>
                <c:pt idx="5846">
                  <c:v>203.15902971718808</c:v>
                </c:pt>
                <c:pt idx="5847">
                  <c:v>203.59664986409015</c:v>
                </c:pt>
                <c:pt idx="5848">
                  <c:v>203.59664986409015</c:v>
                </c:pt>
                <c:pt idx="5849">
                  <c:v>203.59664986409015</c:v>
                </c:pt>
                <c:pt idx="5850">
                  <c:v>206.57420616514008</c:v>
                </c:pt>
                <c:pt idx="5851">
                  <c:v>206.76093332780988</c:v>
                </c:pt>
                <c:pt idx="5852">
                  <c:v>207.83555281491377</c:v>
                </c:pt>
                <c:pt idx="5853">
                  <c:v>206.85533576283456</c:v>
                </c:pt>
                <c:pt idx="5854">
                  <c:v>206.98907199465322</c:v>
                </c:pt>
                <c:pt idx="5855">
                  <c:v>206.98907199465322</c:v>
                </c:pt>
                <c:pt idx="5856">
                  <c:v>206.98907199465322</c:v>
                </c:pt>
                <c:pt idx="5857">
                  <c:v>206.63952319214013</c:v>
                </c:pt>
                <c:pt idx="5858">
                  <c:v>205.9671352611941</c:v>
                </c:pt>
                <c:pt idx="5859">
                  <c:v>207.46413137044442</c:v>
                </c:pt>
                <c:pt idx="5860">
                  <c:v>207.50838326267731</c:v>
                </c:pt>
                <c:pt idx="5861">
                  <c:v>206.90230522509498</c:v>
                </c:pt>
                <c:pt idx="5862">
                  <c:v>206.90230522509501</c:v>
                </c:pt>
                <c:pt idx="5863">
                  <c:v>206.90230522509501</c:v>
                </c:pt>
                <c:pt idx="5864">
                  <c:v>207.93836361211072</c:v>
                </c:pt>
                <c:pt idx="5865">
                  <c:v>208.28542405532235</c:v>
                </c:pt>
                <c:pt idx="5866">
                  <c:v>208.46246648614201</c:v>
                </c:pt>
                <c:pt idx="5867">
                  <c:v>208.96832196423233</c:v>
                </c:pt>
                <c:pt idx="5868">
                  <c:v>208.79244674207899</c:v>
                </c:pt>
                <c:pt idx="5869">
                  <c:v>208.79244674207899</c:v>
                </c:pt>
                <c:pt idx="5870">
                  <c:v>208.79244674207899</c:v>
                </c:pt>
                <c:pt idx="5871">
                  <c:v>208.84180267326175</c:v>
                </c:pt>
                <c:pt idx="5872">
                  <c:v>208.71093933063631</c:v>
                </c:pt>
                <c:pt idx="5873">
                  <c:v>208.313779200342</c:v>
                </c:pt>
                <c:pt idx="5874">
                  <c:v>207.43589435344029</c:v>
                </c:pt>
                <c:pt idx="5875">
                  <c:v>207.05247338595117</c:v>
                </c:pt>
                <c:pt idx="5876">
                  <c:v>207.05247338595117</c:v>
                </c:pt>
                <c:pt idx="5877">
                  <c:v>207.05247338595117</c:v>
                </c:pt>
                <c:pt idx="5878">
                  <c:v>207.7060667599448</c:v>
                </c:pt>
                <c:pt idx="5879">
                  <c:v>206.86673223079265</c:v>
                </c:pt>
                <c:pt idx="5880">
                  <c:v>207.22848410131851</c:v>
                </c:pt>
                <c:pt idx="5881">
                  <c:v>207.00901643655385</c:v>
                </c:pt>
                <c:pt idx="5882">
                  <c:v>205.46390070266168</c:v>
                </c:pt>
                <c:pt idx="5883">
                  <c:v>205.46390070266165</c:v>
                </c:pt>
                <c:pt idx="5884">
                  <c:v>205.46390070266165</c:v>
                </c:pt>
                <c:pt idx="5885">
                  <c:v>205.49188635974616</c:v>
                </c:pt>
                <c:pt idx="5886">
                  <c:v>205.57606262578526</c:v>
                </c:pt>
                <c:pt idx="5887">
                  <c:v>205.91493189407194</c:v>
                </c:pt>
                <c:pt idx="5888">
                  <c:v>205.90944517887149</c:v>
                </c:pt>
                <c:pt idx="5889">
                  <c:v>204.84034525812831</c:v>
                </c:pt>
                <c:pt idx="5890">
                  <c:v>204.84034525812828</c:v>
                </c:pt>
                <c:pt idx="5891">
                  <c:v>204.84034525812828</c:v>
                </c:pt>
                <c:pt idx="5892">
                  <c:v>205.74429632580876</c:v>
                </c:pt>
                <c:pt idx="5893">
                  <c:v>205.33765697397303</c:v>
                </c:pt>
                <c:pt idx="5894">
                  <c:v>205.84486390054806</c:v>
                </c:pt>
                <c:pt idx="5895">
                  <c:v>206.10197146058368</c:v>
                </c:pt>
                <c:pt idx="5896">
                  <c:v>205.94486079468547</c:v>
                </c:pt>
                <c:pt idx="5897">
                  <c:v>205.94486079468547</c:v>
                </c:pt>
                <c:pt idx="5898">
                  <c:v>205.94486079468547</c:v>
                </c:pt>
                <c:pt idx="5899">
                  <c:v>206.0026682675414</c:v>
                </c:pt>
                <c:pt idx="5900">
                  <c:v>206.6942845137153</c:v>
                </c:pt>
                <c:pt idx="5901">
                  <c:v>206.1809492826888</c:v>
                </c:pt>
                <c:pt idx="5902">
                  <c:v>206.8070292803591</c:v>
                </c:pt>
                <c:pt idx="5903">
                  <c:v>208.00545585622677</c:v>
                </c:pt>
                <c:pt idx="5904">
                  <c:v>208.00545585622677</c:v>
                </c:pt>
                <c:pt idx="5905">
                  <c:v>208.00545585622677</c:v>
                </c:pt>
                <c:pt idx="5906">
                  <c:v>208.39230257278157</c:v>
                </c:pt>
                <c:pt idx="5907">
                  <c:v>207.43706369655769</c:v>
                </c:pt>
                <c:pt idx="5908">
                  <c:v>207.07755932726988</c:v>
                </c:pt>
                <c:pt idx="5909">
                  <c:v>205.37405916906701</c:v>
                </c:pt>
                <c:pt idx="5910">
                  <c:v>204.93934735838937</c:v>
                </c:pt>
                <c:pt idx="5911">
                  <c:v>204.9393473583894</c:v>
                </c:pt>
                <c:pt idx="5912">
                  <c:v>204.9393473583894</c:v>
                </c:pt>
                <c:pt idx="5913">
                  <c:v>205.05406509872361</c:v>
                </c:pt>
                <c:pt idx="5914">
                  <c:v>205.94358412720138</c:v>
                </c:pt>
                <c:pt idx="5915">
                  <c:v>205.75735852625289</c:v>
                </c:pt>
                <c:pt idx="5916">
                  <c:v>205.92575640343546</c:v>
                </c:pt>
                <c:pt idx="5917">
                  <c:v>205.64422791974454</c:v>
                </c:pt>
                <c:pt idx="5918">
                  <c:v>205.64422791974454</c:v>
                </c:pt>
                <c:pt idx="5919">
                  <c:v>205.64422791974454</c:v>
                </c:pt>
                <c:pt idx="5920">
                  <c:v>205.04396390646852</c:v>
                </c:pt>
                <c:pt idx="5921">
                  <c:v>205.71040584653184</c:v>
                </c:pt>
                <c:pt idx="5922">
                  <c:v>205.48311339842084</c:v>
                </c:pt>
                <c:pt idx="5923">
                  <c:v>205.05054830713169</c:v>
                </c:pt>
                <c:pt idx="5924">
                  <c:v>205.01298344728181</c:v>
                </c:pt>
                <c:pt idx="5925">
                  <c:v>205.01298344728181</c:v>
                </c:pt>
                <c:pt idx="5926">
                  <c:v>205.01298344728181</c:v>
                </c:pt>
                <c:pt idx="5927">
                  <c:v>204.22455089112097</c:v>
                </c:pt>
                <c:pt idx="5928">
                  <c:v>204.43517484124916</c:v>
                </c:pt>
                <c:pt idx="5929">
                  <c:v>203.90911007393385</c:v>
                </c:pt>
                <c:pt idx="5930">
                  <c:v>203.72087528822252</c:v>
                </c:pt>
                <c:pt idx="5931">
                  <c:v>204.21830979119093</c:v>
                </c:pt>
                <c:pt idx="5932">
                  <c:v>204.21830979119093</c:v>
                </c:pt>
                <c:pt idx="5933">
                  <c:v>204.21830979119093</c:v>
                </c:pt>
                <c:pt idx="5934">
                  <c:v>205.09069663626923</c:v>
                </c:pt>
                <c:pt idx="5935">
                  <c:v>205.19975648487764</c:v>
                </c:pt>
                <c:pt idx="5936">
                  <c:v>206.44835975455482</c:v>
                </c:pt>
                <c:pt idx="5937">
                  <c:v>205.82659410038875</c:v>
                </c:pt>
                <c:pt idx="5938">
                  <c:v>206.31079583240873</c:v>
                </c:pt>
                <c:pt idx="5939">
                  <c:v>206.3107958324087</c:v>
                </c:pt>
                <c:pt idx="5940">
                  <c:v>206.3107958324087</c:v>
                </c:pt>
                <c:pt idx="5941">
                  <c:v>205.60228047132938</c:v>
                </c:pt>
                <c:pt idx="5942">
                  <c:v>205.28910159744544</c:v>
                </c:pt>
                <c:pt idx="5943">
                  <c:v>205.87532159639451</c:v>
                </c:pt>
                <c:pt idx="5944">
                  <c:v>206.41508800869732</c:v>
                </c:pt>
                <c:pt idx="5945">
                  <c:v>207.21658557423308</c:v>
                </c:pt>
                <c:pt idx="5946">
                  <c:v>207.21658557423308</c:v>
                </c:pt>
                <c:pt idx="5947">
                  <c:v>207.21658557423308</c:v>
                </c:pt>
                <c:pt idx="5948">
                  <c:v>208.16098177675809</c:v>
                </c:pt>
                <c:pt idx="5949">
                  <c:v>208.15041335819981</c:v>
                </c:pt>
                <c:pt idx="5950">
                  <c:v>207.34348027684206</c:v>
                </c:pt>
                <c:pt idx="5951">
                  <c:v>206.9796815487781</c:v>
                </c:pt>
                <c:pt idx="5952">
                  <c:v>206.9796815487781</c:v>
                </c:pt>
                <c:pt idx="5953">
                  <c:v>206.9796815487781</c:v>
                </c:pt>
                <c:pt idx="5954">
                  <c:v>206.9796815487781</c:v>
                </c:pt>
                <c:pt idx="5955">
                  <c:v>206.9796815487781</c:v>
                </c:pt>
                <c:pt idx="5956">
                  <c:v>206.84786815216574</c:v>
                </c:pt>
                <c:pt idx="5957">
                  <c:v>206.66541250196221</c:v>
                </c:pt>
                <c:pt idx="5958">
                  <c:v>205.98877670306533</c:v>
                </c:pt>
                <c:pt idx="5959">
                  <c:v>206.02744401778116</c:v>
                </c:pt>
                <c:pt idx="5960">
                  <c:v>206.02744401778116</c:v>
                </c:pt>
                <c:pt idx="5961">
                  <c:v>206.02744401778116</c:v>
                </c:pt>
                <c:pt idx="5962">
                  <c:v>206.59821102092633</c:v>
                </c:pt>
                <c:pt idx="5963">
                  <c:v>206.13765455558084</c:v>
                </c:pt>
                <c:pt idx="5964">
                  <c:v>206.16193242513395</c:v>
                </c:pt>
                <c:pt idx="5965">
                  <c:v>205.91510623231514</c:v>
                </c:pt>
                <c:pt idx="5966">
                  <c:v>206.09810896937697</c:v>
                </c:pt>
                <c:pt idx="5967">
                  <c:v>206.09810896937694</c:v>
                </c:pt>
                <c:pt idx="5968">
                  <c:v>206.09810896937694</c:v>
                </c:pt>
                <c:pt idx="5969">
                  <c:v>205.7206106028984</c:v>
                </c:pt>
                <c:pt idx="5970">
                  <c:v>206.67907032212446</c:v>
                </c:pt>
                <c:pt idx="5971">
                  <c:v>206.37084865060805</c:v>
                </c:pt>
                <c:pt idx="5972">
                  <c:v>205.78647381993326</c:v>
                </c:pt>
                <c:pt idx="5973">
                  <c:v>206.3075014315699</c:v>
                </c:pt>
                <c:pt idx="5974">
                  <c:v>206.3075014315699</c:v>
                </c:pt>
                <c:pt idx="5975">
                  <c:v>206.3075014315699</c:v>
                </c:pt>
                <c:pt idx="5976">
                  <c:v>204.47810999375</c:v>
                </c:pt>
                <c:pt idx="5977">
                  <c:v>205.13545490528631</c:v>
                </c:pt>
                <c:pt idx="5978">
                  <c:v>204.31471599926934</c:v>
                </c:pt>
                <c:pt idx="5979">
                  <c:v>204.27911899517875</c:v>
                </c:pt>
                <c:pt idx="5980">
                  <c:v>203.70695499657086</c:v>
                </c:pt>
                <c:pt idx="5981">
                  <c:v>203.70695499657086</c:v>
                </c:pt>
                <c:pt idx="5982">
                  <c:v>203.70695499657086</c:v>
                </c:pt>
                <c:pt idx="5983">
                  <c:v>203.21552387390307</c:v>
                </c:pt>
                <c:pt idx="5984">
                  <c:v>204.08555879726606</c:v>
                </c:pt>
                <c:pt idx="5985">
                  <c:v>204.05717526374585</c:v>
                </c:pt>
                <c:pt idx="5986">
                  <c:v>203.23364609411408</c:v>
                </c:pt>
                <c:pt idx="5987">
                  <c:v>203.12438976890746</c:v>
                </c:pt>
                <c:pt idx="5988">
                  <c:v>203.12438976890746</c:v>
                </c:pt>
                <c:pt idx="5989">
                  <c:v>203.12438976890746</c:v>
                </c:pt>
                <c:pt idx="5990">
                  <c:v>202.83880799150123</c:v>
                </c:pt>
                <c:pt idx="5991">
                  <c:v>203.74620175958333</c:v>
                </c:pt>
                <c:pt idx="5992">
                  <c:v>203.13211694968734</c:v>
                </c:pt>
                <c:pt idx="5993">
                  <c:v>203.60422309614043</c:v>
                </c:pt>
                <c:pt idx="5994">
                  <c:v>203.98153697969261</c:v>
                </c:pt>
                <c:pt idx="5995">
                  <c:v>203.98153697969261</c:v>
                </c:pt>
                <c:pt idx="5996">
                  <c:v>203.98153697969261</c:v>
                </c:pt>
                <c:pt idx="5997">
                  <c:v>202.4909474461457</c:v>
                </c:pt>
                <c:pt idx="5998">
                  <c:v>202.99923058603599</c:v>
                </c:pt>
                <c:pt idx="5999">
                  <c:v>203.56989335005483</c:v>
                </c:pt>
                <c:pt idx="6000">
                  <c:v>202.85345344929436</c:v>
                </c:pt>
                <c:pt idx="6001">
                  <c:v>202.97822245701434</c:v>
                </c:pt>
                <c:pt idx="6002">
                  <c:v>202.97822245701431</c:v>
                </c:pt>
                <c:pt idx="6003">
                  <c:v>202.97822245701431</c:v>
                </c:pt>
                <c:pt idx="6004">
                  <c:v>203.03130171135257</c:v>
                </c:pt>
                <c:pt idx="6005">
                  <c:v>203.25837604690338</c:v>
                </c:pt>
                <c:pt idx="6006">
                  <c:v>203.26273330424726</c:v>
                </c:pt>
                <c:pt idx="6007">
                  <c:v>203.16750470915193</c:v>
                </c:pt>
                <c:pt idx="6008">
                  <c:v>202.64241261606807</c:v>
                </c:pt>
                <c:pt idx="6009">
                  <c:v>202.6424126160681</c:v>
                </c:pt>
                <c:pt idx="6010">
                  <c:v>202.6424126160681</c:v>
                </c:pt>
                <c:pt idx="6011">
                  <c:v>202.55094796836519</c:v>
                </c:pt>
                <c:pt idx="6012">
                  <c:v>201.94128517844035</c:v>
                </c:pt>
                <c:pt idx="6013">
                  <c:v>202.19881821798248</c:v>
                </c:pt>
                <c:pt idx="6014">
                  <c:v>202.44142931158353</c:v>
                </c:pt>
                <c:pt idx="6015">
                  <c:v>202.52645504059993</c:v>
                </c:pt>
                <c:pt idx="6016">
                  <c:v>202.5264550405999</c:v>
                </c:pt>
                <c:pt idx="6017">
                  <c:v>202.5264550405999</c:v>
                </c:pt>
                <c:pt idx="6018">
                  <c:v>202.19383349357625</c:v>
                </c:pt>
                <c:pt idx="6019">
                  <c:v>202.57537000072114</c:v>
                </c:pt>
                <c:pt idx="6020">
                  <c:v>202.79975072691732</c:v>
                </c:pt>
                <c:pt idx="6021">
                  <c:v>203.49473719184309</c:v>
                </c:pt>
                <c:pt idx="6022">
                  <c:v>204.08266294350898</c:v>
                </c:pt>
                <c:pt idx="6023">
                  <c:v>204.08266294350898</c:v>
                </c:pt>
                <c:pt idx="6024">
                  <c:v>204.08266294350898</c:v>
                </c:pt>
                <c:pt idx="6025">
                  <c:v>204.70015739450702</c:v>
                </c:pt>
                <c:pt idx="6026">
                  <c:v>203.64562153431703</c:v>
                </c:pt>
                <c:pt idx="6027">
                  <c:v>203.85658935456405</c:v>
                </c:pt>
                <c:pt idx="6028">
                  <c:v>204.29253257042535</c:v>
                </c:pt>
                <c:pt idx="6029">
                  <c:v>203.90999671913494</c:v>
                </c:pt>
                <c:pt idx="6030">
                  <c:v>203.90999671913494</c:v>
                </c:pt>
                <c:pt idx="6031">
                  <c:v>203.90999671913494</c:v>
                </c:pt>
                <c:pt idx="6032">
                  <c:v>203.76133584798089</c:v>
                </c:pt>
                <c:pt idx="6033">
                  <c:v>203.06757405834958</c:v>
                </c:pt>
                <c:pt idx="6034">
                  <c:v>203.44401602380725</c:v>
                </c:pt>
                <c:pt idx="6035">
                  <c:v>204.04840254612935</c:v>
                </c:pt>
                <c:pt idx="6036">
                  <c:v>205.17710638784334</c:v>
                </c:pt>
                <c:pt idx="6037">
                  <c:v>205.17710638784331</c:v>
                </c:pt>
                <c:pt idx="6038">
                  <c:v>205.17710638784331</c:v>
                </c:pt>
                <c:pt idx="6039">
                  <c:v>205.70315561620185</c:v>
                </c:pt>
                <c:pt idx="6040">
                  <c:v>205.01918155280663</c:v>
                </c:pt>
                <c:pt idx="6041">
                  <c:v>204.79453613406665</c:v>
                </c:pt>
                <c:pt idx="6042">
                  <c:v>204.06960100025358</c:v>
                </c:pt>
                <c:pt idx="6043">
                  <c:v>204.69853543382118</c:v>
                </c:pt>
                <c:pt idx="6044">
                  <c:v>204.69853543382115</c:v>
                </c:pt>
                <c:pt idx="6045">
                  <c:v>204.69853543382115</c:v>
                </c:pt>
                <c:pt idx="6046">
                  <c:v>204.68508285951074</c:v>
                </c:pt>
                <c:pt idx="6047">
                  <c:v>204.46756397107063</c:v>
                </c:pt>
                <c:pt idx="6048">
                  <c:v>205.63604564562871</c:v>
                </c:pt>
                <c:pt idx="6049">
                  <c:v>206.35856118920199</c:v>
                </c:pt>
                <c:pt idx="6050">
                  <c:v>205.50843999850431</c:v>
                </c:pt>
                <c:pt idx="6051">
                  <c:v>205.50843999850434</c:v>
                </c:pt>
                <c:pt idx="6052">
                  <c:v>205.50843999850434</c:v>
                </c:pt>
                <c:pt idx="6053">
                  <c:v>204.48789822376739</c:v>
                </c:pt>
                <c:pt idx="6054">
                  <c:v>204.00851069675545</c:v>
                </c:pt>
                <c:pt idx="6055">
                  <c:v>203.91869033124112</c:v>
                </c:pt>
                <c:pt idx="6056">
                  <c:v>203.77621889715957</c:v>
                </c:pt>
                <c:pt idx="6057">
                  <c:v>204.72088376025422</c:v>
                </c:pt>
                <c:pt idx="6058">
                  <c:v>204.72088376025425</c:v>
                </c:pt>
                <c:pt idx="6059">
                  <c:v>204.72088376025425</c:v>
                </c:pt>
                <c:pt idx="6060">
                  <c:v>204.38348140420001</c:v>
                </c:pt>
                <c:pt idx="6061">
                  <c:v>205.27199051616333</c:v>
                </c:pt>
                <c:pt idx="6062">
                  <c:v>205.0482278120063</c:v>
                </c:pt>
                <c:pt idx="6063">
                  <c:v>204.42663426410581</c:v>
                </c:pt>
                <c:pt idx="6064">
                  <c:v>204.08680641675141</c:v>
                </c:pt>
                <c:pt idx="6065">
                  <c:v>204.08680641675141</c:v>
                </c:pt>
                <c:pt idx="6066">
                  <c:v>204.08680641675141</c:v>
                </c:pt>
                <c:pt idx="6067">
                  <c:v>203.14415746072407</c:v>
                </c:pt>
                <c:pt idx="6068">
                  <c:v>202.81776979554587</c:v>
                </c:pt>
                <c:pt idx="6069">
                  <c:v>202.15426980383344</c:v>
                </c:pt>
                <c:pt idx="6070">
                  <c:v>201.7145824715374</c:v>
                </c:pt>
                <c:pt idx="6071">
                  <c:v>201.83708333260518</c:v>
                </c:pt>
                <c:pt idx="6072">
                  <c:v>201.83708333260518</c:v>
                </c:pt>
                <c:pt idx="6073">
                  <c:v>201.83708333260518</c:v>
                </c:pt>
                <c:pt idx="6074">
                  <c:v>203.09995518873239</c:v>
                </c:pt>
                <c:pt idx="6075">
                  <c:v>202.61449198401769</c:v>
                </c:pt>
                <c:pt idx="6076">
                  <c:v>203.3890567711598</c:v>
                </c:pt>
                <c:pt idx="6077">
                  <c:v>203.82929370116864</c:v>
                </c:pt>
                <c:pt idx="6078">
                  <c:v>204.32143996410696</c:v>
                </c:pt>
                <c:pt idx="6079">
                  <c:v>204.32143996410696</c:v>
                </c:pt>
                <c:pt idx="6080">
                  <c:v>204.32143996410696</c:v>
                </c:pt>
                <c:pt idx="6081">
                  <c:v>203.5062010846745</c:v>
                </c:pt>
                <c:pt idx="6082">
                  <c:v>203.97239571481842</c:v>
                </c:pt>
                <c:pt idx="6083">
                  <c:v>202.85638997188417</c:v>
                </c:pt>
                <c:pt idx="6084">
                  <c:v>202.31219526331105</c:v>
                </c:pt>
                <c:pt idx="6085">
                  <c:v>203.00223122265737</c:v>
                </c:pt>
                <c:pt idx="6086">
                  <c:v>203.00223122265737</c:v>
                </c:pt>
                <c:pt idx="6087">
                  <c:v>203.00223122265737</c:v>
                </c:pt>
                <c:pt idx="6088">
                  <c:v>202.3764266179021</c:v>
                </c:pt>
                <c:pt idx="6089">
                  <c:v>201.97382841070913</c:v>
                </c:pt>
                <c:pt idx="6090">
                  <c:v>202.29150610353031</c:v>
                </c:pt>
                <c:pt idx="6091">
                  <c:v>202.87583557175088</c:v>
                </c:pt>
                <c:pt idx="6092">
                  <c:v>202.37196445516307</c:v>
                </c:pt>
                <c:pt idx="6093">
                  <c:v>202.37196445516307</c:v>
                </c:pt>
                <c:pt idx="6094">
                  <c:v>202.37196445516307</c:v>
                </c:pt>
                <c:pt idx="6095">
                  <c:v>202.82548914436398</c:v>
                </c:pt>
                <c:pt idx="6096">
                  <c:v>202.81738504639173</c:v>
                </c:pt>
                <c:pt idx="6097">
                  <c:v>203.44654946029269</c:v>
                </c:pt>
                <c:pt idx="6098">
                  <c:v>203.19308663044569</c:v>
                </c:pt>
                <c:pt idx="6099">
                  <c:v>204.66569715285613</c:v>
                </c:pt>
                <c:pt idx="6100">
                  <c:v>204.66569715285613</c:v>
                </c:pt>
                <c:pt idx="6101">
                  <c:v>204.66569715285613</c:v>
                </c:pt>
                <c:pt idx="6102">
                  <c:v>205.38496463568254</c:v>
                </c:pt>
                <c:pt idx="6103">
                  <c:v>204.76580716166723</c:v>
                </c:pt>
                <c:pt idx="6104">
                  <c:v>204.80157577374689</c:v>
                </c:pt>
                <c:pt idx="6105">
                  <c:v>204.26333724808822</c:v>
                </c:pt>
                <c:pt idx="6106">
                  <c:v>203.50281320467431</c:v>
                </c:pt>
                <c:pt idx="6107">
                  <c:v>203.50281320467431</c:v>
                </c:pt>
                <c:pt idx="6108">
                  <c:v>203.50281320467431</c:v>
                </c:pt>
                <c:pt idx="6109">
                  <c:v>202.68132367448354</c:v>
                </c:pt>
                <c:pt idx="6110">
                  <c:v>203.2686567794097</c:v>
                </c:pt>
                <c:pt idx="6111">
                  <c:v>202.59771875586648</c:v>
                </c:pt>
                <c:pt idx="6112">
                  <c:v>202.165726841142</c:v>
                </c:pt>
                <c:pt idx="6113">
                  <c:v>202.1495928017973</c:v>
                </c:pt>
                <c:pt idx="6114">
                  <c:v>202.1495928017973</c:v>
                </c:pt>
                <c:pt idx="6115">
                  <c:v>202.1495928017973</c:v>
                </c:pt>
                <c:pt idx="6116">
                  <c:v>201.76607438318212</c:v>
                </c:pt>
                <c:pt idx="6117">
                  <c:v>202.70589224301386</c:v>
                </c:pt>
                <c:pt idx="6118">
                  <c:v>203.79712083274435</c:v>
                </c:pt>
                <c:pt idx="6119">
                  <c:v>203.15767113048798</c:v>
                </c:pt>
                <c:pt idx="6120">
                  <c:v>203.11478993139784</c:v>
                </c:pt>
                <c:pt idx="6121">
                  <c:v>203.11478993139784</c:v>
                </c:pt>
                <c:pt idx="6122">
                  <c:v>203.11478993139784</c:v>
                </c:pt>
                <c:pt idx="6123">
                  <c:v>202.32479955346957</c:v>
                </c:pt>
                <c:pt idx="6124">
                  <c:v>202.01219938292715</c:v>
                </c:pt>
                <c:pt idx="6125">
                  <c:v>201.41248018146521</c:v>
                </c:pt>
                <c:pt idx="6126">
                  <c:v>201.04478855773374</c:v>
                </c:pt>
                <c:pt idx="6127">
                  <c:v>203.08368151054233</c:v>
                </c:pt>
                <c:pt idx="6128">
                  <c:v>203.08368151054233</c:v>
                </c:pt>
                <c:pt idx="6129">
                  <c:v>203.08368151054233</c:v>
                </c:pt>
                <c:pt idx="6130">
                  <c:v>203.21622404958978</c:v>
                </c:pt>
                <c:pt idx="6131">
                  <c:v>204.37061728627557</c:v>
                </c:pt>
                <c:pt idx="6132">
                  <c:v>203.7156290292462</c:v>
                </c:pt>
                <c:pt idx="6133">
                  <c:v>204.22637797754032</c:v>
                </c:pt>
                <c:pt idx="6134">
                  <c:v>204.46486305672846</c:v>
                </c:pt>
                <c:pt idx="6135">
                  <c:v>204.46486305672846</c:v>
                </c:pt>
                <c:pt idx="6136">
                  <c:v>204.46486305672846</c:v>
                </c:pt>
                <c:pt idx="6137">
                  <c:v>205.16867689746755</c:v>
                </c:pt>
                <c:pt idx="6138">
                  <c:v>204.16402249204469</c:v>
                </c:pt>
                <c:pt idx="6139">
                  <c:v>203.55100018592131</c:v>
                </c:pt>
                <c:pt idx="6140">
                  <c:v>203.16546055088412</c:v>
                </c:pt>
                <c:pt idx="6141">
                  <c:v>203.2341839324433</c:v>
                </c:pt>
                <c:pt idx="6142">
                  <c:v>203.2341839324433</c:v>
                </c:pt>
                <c:pt idx="6143">
                  <c:v>203.2341839324433</c:v>
                </c:pt>
                <c:pt idx="6144">
                  <c:v>204.54921002136126</c:v>
                </c:pt>
                <c:pt idx="6145">
                  <c:v>204.52348877538179</c:v>
                </c:pt>
                <c:pt idx="6146">
                  <c:v>203.94960000307148</c:v>
                </c:pt>
                <c:pt idx="6147">
                  <c:v>204.20190701826644</c:v>
                </c:pt>
                <c:pt idx="6148">
                  <c:v>204.72093144729365</c:v>
                </c:pt>
                <c:pt idx="6149">
                  <c:v>204.72093144729365</c:v>
                </c:pt>
                <c:pt idx="6150">
                  <c:v>204.72093144729365</c:v>
                </c:pt>
                <c:pt idx="6151">
                  <c:v>204.77666030302882</c:v>
                </c:pt>
                <c:pt idx="6152">
                  <c:v>204.88652539450669</c:v>
                </c:pt>
                <c:pt idx="6153">
                  <c:v>204.19758265602414</c:v>
                </c:pt>
                <c:pt idx="6154">
                  <c:v>205.91559550337522</c:v>
                </c:pt>
                <c:pt idx="6155">
                  <c:v>205.43591255108365</c:v>
                </c:pt>
                <c:pt idx="6156">
                  <c:v>205.43591255108365</c:v>
                </c:pt>
                <c:pt idx="6157">
                  <c:v>205.43591255108365</c:v>
                </c:pt>
                <c:pt idx="6158">
                  <c:v>205.48638448498315</c:v>
                </c:pt>
                <c:pt idx="6159">
                  <c:v>204.81244071188769</c:v>
                </c:pt>
                <c:pt idx="6160">
                  <c:v>204.28927453515288</c:v>
                </c:pt>
                <c:pt idx="6161">
                  <c:v>204.72970177701103</c:v>
                </c:pt>
                <c:pt idx="6162">
                  <c:v>205.46992256794567</c:v>
                </c:pt>
                <c:pt idx="6163">
                  <c:v>205.46992256794567</c:v>
                </c:pt>
                <c:pt idx="6164">
                  <c:v>205.46992256794567</c:v>
                </c:pt>
                <c:pt idx="6165">
                  <c:v>205.77888622883771</c:v>
                </c:pt>
                <c:pt idx="6166">
                  <c:v>206.23895065582462</c:v>
                </c:pt>
                <c:pt idx="6167">
                  <c:v>206.39005401823826</c:v>
                </c:pt>
                <c:pt idx="6168">
                  <c:v>205.75090555983076</c:v>
                </c:pt>
                <c:pt idx="6169">
                  <c:v>205.95422031473439</c:v>
                </c:pt>
                <c:pt idx="6170">
                  <c:v>205.95422031473439</c:v>
                </c:pt>
                <c:pt idx="6171">
                  <c:v>205.95422031473439</c:v>
                </c:pt>
                <c:pt idx="6172">
                  <c:v>206.35266798338893</c:v>
                </c:pt>
                <c:pt idx="6173">
                  <c:v>207.36802513057907</c:v>
                </c:pt>
                <c:pt idx="6174">
                  <c:v>207.10120098370416</c:v>
                </c:pt>
                <c:pt idx="6175">
                  <c:v>207.38320468823352</c:v>
                </c:pt>
                <c:pt idx="6176">
                  <c:v>206.83329688816107</c:v>
                </c:pt>
                <c:pt idx="6177">
                  <c:v>206.83329688816104</c:v>
                </c:pt>
                <c:pt idx="6178">
                  <c:v>206.83329688816104</c:v>
                </c:pt>
                <c:pt idx="6179">
                  <c:v>207.80900967888803</c:v>
                </c:pt>
                <c:pt idx="6180">
                  <c:v>208.08332834157514</c:v>
                </c:pt>
                <c:pt idx="6181">
                  <c:v>208.51078192892595</c:v>
                </c:pt>
                <c:pt idx="6182">
                  <c:v>209.24928464571479</c:v>
                </c:pt>
                <c:pt idx="6183">
                  <c:v>209.08027669528292</c:v>
                </c:pt>
                <c:pt idx="6184">
                  <c:v>209.08027669528292</c:v>
                </c:pt>
                <c:pt idx="6185">
                  <c:v>209.08027669528292</c:v>
                </c:pt>
                <c:pt idx="6186">
                  <c:v>209.04395808084305</c:v>
                </c:pt>
                <c:pt idx="6187">
                  <c:v>208.6266521471014</c:v>
                </c:pt>
                <c:pt idx="6188">
                  <c:v>208.10592969131284</c:v>
                </c:pt>
                <c:pt idx="6189">
                  <c:v>208.29390212024205</c:v>
                </c:pt>
                <c:pt idx="6190">
                  <c:v>209.39139221669669</c:v>
                </c:pt>
                <c:pt idx="6191">
                  <c:v>209.39139221669669</c:v>
                </c:pt>
                <c:pt idx="6192">
                  <c:v>209.39139221669669</c:v>
                </c:pt>
                <c:pt idx="6193">
                  <c:v>209.2315236424333</c:v>
                </c:pt>
                <c:pt idx="6194">
                  <c:v>208.98965366624878</c:v>
                </c:pt>
                <c:pt idx="6195">
                  <c:v>208.41678087161108</c:v>
                </c:pt>
                <c:pt idx="6196">
                  <c:v>207.86482903174482</c:v>
                </c:pt>
                <c:pt idx="6197">
                  <c:v>207.07965687502548</c:v>
                </c:pt>
                <c:pt idx="6198">
                  <c:v>207.07965687502551</c:v>
                </c:pt>
                <c:pt idx="6199">
                  <c:v>207.07965687502551</c:v>
                </c:pt>
                <c:pt idx="6200">
                  <c:v>207.8260687276514</c:v>
                </c:pt>
                <c:pt idx="6201">
                  <c:v>208.38231942613919</c:v>
                </c:pt>
                <c:pt idx="6202">
                  <c:v>208.38231942613916</c:v>
                </c:pt>
                <c:pt idx="6203">
                  <c:v>208.38231942613916</c:v>
                </c:pt>
                <c:pt idx="6204">
                  <c:v>208.89370299475456</c:v>
                </c:pt>
                <c:pt idx="6205">
                  <c:v>208.89370299475456</c:v>
                </c:pt>
                <c:pt idx="6206">
                  <c:v>208.89370299475456</c:v>
                </c:pt>
                <c:pt idx="6207">
                  <c:v>208.94850776356208</c:v>
                </c:pt>
                <c:pt idx="6208">
                  <c:v>209.07809325407271</c:v>
                </c:pt>
                <c:pt idx="6209">
                  <c:v>209.07809325407271</c:v>
                </c:pt>
                <c:pt idx="6210">
                  <c:v>209.46818367463607</c:v>
                </c:pt>
                <c:pt idx="6211">
                  <c:v>208.4875762814051</c:v>
                </c:pt>
                <c:pt idx="6212">
                  <c:v>208.4875762814051</c:v>
                </c:pt>
                <c:pt idx="6213">
                  <c:v>208.4875762814051</c:v>
                </c:pt>
                <c:pt idx="6214">
                  <c:v>208.02442870366909</c:v>
                </c:pt>
                <c:pt idx="6215">
                  <c:v>208.51151835468386</c:v>
                </c:pt>
                <c:pt idx="6216">
                  <c:v>207.82597407915375</c:v>
                </c:pt>
                <c:pt idx="6217">
                  <c:v>208.08544227806186</c:v>
                </c:pt>
                <c:pt idx="6218">
                  <c:v>208.05630918762492</c:v>
                </c:pt>
                <c:pt idx="6219">
                  <c:v>208.05630918762492</c:v>
                </c:pt>
                <c:pt idx="6220">
                  <c:v>208.05630918762492</c:v>
                </c:pt>
                <c:pt idx="6221">
                  <c:v>208.14102611162653</c:v>
                </c:pt>
                <c:pt idx="6222">
                  <c:v>208.62280102932255</c:v>
                </c:pt>
                <c:pt idx="6223">
                  <c:v>208.49124265141251</c:v>
                </c:pt>
                <c:pt idx="6224">
                  <c:v>208.70510797552117</c:v>
                </c:pt>
                <c:pt idx="6225">
                  <c:v>208.15312378916198</c:v>
                </c:pt>
                <c:pt idx="6226">
                  <c:v>208.15312378916201</c:v>
                </c:pt>
                <c:pt idx="6227">
                  <c:v>208.15312378916201</c:v>
                </c:pt>
                <c:pt idx="6228">
                  <c:v>208.59639580790883</c:v>
                </c:pt>
                <c:pt idx="6229">
                  <c:v>208.16238421848823</c:v>
                </c:pt>
                <c:pt idx="6230">
                  <c:v>208.61898386234137</c:v>
                </c:pt>
                <c:pt idx="6231">
                  <c:v>207.61818619274914</c:v>
                </c:pt>
                <c:pt idx="6232">
                  <c:v>207.23311892085894</c:v>
                </c:pt>
                <c:pt idx="6233">
                  <c:v>207.23311892085897</c:v>
                </c:pt>
                <c:pt idx="6234">
                  <c:v>207.23311892085897</c:v>
                </c:pt>
                <c:pt idx="6235">
                  <c:v>207.4718728770728</c:v>
                </c:pt>
                <c:pt idx="6236">
                  <c:v>206.79373504149297</c:v>
                </c:pt>
                <c:pt idx="6237">
                  <c:v>206.82988672479365</c:v>
                </c:pt>
                <c:pt idx="6238">
                  <c:v>206.16443652178069</c:v>
                </c:pt>
                <c:pt idx="6239">
                  <c:v>207.10099240644013</c:v>
                </c:pt>
                <c:pt idx="6240">
                  <c:v>207.10099240644013</c:v>
                </c:pt>
                <c:pt idx="6241">
                  <c:v>207.10099240644013</c:v>
                </c:pt>
                <c:pt idx="6242">
                  <c:v>207.06149073857293</c:v>
                </c:pt>
                <c:pt idx="6243">
                  <c:v>207.6247538985981</c:v>
                </c:pt>
                <c:pt idx="6244">
                  <c:v>207.54836617662443</c:v>
                </c:pt>
                <c:pt idx="6245">
                  <c:v>206.28601125764328</c:v>
                </c:pt>
                <c:pt idx="6246">
                  <c:v>205.6334113953931</c:v>
                </c:pt>
                <c:pt idx="6247">
                  <c:v>205.6334113953931</c:v>
                </c:pt>
                <c:pt idx="6248">
                  <c:v>205.6334113953931</c:v>
                </c:pt>
                <c:pt idx="6249">
                  <c:v>205.79868297088873</c:v>
                </c:pt>
                <c:pt idx="6250">
                  <c:v>206.71740283501836</c:v>
                </c:pt>
                <c:pt idx="6251">
                  <c:v>207.2590091684809</c:v>
                </c:pt>
                <c:pt idx="6252">
                  <c:v>207.38502437142148</c:v>
                </c:pt>
                <c:pt idx="6253">
                  <c:v>208.26298432922488</c:v>
                </c:pt>
                <c:pt idx="6254">
                  <c:v>208.26298432922488</c:v>
                </c:pt>
                <c:pt idx="6255">
                  <c:v>208.26298432922488</c:v>
                </c:pt>
                <c:pt idx="6256">
                  <c:v>208.06417513162253</c:v>
                </c:pt>
                <c:pt idx="6257">
                  <c:v>207.97259612981509</c:v>
                </c:pt>
                <c:pt idx="6258">
                  <c:v>208.23565341077312</c:v>
                </c:pt>
                <c:pt idx="6259">
                  <c:v>208.99570714243504</c:v>
                </c:pt>
                <c:pt idx="6260">
                  <c:v>209.05167546047764</c:v>
                </c:pt>
                <c:pt idx="6261">
                  <c:v>209.05167546047764</c:v>
                </c:pt>
                <c:pt idx="6262">
                  <c:v>209.05167546047764</c:v>
                </c:pt>
                <c:pt idx="6263">
                  <c:v>208.29230476429862</c:v>
                </c:pt>
                <c:pt idx="6264">
                  <c:v>208.49982471084493</c:v>
                </c:pt>
                <c:pt idx="6265">
                  <c:v>207.92026006938562</c:v>
                </c:pt>
                <c:pt idx="6266">
                  <c:v>206.44185370985952</c:v>
                </c:pt>
                <c:pt idx="6267">
                  <c:v>208.00359543140118</c:v>
                </c:pt>
                <c:pt idx="6268">
                  <c:v>208.00359543140121</c:v>
                </c:pt>
                <c:pt idx="6269">
                  <c:v>208.00359543140121</c:v>
                </c:pt>
                <c:pt idx="6270">
                  <c:v>206.26429593205364</c:v>
                </c:pt>
                <c:pt idx="6271">
                  <c:v>208.75161482819414</c:v>
                </c:pt>
                <c:pt idx="6272">
                  <c:v>206.24884964476777</c:v>
                </c:pt>
                <c:pt idx="6273">
                  <c:v>204.83931016704781</c:v>
                </c:pt>
                <c:pt idx="6274">
                  <c:v>206.14914902039243</c:v>
                </c:pt>
                <c:pt idx="6275">
                  <c:v>206.14914902039243</c:v>
                </c:pt>
                <c:pt idx="6276">
                  <c:v>206.14914902039243</c:v>
                </c:pt>
                <c:pt idx="6277">
                  <c:v>206.84601688451804</c:v>
                </c:pt>
                <c:pt idx="6278">
                  <c:v>206.91411999645624</c:v>
                </c:pt>
                <c:pt idx="6279">
                  <c:v>204.23860950718841</c:v>
                </c:pt>
                <c:pt idx="6280">
                  <c:v>204.453242200555</c:v>
                </c:pt>
                <c:pt idx="6281">
                  <c:v>203.71997648768962</c:v>
                </c:pt>
                <c:pt idx="6282">
                  <c:v>203.71997648768962</c:v>
                </c:pt>
                <c:pt idx="6283">
                  <c:v>203.71997648768962</c:v>
                </c:pt>
                <c:pt idx="6284">
                  <c:v>199.63005951695612</c:v>
                </c:pt>
                <c:pt idx="6285">
                  <c:v>194.14676398130351</c:v>
                </c:pt>
                <c:pt idx="6286">
                  <c:v>196.6310506067812</c:v>
                </c:pt>
                <c:pt idx="6287">
                  <c:v>193.0107447953371</c:v>
                </c:pt>
                <c:pt idx="6288">
                  <c:v>196.08925543633728</c:v>
                </c:pt>
                <c:pt idx="6289">
                  <c:v>196.08925543633728</c:v>
                </c:pt>
                <c:pt idx="6290">
                  <c:v>196.08925543633728</c:v>
                </c:pt>
                <c:pt idx="6291">
                  <c:v>196.06936226166891</c:v>
                </c:pt>
                <c:pt idx="6292">
                  <c:v>195.10981556329622</c:v>
                </c:pt>
                <c:pt idx="6293">
                  <c:v>194.38389355318029</c:v>
                </c:pt>
                <c:pt idx="6294">
                  <c:v>195.22602809606926</c:v>
                </c:pt>
                <c:pt idx="6295">
                  <c:v>195.95271187833421</c:v>
                </c:pt>
                <c:pt idx="6296">
                  <c:v>195.95271187833421</c:v>
                </c:pt>
                <c:pt idx="6297">
                  <c:v>195.95271187833421</c:v>
                </c:pt>
                <c:pt idx="6298">
                  <c:v>194.39341942351024</c:v>
                </c:pt>
                <c:pt idx="6299">
                  <c:v>197.05331746001002</c:v>
                </c:pt>
                <c:pt idx="6300">
                  <c:v>197.85499825325678</c:v>
                </c:pt>
                <c:pt idx="6301">
                  <c:v>197.09832591136262</c:v>
                </c:pt>
                <c:pt idx="6302">
                  <c:v>196.380896376739</c:v>
                </c:pt>
                <c:pt idx="6303">
                  <c:v>196.38089637673897</c:v>
                </c:pt>
                <c:pt idx="6304">
                  <c:v>196.38089637673897</c:v>
                </c:pt>
                <c:pt idx="6305">
                  <c:v>197.62343757299107</c:v>
                </c:pt>
                <c:pt idx="6306">
                  <c:v>199.80753088833137</c:v>
                </c:pt>
                <c:pt idx="6307">
                  <c:v>202.19894429354687</c:v>
                </c:pt>
                <c:pt idx="6308">
                  <c:v>203.9512672470413</c:v>
                </c:pt>
                <c:pt idx="6309">
                  <c:v>203.95126724704127</c:v>
                </c:pt>
                <c:pt idx="6310">
                  <c:v>203.95126724704127</c:v>
                </c:pt>
                <c:pt idx="6311">
                  <c:v>203.95126724704127</c:v>
                </c:pt>
                <c:pt idx="6312">
                  <c:v>203.95126724704127</c:v>
                </c:pt>
                <c:pt idx="6313">
                  <c:v>204.03937741890434</c:v>
                </c:pt>
                <c:pt idx="6314">
                  <c:v>202.51226276854018</c:v>
                </c:pt>
                <c:pt idx="6315">
                  <c:v>201.34427526571014</c:v>
                </c:pt>
                <c:pt idx="6316">
                  <c:v>202.39723571124944</c:v>
                </c:pt>
                <c:pt idx="6317">
                  <c:v>202.39723571124944</c:v>
                </c:pt>
                <c:pt idx="6318">
                  <c:v>202.39723571124944</c:v>
                </c:pt>
                <c:pt idx="6319">
                  <c:v>201.59241284990208</c:v>
                </c:pt>
                <c:pt idx="6320">
                  <c:v>203.90284789711671</c:v>
                </c:pt>
                <c:pt idx="6321">
                  <c:v>203.14151026603204</c:v>
                </c:pt>
                <c:pt idx="6322">
                  <c:v>204.94926042094079</c:v>
                </c:pt>
                <c:pt idx="6323">
                  <c:v>204.96498550005026</c:v>
                </c:pt>
                <c:pt idx="6324">
                  <c:v>204.96498550005026</c:v>
                </c:pt>
                <c:pt idx="6325">
                  <c:v>204.96498550005026</c:v>
                </c:pt>
                <c:pt idx="6326">
                  <c:v>204.48187551122797</c:v>
                </c:pt>
                <c:pt idx="6327">
                  <c:v>204.31000144320862</c:v>
                </c:pt>
                <c:pt idx="6328">
                  <c:v>206.17526018569615</c:v>
                </c:pt>
                <c:pt idx="6329">
                  <c:v>207.75837644849636</c:v>
                </c:pt>
                <c:pt idx="6330">
                  <c:v>207.21059504460626</c:v>
                </c:pt>
                <c:pt idx="6331">
                  <c:v>207.21059504460626</c:v>
                </c:pt>
                <c:pt idx="6332">
                  <c:v>207.21059504460626</c:v>
                </c:pt>
                <c:pt idx="6333">
                  <c:v>207.58938066965626</c:v>
                </c:pt>
                <c:pt idx="6334">
                  <c:v>207.22369252342099</c:v>
                </c:pt>
                <c:pt idx="6335">
                  <c:v>207.36280065659824</c:v>
                </c:pt>
                <c:pt idx="6336">
                  <c:v>208.37764278887707</c:v>
                </c:pt>
                <c:pt idx="6337">
                  <c:v>208.81442008693213</c:v>
                </c:pt>
                <c:pt idx="6338">
                  <c:v>208.81442008693213</c:v>
                </c:pt>
                <c:pt idx="6339">
                  <c:v>208.81442008693213</c:v>
                </c:pt>
                <c:pt idx="6340">
                  <c:v>209.06497965180662</c:v>
                </c:pt>
                <c:pt idx="6341">
                  <c:v>208.18921477671938</c:v>
                </c:pt>
                <c:pt idx="6342">
                  <c:v>208.65394846530938</c:v>
                </c:pt>
                <c:pt idx="6343">
                  <c:v>207.15321533769415</c:v>
                </c:pt>
                <c:pt idx="6344">
                  <c:v>208.74146042596996</c:v>
                </c:pt>
                <c:pt idx="6345">
                  <c:v>208.74146042596996</c:v>
                </c:pt>
                <c:pt idx="6346">
                  <c:v>208.74146042596996</c:v>
                </c:pt>
                <c:pt idx="6347">
                  <c:v>207.49944399754656</c:v>
                </c:pt>
                <c:pt idx="6348">
                  <c:v>208.42525028744393</c:v>
                </c:pt>
                <c:pt idx="6349">
                  <c:v>208.21885575076752</c:v>
                </c:pt>
                <c:pt idx="6350">
                  <c:v>209.00591715976228</c:v>
                </c:pt>
                <c:pt idx="6351">
                  <c:v>210.68440528243937</c:v>
                </c:pt>
                <c:pt idx="6352">
                  <c:v>210.68440528243937</c:v>
                </c:pt>
                <c:pt idx="6353">
                  <c:v>210.68440528243937</c:v>
                </c:pt>
                <c:pt idx="6354">
                  <c:v>210.62332485962349</c:v>
                </c:pt>
                <c:pt idx="6355">
                  <c:v>213.16217608344755</c:v>
                </c:pt>
                <c:pt idx="6356">
                  <c:v>211.08978919454398</c:v>
                </c:pt>
                <c:pt idx="6357">
                  <c:v>211.92623817268949</c:v>
                </c:pt>
                <c:pt idx="6358">
                  <c:v>213.19150391626943</c:v>
                </c:pt>
                <c:pt idx="6359">
                  <c:v>213.19150391626943</c:v>
                </c:pt>
                <c:pt idx="6360">
                  <c:v>213.19150391626943</c:v>
                </c:pt>
                <c:pt idx="6361">
                  <c:v>212.7308517701945</c:v>
                </c:pt>
                <c:pt idx="6362">
                  <c:v>212.30736323905893</c:v>
                </c:pt>
                <c:pt idx="6363">
                  <c:v>210.95372247826052</c:v>
                </c:pt>
                <c:pt idx="6364">
                  <c:v>211.74565132224316</c:v>
                </c:pt>
                <c:pt idx="6365">
                  <c:v>209.73916713363062</c:v>
                </c:pt>
                <c:pt idx="6366">
                  <c:v>209.73916713363062</c:v>
                </c:pt>
                <c:pt idx="6367">
                  <c:v>209.73916713363062</c:v>
                </c:pt>
                <c:pt idx="6368">
                  <c:v>208.84170198693457</c:v>
                </c:pt>
                <c:pt idx="6369">
                  <c:v>208.16769264230916</c:v>
                </c:pt>
                <c:pt idx="6370">
                  <c:v>207.23232464594872</c:v>
                </c:pt>
                <c:pt idx="6371">
                  <c:v>207.32714744137823</c:v>
                </c:pt>
                <c:pt idx="6372">
                  <c:v>207.9631756548473</c:v>
                </c:pt>
                <c:pt idx="6373">
                  <c:v>207.9631756548473</c:v>
                </c:pt>
                <c:pt idx="6374">
                  <c:v>207.9631756548473</c:v>
                </c:pt>
                <c:pt idx="6375">
                  <c:v>208.6675661158489</c:v>
                </c:pt>
                <c:pt idx="6376">
                  <c:v>208.24045777420247</c:v>
                </c:pt>
                <c:pt idx="6377">
                  <c:v>207.79090527885103</c:v>
                </c:pt>
                <c:pt idx="6378">
                  <c:v>208.25358714753355</c:v>
                </c:pt>
                <c:pt idx="6379">
                  <c:v>207.56193681574251</c:v>
                </c:pt>
                <c:pt idx="6380">
                  <c:v>207.56193681574251</c:v>
                </c:pt>
                <c:pt idx="6381">
                  <c:v>207.56193681574251</c:v>
                </c:pt>
                <c:pt idx="6382">
                  <c:v>207.56519479154954</c:v>
                </c:pt>
                <c:pt idx="6383">
                  <c:v>206.88266723098167</c:v>
                </c:pt>
                <c:pt idx="6384">
                  <c:v>207.05515866742658</c:v>
                </c:pt>
                <c:pt idx="6385">
                  <c:v>205.87860626138126</c:v>
                </c:pt>
                <c:pt idx="6386">
                  <c:v>206.15135571873193</c:v>
                </c:pt>
                <c:pt idx="6387">
                  <c:v>206.15135571873193</c:v>
                </c:pt>
                <c:pt idx="6388">
                  <c:v>206.15135571873193</c:v>
                </c:pt>
                <c:pt idx="6389">
                  <c:v>205.54124904038792</c:v>
                </c:pt>
                <c:pt idx="6390">
                  <c:v>206.02440828402268</c:v>
                </c:pt>
                <c:pt idx="6391">
                  <c:v>206.87715484089199</c:v>
                </c:pt>
                <c:pt idx="6392">
                  <c:v>206.2979912035569</c:v>
                </c:pt>
                <c:pt idx="6393">
                  <c:v>207.13814992100865</c:v>
                </c:pt>
                <c:pt idx="6394">
                  <c:v>207.13814992100865</c:v>
                </c:pt>
                <c:pt idx="6395">
                  <c:v>207.13814992100865</c:v>
                </c:pt>
                <c:pt idx="6396">
                  <c:v>207.04763021308108</c:v>
                </c:pt>
                <c:pt idx="6397">
                  <c:v>207.40552640392886</c:v>
                </c:pt>
                <c:pt idx="6398">
                  <c:v>206.82954194897974</c:v>
                </c:pt>
                <c:pt idx="6399">
                  <c:v>206.1861727021471</c:v>
                </c:pt>
                <c:pt idx="6400">
                  <c:v>206.32085762334341</c:v>
                </c:pt>
                <c:pt idx="6401">
                  <c:v>206.32085762334339</c:v>
                </c:pt>
                <c:pt idx="6402">
                  <c:v>206.32085762334339</c:v>
                </c:pt>
                <c:pt idx="6403">
                  <c:v>206.31351834630561</c:v>
                </c:pt>
                <c:pt idx="6404">
                  <c:v>205.86740921220451</c:v>
                </c:pt>
                <c:pt idx="6405">
                  <c:v>206.0592615589691</c:v>
                </c:pt>
                <c:pt idx="6406">
                  <c:v>206.03133513888173</c:v>
                </c:pt>
                <c:pt idx="6407">
                  <c:v>205.35115460929106</c:v>
                </c:pt>
                <c:pt idx="6408">
                  <c:v>205.35115460929106</c:v>
                </c:pt>
                <c:pt idx="6409">
                  <c:v>205.35115460929106</c:v>
                </c:pt>
                <c:pt idx="6410">
                  <c:v>206.26267133875047</c:v>
                </c:pt>
                <c:pt idx="6411">
                  <c:v>207.35217038247458</c:v>
                </c:pt>
                <c:pt idx="6412">
                  <c:v>208.91518327612894</c:v>
                </c:pt>
                <c:pt idx="6413">
                  <c:v>208.45739154854797</c:v>
                </c:pt>
                <c:pt idx="6414">
                  <c:v>208.81602706269922</c:v>
                </c:pt>
                <c:pt idx="6415">
                  <c:v>208.81602706269922</c:v>
                </c:pt>
                <c:pt idx="6416">
                  <c:v>208.81602706269922</c:v>
                </c:pt>
                <c:pt idx="6417">
                  <c:v>208.69798334190784</c:v>
                </c:pt>
                <c:pt idx="6418">
                  <c:v>209.04720834824727</c:v>
                </c:pt>
                <c:pt idx="6419">
                  <c:v>209.42741470985098</c:v>
                </c:pt>
                <c:pt idx="6420">
                  <c:v>210.22967535299517</c:v>
                </c:pt>
                <c:pt idx="6421">
                  <c:v>211.94590479139939</c:v>
                </c:pt>
                <c:pt idx="6422">
                  <c:v>211.94590479139939</c:v>
                </c:pt>
                <c:pt idx="6423">
                  <c:v>211.94590479139939</c:v>
                </c:pt>
                <c:pt idx="6424">
                  <c:v>211.26939492771243</c:v>
                </c:pt>
                <c:pt idx="6425">
                  <c:v>211.91279423595859</c:v>
                </c:pt>
                <c:pt idx="6426">
                  <c:v>214.65973104348521</c:v>
                </c:pt>
                <c:pt idx="6427">
                  <c:v>215.36807153553832</c:v>
                </c:pt>
                <c:pt idx="6428">
                  <c:v>215.94222710731071</c:v>
                </c:pt>
                <c:pt idx="6429">
                  <c:v>215.94222710731071</c:v>
                </c:pt>
                <c:pt idx="6430">
                  <c:v>215.94222710731071</c:v>
                </c:pt>
                <c:pt idx="6431">
                  <c:v>216.80463115093895</c:v>
                </c:pt>
                <c:pt idx="6432">
                  <c:v>217.06700967468362</c:v>
                </c:pt>
                <c:pt idx="6433">
                  <c:v>215.45725436151622</c:v>
                </c:pt>
                <c:pt idx="6434">
                  <c:v>216.25003081192159</c:v>
                </c:pt>
                <c:pt idx="6435">
                  <c:v>216.17412781881424</c:v>
                </c:pt>
                <c:pt idx="6436">
                  <c:v>216.17412781881424</c:v>
                </c:pt>
                <c:pt idx="6437">
                  <c:v>216.17412781881424</c:v>
                </c:pt>
                <c:pt idx="6438">
                  <c:v>215.88357184891345</c:v>
                </c:pt>
                <c:pt idx="6439">
                  <c:v>215.46560891469881</c:v>
                </c:pt>
                <c:pt idx="6440">
                  <c:v>214.74455485879622</c:v>
                </c:pt>
                <c:pt idx="6441">
                  <c:v>215.51909105806411</c:v>
                </c:pt>
                <c:pt idx="6442">
                  <c:v>216.1309732054323</c:v>
                </c:pt>
                <c:pt idx="6443">
                  <c:v>216.1309732054323</c:v>
                </c:pt>
                <c:pt idx="6444">
                  <c:v>216.1309732054323</c:v>
                </c:pt>
                <c:pt idx="6445">
                  <c:v>215.29270226520865</c:v>
                </c:pt>
                <c:pt idx="6446">
                  <c:v>215.52644191331771</c:v>
                </c:pt>
                <c:pt idx="6447">
                  <c:v>216.41070079801136</c:v>
                </c:pt>
                <c:pt idx="6448">
                  <c:v>216.59326198137862</c:v>
                </c:pt>
                <c:pt idx="6449">
                  <c:v>217.71829701881182</c:v>
                </c:pt>
                <c:pt idx="6450">
                  <c:v>217.71829701881185</c:v>
                </c:pt>
                <c:pt idx="6451">
                  <c:v>217.71829701881185</c:v>
                </c:pt>
                <c:pt idx="6452">
                  <c:v>218.39177904404673</c:v>
                </c:pt>
                <c:pt idx="6453">
                  <c:v>217.74741405578729</c:v>
                </c:pt>
                <c:pt idx="6454">
                  <c:v>216.47450557316745</c:v>
                </c:pt>
                <c:pt idx="6455">
                  <c:v>216.60527568354058</c:v>
                </c:pt>
                <c:pt idx="6456">
                  <c:v>216.82627514237473</c:v>
                </c:pt>
                <c:pt idx="6457">
                  <c:v>216.82627514237473</c:v>
                </c:pt>
                <c:pt idx="6458">
                  <c:v>216.82627514237473</c:v>
                </c:pt>
                <c:pt idx="6459">
                  <c:v>216.99114820150439</c:v>
                </c:pt>
                <c:pt idx="6460">
                  <c:v>217.0815068929505</c:v>
                </c:pt>
                <c:pt idx="6461">
                  <c:v>216.0083332401193</c:v>
                </c:pt>
                <c:pt idx="6462">
                  <c:v>215.93516149434097</c:v>
                </c:pt>
                <c:pt idx="6463">
                  <c:v>215.18223157878424</c:v>
                </c:pt>
                <c:pt idx="6464">
                  <c:v>215.18223157878424</c:v>
                </c:pt>
                <c:pt idx="6465">
                  <c:v>215.18223157878424</c:v>
                </c:pt>
                <c:pt idx="6466">
                  <c:v>215.86515607069717</c:v>
                </c:pt>
                <c:pt idx="6467">
                  <c:v>215.58182284179577</c:v>
                </c:pt>
                <c:pt idx="6468">
                  <c:v>216.74953541749437</c:v>
                </c:pt>
                <c:pt idx="6469">
                  <c:v>217.63142822918999</c:v>
                </c:pt>
                <c:pt idx="6470">
                  <c:v>217.17837704745278</c:v>
                </c:pt>
                <c:pt idx="6471">
                  <c:v>217.17837704745278</c:v>
                </c:pt>
                <c:pt idx="6472">
                  <c:v>217.17837704745278</c:v>
                </c:pt>
                <c:pt idx="6473">
                  <c:v>215.75281995462288</c:v>
                </c:pt>
                <c:pt idx="6474">
                  <c:v>215.5875696875882</c:v>
                </c:pt>
                <c:pt idx="6475">
                  <c:v>214.82981864978188</c:v>
                </c:pt>
                <c:pt idx="6476">
                  <c:v>214.51065379017405</c:v>
                </c:pt>
                <c:pt idx="6477">
                  <c:v>215.50578836689547</c:v>
                </c:pt>
                <c:pt idx="6478">
                  <c:v>215.50578836689547</c:v>
                </c:pt>
                <c:pt idx="6479">
                  <c:v>215.50578836689547</c:v>
                </c:pt>
                <c:pt idx="6480">
                  <c:v>215.985655251944</c:v>
                </c:pt>
                <c:pt idx="6481">
                  <c:v>215.96747581889701</c:v>
                </c:pt>
                <c:pt idx="6482">
                  <c:v>217.91694864107163</c:v>
                </c:pt>
                <c:pt idx="6483">
                  <c:v>218.25517909002801</c:v>
                </c:pt>
                <c:pt idx="6484">
                  <c:v>218.01305253428575</c:v>
                </c:pt>
                <c:pt idx="6485">
                  <c:v>218.01305253428572</c:v>
                </c:pt>
                <c:pt idx="6486">
                  <c:v>218.01305253428572</c:v>
                </c:pt>
                <c:pt idx="6487">
                  <c:v>219.21382025137322</c:v>
                </c:pt>
                <c:pt idx="6488">
                  <c:v>220.70355478801372</c:v>
                </c:pt>
                <c:pt idx="6489">
                  <c:v>220.23579556894913</c:v>
                </c:pt>
                <c:pt idx="6490">
                  <c:v>220.55991478774175</c:v>
                </c:pt>
                <c:pt idx="6491">
                  <c:v>220.26951701103189</c:v>
                </c:pt>
                <c:pt idx="6492">
                  <c:v>220.26951701103189</c:v>
                </c:pt>
                <c:pt idx="6493">
                  <c:v>220.26951701103189</c:v>
                </c:pt>
                <c:pt idx="6494">
                  <c:v>220.71652681293975</c:v>
                </c:pt>
                <c:pt idx="6495">
                  <c:v>219.49774762927385</c:v>
                </c:pt>
                <c:pt idx="6496">
                  <c:v>220.65324187305944</c:v>
                </c:pt>
                <c:pt idx="6497">
                  <c:v>221.35766953426645</c:v>
                </c:pt>
                <c:pt idx="6498">
                  <c:v>219.10539452147282</c:v>
                </c:pt>
                <c:pt idx="6499">
                  <c:v>219.10539452147282</c:v>
                </c:pt>
                <c:pt idx="6500">
                  <c:v>219.10539452147282</c:v>
                </c:pt>
                <c:pt idx="6501">
                  <c:v>219.67129275676464</c:v>
                </c:pt>
                <c:pt idx="6502">
                  <c:v>220.35155999251697</c:v>
                </c:pt>
                <c:pt idx="6503">
                  <c:v>220.37418752882684</c:v>
                </c:pt>
                <c:pt idx="6504">
                  <c:v>220.68506970702737</c:v>
                </c:pt>
                <c:pt idx="6505">
                  <c:v>219.71784428720011</c:v>
                </c:pt>
                <c:pt idx="6506">
                  <c:v>219.71784428720011</c:v>
                </c:pt>
                <c:pt idx="6507">
                  <c:v>219.71784428720011</c:v>
                </c:pt>
                <c:pt idx="6508">
                  <c:v>218.8175060136405</c:v>
                </c:pt>
                <c:pt idx="6509">
                  <c:v>218.76860498542123</c:v>
                </c:pt>
                <c:pt idx="6510">
                  <c:v>218.227619841912</c:v>
                </c:pt>
                <c:pt idx="6511">
                  <c:v>217.99924850438731</c:v>
                </c:pt>
                <c:pt idx="6512">
                  <c:v>219.71767854701599</c:v>
                </c:pt>
                <c:pt idx="6513">
                  <c:v>219.71767854701599</c:v>
                </c:pt>
                <c:pt idx="6514">
                  <c:v>219.71767854701599</c:v>
                </c:pt>
                <c:pt idx="6515">
                  <c:v>217.75581454020195</c:v>
                </c:pt>
                <c:pt idx="6516">
                  <c:v>217.84340539765196</c:v>
                </c:pt>
                <c:pt idx="6517">
                  <c:v>217.57362159149827</c:v>
                </c:pt>
                <c:pt idx="6518">
                  <c:v>217.86612054516851</c:v>
                </c:pt>
                <c:pt idx="6519">
                  <c:v>217.494726896396</c:v>
                </c:pt>
                <c:pt idx="6520">
                  <c:v>217.494726896396</c:v>
                </c:pt>
                <c:pt idx="6521">
                  <c:v>217.494726896396</c:v>
                </c:pt>
                <c:pt idx="6522">
                  <c:v>217.58242247424835</c:v>
                </c:pt>
                <c:pt idx="6523">
                  <c:v>217.56474850450653</c:v>
                </c:pt>
                <c:pt idx="6524">
                  <c:v>216.90106255686175</c:v>
                </c:pt>
                <c:pt idx="6525">
                  <c:v>218.15736817742567</c:v>
                </c:pt>
                <c:pt idx="6526">
                  <c:v>218.24589079277629</c:v>
                </c:pt>
                <c:pt idx="6527">
                  <c:v>218.24589079277629</c:v>
                </c:pt>
                <c:pt idx="6528">
                  <c:v>218.24589079277629</c:v>
                </c:pt>
                <c:pt idx="6529">
                  <c:v>221.08938068912806</c:v>
                </c:pt>
                <c:pt idx="6530">
                  <c:v>220.85833122715022</c:v>
                </c:pt>
                <c:pt idx="6531">
                  <c:v>221.15140201678557</c:v>
                </c:pt>
                <c:pt idx="6532">
                  <c:v>220.61794934761247</c:v>
                </c:pt>
                <c:pt idx="6533">
                  <c:v>221.15260857395248</c:v>
                </c:pt>
                <c:pt idx="6534">
                  <c:v>221.15260857395248</c:v>
                </c:pt>
                <c:pt idx="6535">
                  <c:v>221.15260857395248</c:v>
                </c:pt>
                <c:pt idx="6536">
                  <c:v>221.83114638593236</c:v>
                </c:pt>
                <c:pt idx="6537">
                  <c:v>220.85063030614768</c:v>
                </c:pt>
                <c:pt idx="6538">
                  <c:v>220.54118629852192</c:v>
                </c:pt>
                <c:pt idx="6539">
                  <c:v>220.14681096895458</c:v>
                </c:pt>
                <c:pt idx="6540">
                  <c:v>220.21087684825028</c:v>
                </c:pt>
                <c:pt idx="6541">
                  <c:v>220.21087684825028</c:v>
                </c:pt>
                <c:pt idx="6542">
                  <c:v>220.21087684825028</c:v>
                </c:pt>
                <c:pt idx="6543">
                  <c:v>220.68618919887615</c:v>
                </c:pt>
                <c:pt idx="6544">
                  <c:v>221.16262340851605</c:v>
                </c:pt>
                <c:pt idx="6545">
                  <c:v>219.86165061198503</c:v>
                </c:pt>
                <c:pt idx="6546">
                  <c:v>221.49024188355534</c:v>
                </c:pt>
                <c:pt idx="6547">
                  <c:v>221.3529483278252</c:v>
                </c:pt>
                <c:pt idx="6548">
                  <c:v>221.3529483278252</c:v>
                </c:pt>
                <c:pt idx="6549">
                  <c:v>221.3529483278252</c:v>
                </c:pt>
                <c:pt idx="6550">
                  <c:v>220.28876588309089</c:v>
                </c:pt>
                <c:pt idx="6551">
                  <c:v>220.61328325070659</c:v>
                </c:pt>
                <c:pt idx="6552">
                  <c:v>220.66292529349926</c:v>
                </c:pt>
                <c:pt idx="6553">
                  <c:v>219.65284017308275</c:v>
                </c:pt>
                <c:pt idx="6554">
                  <c:v>220.36333241639278</c:v>
                </c:pt>
                <c:pt idx="6555">
                  <c:v>220.36333241639278</c:v>
                </c:pt>
                <c:pt idx="6556">
                  <c:v>220.36333241639278</c:v>
                </c:pt>
                <c:pt idx="6557">
                  <c:v>221.81201069581766</c:v>
                </c:pt>
                <c:pt idx="6558">
                  <c:v>222.70623304964334</c:v>
                </c:pt>
                <c:pt idx="6559">
                  <c:v>223.12819909874557</c:v>
                </c:pt>
                <c:pt idx="6560">
                  <c:v>224.63702527024009</c:v>
                </c:pt>
                <c:pt idx="6561">
                  <c:v>224.08024388723771</c:v>
                </c:pt>
                <c:pt idx="6562">
                  <c:v>224.08024388723771</c:v>
                </c:pt>
                <c:pt idx="6563">
                  <c:v>224.08024388723771</c:v>
                </c:pt>
                <c:pt idx="6564">
                  <c:v>224.80654830285482</c:v>
                </c:pt>
                <c:pt idx="6565">
                  <c:v>225.04256607515333</c:v>
                </c:pt>
                <c:pt idx="6566">
                  <c:v>226.35480831283951</c:v>
                </c:pt>
                <c:pt idx="6567">
                  <c:v>226.95822544481413</c:v>
                </c:pt>
                <c:pt idx="6568">
                  <c:v>226.95822544481413</c:v>
                </c:pt>
                <c:pt idx="6569">
                  <c:v>226.95822544481413</c:v>
                </c:pt>
                <c:pt idx="6570">
                  <c:v>226.95822544481413</c:v>
                </c:pt>
                <c:pt idx="6571">
                  <c:v>226.11729676573316</c:v>
                </c:pt>
                <c:pt idx="6572">
                  <c:v>227.17219410358592</c:v>
                </c:pt>
                <c:pt idx="6573">
                  <c:v>227.00473229269423</c:v>
                </c:pt>
                <c:pt idx="6574">
                  <c:v>227.57738408710048</c:v>
                </c:pt>
                <c:pt idx="6575">
                  <c:v>227.57738408710048</c:v>
                </c:pt>
                <c:pt idx="6576">
                  <c:v>227.57738408710048</c:v>
                </c:pt>
                <c:pt idx="6577">
                  <c:v>227.57738408710048</c:v>
                </c:pt>
                <c:pt idx="6578">
                  <c:v>226.31851973622386</c:v>
                </c:pt>
                <c:pt idx="6579">
                  <c:v>227.13142364117184</c:v>
                </c:pt>
                <c:pt idx="6580">
                  <c:v>225.50646130782812</c:v>
                </c:pt>
                <c:pt idx="6581">
                  <c:v>225.84459178389096</c:v>
                </c:pt>
                <c:pt idx="6582">
                  <c:v>225.91161478853672</c:v>
                </c:pt>
                <c:pt idx="6583">
                  <c:v>225.91161478853675</c:v>
                </c:pt>
                <c:pt idx="6584">
                  <c:v>225.91161478853675</c:v>
                </c:pt>
                <c:pt idx="6585">
                  <c:v>224.64861084343619</c:v>
                </c:pt>
                <c:pt idx="6586">
                  <c:v>225.66256495090136</c:v>
                </c:pt>
                <c:pt idx="6587">
                  <c:v>225.92903295095863</c:v>
                </c:pt>
                <c:pt idx="6588">
                  <c:v>226.61903188340827</c:v>
                </c:pt>
                <c:pt idx="6589">
                  <c:v>226.49401997902177</c:v>
                </c:pt>
                <c:pt idx="6590">
                  <c:v>226.49401997902177</c:v>
                </c:pt>
                <c:pt idx="6591">
                  <c:v>226.49401997902177</c:v>
                </c:pt>
                <c:pt idx="6592">
                  <c:v>227.31832768348244</c:v>
                </c:pt>
                <c:pt idx="6593">
                  <c:v>227.15062878980933</c:v>
                </c:pt>
                <c:pt idx="6594">
                  <c:v>227.6920762462052</c:v>
                </c:pt>
                <c:pt idx="6595">
                  <c:v>228.13396352992723</c:v>
                </c:pt>
                <c:pt idx="6596">
                  <c:v>227.3618820659332</c:v>
                </c:pt>
                <c:pt idx="6597">
                  <c:v>227.36188206593323</c:v>
                </c:pt>
                <c:pt idx="6598">
                  <c:v>227.36188206593323</c:v>
                </c:pt>
                <c:pt idx="6599">
                  <c:v>226.25669981891926</c:v>
                </c:pt>
                <c:pt idx="6600">
                  <c:v>226.28112969552683</c:v>
                </c:pt>
                <c:pt idx="6601">
                  <c:v>226.70152623857524</c:v>
                </c:pt>
                <c:pt idx="6602">
                  <c:v>228.5185683707108</c:v>
                </c:pt>
                <c:pt idx="6603">
                  <c:v>230.07823468801794</c:v>
                </c:pt>
                <c:pt idx="6604">
                  <c:v>230.07823468801794</c:v>
                </c:pt>
                <c:pt idx="6605">
                  <c:v>230.07823468801794</c:v>
                </c:pt>
                <c:pt idx="6606">
                  <c:v>229.9719120383379</c:v>
                </c:pt>
                <c:pt idx="6607">
                  <c:v>230.37092969106104</c:v>
                </c:pt>
                <c:pt idx="6608">
                  <c:v>230.74058099498896</c:v>
                </c:pt>
                <c:pt idx="6609">
                  <c:v>230.18215787261471</c:v>
                </c:pt>
                <c:pt idx="6610">
                  <c:v>231.45599266304916</c:v>
                </c:pt>
                <c:pt idx="6611">
                  <c:v>231.45599266304916</c:v>
                </c:pt>
                <c:pt idx="6612">
                  <c:v>231.45599266304916</c:v>
                </c:pt>
                <c:pt idx="6613">
                  <c:v>231.31038088976445</c:v>
                </c:pt>
                <c:pt idx="6614">
                  <c:v>230.53311085463375</c:v>
                </c:pt>
                <c:pt idx="6615">
                  <c:v>230.61330664629304</c:v>
                </c:pt>
                <c:pt idx="6616">
                  <c:v>230.89920063368251</c:v>
                </c:pt>
                <c:pt idx="6617">
                  <c:v>230.105921257739</c:v>
                </c:pt>
                <c:pt idx="6618">
                  <c:v>230.10592125773903</c:v>
                </c:pt>
                <c:pt idx="6619">
                  <c:v>230.10592125773903</c:v>
                </c:pt>
                <c:pt idx="6620">
                  <c:v>230.1375190806954</c:v>
                </c:pt>
                <c:pt idx="6621">
                  <c:v>230.48021466692168</c:v>
                </c:pt>
                <c:pt idx="6622">
                  <c:v>229.13243497662941</c:v>
                </c:pt>
                <c:pt idx="6623">
                  <c:v>227.94209587787321</c:v>
                </c:pt>
                <c:pt idx="6624">
                  <c:v>229.03325286474069</c:v>
                </c:pt>
                <c:pt idx="6625">
                  <c:v>229.03325286474069</c:v>
                </c:pt>
                <c:pt idx="6626">
                  <c:v>229.03325286474069</c:v>
                </c:pt>
                <c:pt idx="6627">
                  <c:v>228.99984717538771</c:v>
                </c:pt>
                <c:pt idx="6628">
                  <c:v>228.86333600880948</c:v>
                </c:pt>
                <c:pt idx="6629">
                  <c:v>229.87292575454882</c:v>
                </c:pt>
                <c:pt idx="6630">
                  <c:v>230.59412081599368</c:v>
                </c:pt>
                <c:pt idx="6631">
                  <c:v>230.93226802326939</c:v>
                </c:pt>
                <c:pt idx="6632">
                  <c:v>230.93226802326939</c:v>
                </c:pt>
                <c:pt idx="6633">
                  <c:v>230.93226802326939</c:v>
                </c:pt>
                <c:pt idx="6634">
                  <c:v>231.52396067458585</c:v>
                </c:pt>
                <c:pt idx="6635">
                  <c:v>231.11400501040353</c:v>
                </c:pt>
                <c:pt idx="6636">
                  <c:v>231.28536526741351</c:v>
                </c:pt>
                <c:pt idx="6637">
                  <c:v>230.87975390259567</c:v>
                </c:pt>
                <c:pt idx="6638">
                  <c:v>230.09129990768292</c:v>
                </c:pt>
                <c:pt idx="6639">
                  <c:v>230.09129990768292</c:v>
                </c:pt>
                <c:pt idx="6640">
                  <c:v>230.09129990768292</c:v>
                </c:pt>
                <c:pt idx="6641">
                  <c:v>229.05252005644439</c:v>
                </c:pt>
                <c:pt idx="6642">
                  <c:v>230.0422907969448</c:v>
                </c:pt>
                <c:pt idx="6643">
                  <c:v>229.54379179849087</c:v>
                </c:pt>
                <c:pt idx="6644">
                  <c:v>230.61883350978525</c:v>
                </c:pt>
                <c:pt idx="6645">
                  <c:v>230.27529634372104</c:v>
                </c:pt>
                <c:pt idx="6646">
                  <c:v>230.27529634372104</c:v>
                </c:pt>
                <c:pt idx="6647">
                  <c:v>230.27529634372104</c:v>
                </c:pt>
                <c:pt idx="6648">
                  <c:v>230.16807921079487</c:v>
                </c:pt>
                <c:pt idx="6649">
                  <c:v>230.75088570362527</c:v>
                </c:pt>
                <c:pt idx="6650">
                  <c:v>229.35056398061224</c:v>
                </c:pt>
                <c:pt idx="6651">
                  <c:v>228.89824105267854</c:v>
                </c:pt>
                <c:pt idx="6652">
                  <c:v>229.14758235137879</c:v>
                </c:pt>
                <c:pt idx="6653">
                  <c:v>229.14758235137879</c:v>
                </c:pt>
                <c:pt idx="6654">
                  <c:v>229.14758235137879</c:v>
                </c:pt>
                <c:pt idx="6655">
                  <c:v>228.79132072584218</c:v>
                </c:pt>
                <c:pt idx="6656">
                  <c:v>228.63358450598602</c:v>
                </c:pt>
                <c:pt idx="6657">
                  <c:v>228.77179359203532</c:v>
                </c:pt>
                <c:pt idx="6658">
                  <c:v>227.15114574407363</c:v>
                </c:pt>
                <c:pt idx="6659">
                  <c:v>227.70212011435515</c:v>
                </c:pt>
                <c:pt idx="6660">
                  <c:v>227.70212011435515</c:v>
                </c:pt>
                <c:pt idx="6661">
                  <c:v>227.70212011435515</c:v>
                </c:pt>
                <c:pt idx="6662">
                  <c:v>226.95964342985096</c:v>
                </c:pt>
                <c:pt idx="6663">
                  <c:v>227.19729968719594</c:v>
                </c:pt>
                <c:pt idx="6664">
                  <c:v>227.76413271322025</c:v>
                </c:pt>
                <c:pt idx="6665">
                  <c:v>229.23932626442621</c:v>
                </c:pt>
                <c:pt idx="6666">
                  <c:v>229.23932626442621</c:v>
                </c:pt>
                <c:pt idx="6667">
                  <c:v>229.23932626442621</c:v>
                </c:pt>
                <c:pt idx="6668">
                  <c:v>229.23932626442621</c:v>
                </c:pt>
                <c:pt idx="6669">
                  <c:v>229.23932626442621</c:v>
                </c:pt>
                <c:pt idx="6670">
                  <c:v>229.49988344883818</c:v>
                </c:pt>
                <c:pt idx="6671">
                  <c:v>230.07253732300535</c:v>
                </c:pt>
                <c:pt idx="6672">
                  <c:v>229.13531421472106</c:v>
                </c:pt>
                <c:pt idx="6673">
                  <c:v>229.22869325100666</c:v>
                </c:pt>
                <c:pt idx="6674">
                  <c:v>229.22869325100666</c:v>
                </c:pt>
                <c:pt idx="6675">
                  <c:v>229.22869325100666</c:v>
                </c:pt>
                <c:pt idx="6676">
                  <c:v>228.67203428042785</c:v>
                </c:pt>
                <c:pt idx="6677">
                  <c:v>230.39596400004089</c:v>
                </c:pt>
                <c:pt idx="6678">
                  <c:v>230.40425044635666</c:v>
                </c:pt>
                <c:pt idx="6679">
                  <c:v>229.91567397475706</c:v>
                </c:pt>
                <c:pt idx="6680">
                  <c:v>229.855383443991</c:v>
                </c:pt>
                <c:pt idx="6681">
                  <c:v>229.855383443991</c:v>
                </c:pt>
                <c:pt idx="6682">
                  <c:v>229.855383443991</c:v>
                </c:pt>
                <c:pt idx="6683">
                  <c:v>230.43602138863153</c:v>
                </c:pt>
                <c:pt idx="6684">
                  <c:v>231.16986830627863</c:v>
                </c:pt>
                <c:pt idx="6685">
                  <c:v>229.14709878524204</c:v>
                </c:pt>
                <c:pt idx="6686">
                  <c:v>229.81967647187849</c:v>
                </c:pt>
                <c:pt idx="6687">
                  <c:v>230.05313043535162</c:v>
                </c:pt>
                <c:pt idx="6688">
                  <c:v>230.05313043535162</c:v>
                </c:pt>
                <c:pt idx="6689">
                  <c:v>230.05313043535162</c:v>
                </c:pt>
                <c:pt idx="6690">
                  <c:v>231.54172361137518</c:v>
                </c:pt>
                <c:pt idx="6691">
                  <c:v>231.16593251115449</c:v>
                </c:pt>
                <c:pt idx="6692">
                  <c:v>231.06872633326799</c:v>
                </c:pt>
                <c:pt idx="6693">
                  <c:v>230.92467278879482</c:v>
                </c:pt>
                <c:pt idx="6694">
                  <c:v>231.01165771038549</c:v>
                </c:pt>
                <c:pt idx="6695">
                  <c:v>231.01165771038549</c:v>
                </c:pt>
                <c:pt idx="6696">
                  <c:v>231.01165771038549</c:v>
                </c:pt>
                <c:pt idx="6697">
                  <c:v>231.08918703689929</c:v>
                </c:pt>
                <c:pt idx="6698">
                  <c:v>231.1277213821989</c:v>
                </c:pt>
                <c:pt idx="6699">
                  <c:v>229.34855933679103</c:v>
                </c:pt>
                <c:pt idx="6700">
                  <c:v>228.800187767908</c:v>
                </c:pt>
                <c:pt idx="6701">
                  <c:v>229.97593341936454</c:v>
                </c:pt>
                <c:pt idx="6702">
                  <c:v>229.97593341936454</c:v>
                </c:pt>
                <c:pt idx="6703">
                  <c:v>229.97593341936454</c:v>
                </c:pt>
                <c:pt idx="6704">
                  <c:v>230.09828197992729</c:v>
                </c:pt>
                <c:pt idx="6705">
                  <c:v>229.92550029247462</c:v>
                </c:pt>
                <c:pt idx="6706">
                  <c:v>228.84007545215516</c:v>
                </c:pt>
                <c:pt idx="6707">
                  <c:v>228.43207523578118</c:v>
                </c:pt>
                <c:pt idx="6708">
                  <c:v>228.33131661130048</c:v>
                </c:pt>
                <c:pt idx="6709">
                  <c:v>228.33131661130048</c:v>
                </c:pt>
                <c:pt idx="6710">
                  <c:v>228.33131661130048</c:v>
                </c:pt>
                <c:pt idx="6711">
                  <c:v>228.03167047094678</c:v>
                </c:pt>
                <c:pt idx="6712">
                  <c:v>229.23987332239545</c:v>
                </c:pt>
                <c:pt idx="6713">
                  <c:v>229.61076869304418</c:v>
                </c:pt>
                <c:pt idx="6714">
                  <c:v>228.92122135548658</c:v>
                </c:pt>
                <c:pt idx="6715">
                  <c:v>228.56519147325116</c:v>
                </c:pt>
                <c:pt idx="6716">
                  <c:v>228.56519147325116</c:v>
                </c:pt>
                <c:pt idx="6717">
                  <c:v>228.56519147325116</c:v>
                </c:pt>
                <c:pt idx="6718">
                  <c:v>228.76540234281435</c:v>
                </c:pt>
                <c:pt idx="6719">
                  <c:v>229.37646701039878</c:v>
                </c:pt>
                <c:pt idx="6720">
                  <c:v>229.60599747808959</c:v>
                </c:pt>
                <c:pt idx="6721">
                  <c:v>230.5581131080873</c:v>
                </c:pt>
                <c:pt idx="6722">
                  <c:v>230.71613130903759</c:v>
                </c:pt>
                <c:pt idx="6723">
                  <c:v>230.71613130903759</c:v>
                </c:pt>
                <c:pt idx="6724">
                  <c:v>230.71613130903759</c:v>
                </c:pt>
                <c:pt idx="6725">
                  <c:v>231.55138214394225</c:v>
                </c:pt>
                <c:pt idx="6726">
                  <c:v>231.66062119055186</c:v>
                </c:pt>
                <c:pt idx="6727">
                  <c:v>231.30893527236788</c:v>
                </c:pt>
                <c:pt idx="6728">
                  <c:v>230.79305939616438</c:v>
                </c:pt>
                <c:pt idx="6729">
                  <c:v>231.23498518393504</c:v>
                </c:pt>
                <c:pt idx="6730">
                  <c:v>231.23498518393504</c:v>
                </c:pt>
                <c:pt idx="6731">
                  <c:v>231.23498518393504</c:v>
                </c:pt>
                <c:pt idx="6732">
                  <c:v>231.53471776498105</c:v>
                </c:pt>
                <c:pt idx="6733">
                  <c:v>231.66401523289775</c:v>
                </c:pt>
                <c:pt idx="6734">
                  <c:v>231.28654848861188</c:v>
                </c:pt>
                <c:pt idx="6735">
                  <c:v>230.38926930091921</c:v>
                </c:pt>
                <c:pt idx="6736">
                  <c:v>230.05584375925582</c:v>
                </c:pt>
                <c:pt idx="6737">
                  <c:v>230.05584375925582</c:v>
                </c:pt>
                <c:pt idx="6738">
                  <c:v>230.05584375925582</c:v>
                </c:pt>
                <c:pt idx="6739">
                  <c:v>230.49575667051295</c:v>
                </c:pt>
                <c:pt idx="6740">
                  <c:v>228.99145122528688</c:v>
                </c:pt>
                <c:pt idx="6741">
                  <c:v>228.79473523469551</c:v>
                </c:pt>
                <c:pt idx="6742">
                  <c:v>227.5880820394562</c:v>
                </c:pt>
                <c:pt idx="6743">
                  <c:v>228.47267698673366</c:v>
                </c:pt>
                <c:pt idx="6744">
                  <c:v>228.47267698673369</c:v>
                </c:pt>
                <c:pt idx="6745">
                  <c:v>228.47267698673369</c:v>
                </c:pt>
                <c:pt idx="6746">
                  <c:v>227.5182767156322</c:v>
                </c:pt>
                <c:pt idx="6747">
                  <c:v>228.16243359809965</c:v>
                </c:pt>
                <c:pt idx="6748">
                  <c:v>228.38305266751078</c:v>
                </c:pt>
                <c:pt idx="6749">
                  <c:v>227.52158047199896</c:v>
                </c:pt>
                <c:pt idx="6750">
                  <c:v>228.24145157272469</c:v>
                </c:pt>
                <c:pt idx="6751">
                  <c:v>228.24145157272469</c:v>
                </c:pt>
                <c:pt idx="6752">
                  <c:v>228.24145157272469</c:v>
                </c:pt>
                <c:pt idx="6753">
                  <c:v>228.07509081192836</c:v>
                </c:pt>
                <c:pt idx="6754">
                  <c:v>227.9646727312373</c:v>
                </c:pt>
                <c:pt idx="6755">
                  <c:v>228.07699184887286</c:v>
                </c:pt>
                <c:pt idx="6756">
                  <c:v>229.12744496306269</c:v>
                </c:pt>
                <c:pt idx="6757">
                  <c:v>230.3416686207126</c:v>
                </c:pt>
                <c:pt idx="6758">
                  <c:v>230.3416686207126</c:v>
                </c:pt>
                <c:pt idx="6759">
                  <c:v>230.3416686207126</c:v>
                </c:pt>
                <c:pt idx="6760">
                  <c:v>230.86959831869797</c:v>
                </c:pt>
                <c:pt idx="6761">
                  <c:v>231.92001737427361</c:v>
                </c:pt>
                <c:pt idx="6762">
                  <c:v>231.61331559089109</c:v>
                </c:pt>
                <c:pt idx="6763">
                  <c:v>231.75104823241782</c:v>
                </c:pt>
                <c:pt idx="6764">
                  <c:v>231.27072902945818</c:v>
                </c:pt>
                <c:pt idx="6765">
                  <c:v>231.27072902945821</c:v>
                </c:pt>
                <c:pt idx="6766">
                  <c:v>231.27072902945821</c:v>
                </c:pt>
                <c:pt idx="6767">
                  <c:v>231.50457574028059</c:v>
                </c:pt>
                <c:pt idx="6768">
                  <c:v>231.29992383596522</c:v>
                </c:pt>
                <c:pt idx="6769">
                  <c:v>230.61292384191862</c:v>
                </c:pt>
                <c:pt idx="6770">
                  <c:v>230.16922216741088</c:v>
                </c:pt>
                <c:pt idx="6771">
                  <c:v>230.77691941866826</c:v>
                </c:pt>
                <c:pt idx="6772">
                  <c:v>230.77691941866826</c:v>
                </c:pt>
                <c:pt idx="6773">
                  <c:v>230.77691941866826</c:v>
                </c:pt>
                <c:pt idx="6774">
                  <c:v>230.96828119474668</c:v>
                </c:pt>
                <c:pt idx="6775">
                  <c:v>230.91762688634662</c:v>
                </c:pt>
                <c:pt idx="6776">
                  <c:v>231.7070095868952</c:v>
                </c:pt>
                <c:pt idx="6777">
                  <c:v>233.20018951299187</c:v>
                </c:pt>
                <c:pt idx="6778">
                  <c:v>232.50599369658471</c:v>
                </c:pt>
                <c:pt idx="6779">
                  <c:v>232.50599369658471</c:v>
                </c:pt>
                <c:pt idx="6780">
                  <c:v>232.50599369658471</c:v>
                </c:pt>
                <c:pt idx="6781">
                  <c:v>232.79884880564788</c:v>
                </c:pt>
                <c:pt idx="6782">
                  <c:v>233.3465448438655</c:v>
                </c:pt>
                <c:pt idx="6783">
                  <c:v>233.82225187774171</c:v>
                </c:pt>
                <c:pt idx="6784">
                  <c:v>233.04475278640012</c:v>
                </c:pt>
                <c:pt idx="6785">
                  <c:v>233.0530924270445</c:v>
                </c:pt>
                <c:pt idx="6786">
                  <c:v>233.0530924270445</c:v>
                </c:pt>
                <c:pt idx="6787">
                  <c:v>233.0530924270445</c:v>
                </c:pt>
                <c:pt idx="6788">
                  <c:v>234.37053682109581</c:v>
                </c:pt>
                <c:pt idx="6789">
                  <c:v>233.66976030505779</c:v>
                </c:pt>
                <c:pt idx="6790">
                  <c:v>233.87360024005474</c:v>
                </c:pt>
                <c:pt idx="6791">
                  <c:v>234.60381834675553</c:v>
                </c:pt>
                <c:pt idx="6792">
                  <c:v>233.51233776918261</c:v>
                </c:pt>
                <c:pt idx="6793">
                  <c:v>233.51233776918258</c:v>
                </c:pt>
                <c:pt idx="6794">
                  <c:v>233.51233776918258</c:v>
                </c:pt>
                <c:pt idx="6795">
                  <c:v>232.63301444295888</c:v>
                </c:pt>
                <c:pt idx="6796">
                  <c:v>232.92254608134925</c:v>
                </c:pt>
                <c:pt idx="6797">
                  <c:v>233.247786939798</c:v>
                </c:pt>
                <c:pt idx="6798">
                  <c:v>233.00305502308797</c:v>
                </c:pt>
                <c:pt idx="6799">
                  <c:v>232.9025375512052</c:v>
                </c:pt>
                <c:pt idx="6800">
                  <c:v>232.90253755120523</c:v>
                </c:pt>
                <c:pt idx="6801">
                  <c:v>232.90253755120523</c:v>
                </c:pt>
                <c:pt idx="6802">
                  <c:v>233.29669809124437</c:v>
                </c:pt>
                <c:pt idx="6803">
                  <c:v>232.29728008718945</c:v>
                </c:pt>
                <c:pt idx="6804">
                  <c:v>233.70346041846557</c:v>
                </c:pt>
                <c:pt idx="6805">
                  <c:v>233.428254101368</c:v>
                </c:pt>
                <c:pt idx="6806">
                  <c:v>233.62561422080077</c:v>
                </c:pt>
                <c:pt idx="6807">
                  <c:v>233.62561422080077</c:v>
                </c:pt>
                <c:pt idx="6808">
                  <c:v>233.62561422080077</c:v>
                </c:pt>
                <c:pt idx="6809">
                  <c:v>233.61563200462749</c:v>
                </c:pt>
                <c:pt idx="6810">
                  <c:v>233.88001263417843</c:v>
                </c:pt>
                <c:pt idx="6811">
                  <c:v>234.42268220869269</c:v>
                </c:pt>
                <c:pt idx="6812">
                  <c:v>234.86339440167612</c:v>
                </c:pt>
                <c:pt idx="6813">
                  <c:v>235.52021549248761</c:v>
                </c:pt>
                <c:pt idx="6814">
                  <c:v>235.52021549248761</c:v>
                </c:pt>
                <c:pt idx="6815">
                  <c:v>235.52021549248761</c:v>
                </c:pt>
                <c:pt idx="6816">
                  <c:v>236.03309808560292</c:v>
                </c:pt>
                <c:pt idx="6817">
                  <c:v>235.89408546306763</c:v>
                </c:pt>
                <c:pt idx="6818">
                  <c:v>235.96661259463991</c:v>
                </c:pt>
                <c:pt idx="6819">
                  <c:v>237.09971402269795</c:v>
                </c:pt>
                <c:pt idx="6820">
                  <c:v>237.1380838025037</c:v>
                </c:pt>
                <c:pt idx="6821">
                  <c:v>237.1380838025037</c:v>
                </c:pt>
                <c:pt idx="6822">
                  <c:v>237.1380838025037</c:v>
                </c:pt>
                <c:pt idx="6823">
                  <c:v>236.13216264762355</c:v>
                </c:pt>
                <c:pt idx="6824">
                  <c:v>235.76336866343334</c:v>
                </c:pt>
                <c:pt idx="6825">
                  <c:v>235.34040666372593</c:v>
                </c:pt>
                <c:pt idx="6826">
                  <c:v>236.63162490992994</c:v>
                </c:pt>
                <c:pt idx="6827">
                  <c:v>236.0517278978808</c:v>
                </c:pt>
                <c:pt idx="6828">
                  <c:v>236.0517278978808</c:v>
                </c:pt>
                <c:pt idx="6829">
                  <c:v>236.0517278978808</c:v>
                </c:pt>
                <c:pt idx="6830">
                  <c:v>235.21964539090644</c:v>
                </c:pt>
                <c:pt idx="6831">
                  <c:v>235.44043864817584</c:v>
                </c:pt>
                <c:pt idx="6832">
                  <c:v>234.42007649477551</c:v>
                </c:pt>
                <c:pt idx="6833">
                  <c:v>234.95746392665066</c:v>
                </c:pt>
                <c:pt idx="6834">
                  <c:v>236.43017042324004</c:v>
                </c:pt>
                <c:pt idx="6835">
                  <c:v>236.43017042324004</c:v>
                </c:pt>
                <c:pt idx="6836">
                  <c:v>236.43017042324004</c:v>
                </c:pt>
                <c:pt idx="6837">
                  <c:v>236.25938990061377</c:v>
                </c:pt>
                <c:pt idx="6838">
                  <c:v>235.709081494803</c:v>
                </c:pt>
                <c:pt idx="6839">
                  <c:v>235.64664768264439</c:v>
                </c:pt>
                <c:pt idx="6840">
                  <c:v>236.1126241418109</c:v>
                </c:pt>
                <c:pt idx="6841">
                  <c:v>235.24093348334094</c:v>
                </c:pt>
                <c:pt idx="6842">
                  <c:v>235.24093348334094</c:v>
                </c:pt>
                <c:pt idx="6843">
                  <c:v>235.24093348334094</c:v>
                </c:pt>
                <c:pt idx="6844">
                  <c:v>234.87846721138396</c:v>
                </c:pt>
                <c:pt idx="6845">
                  <c:v>233.3573792585907</c:v>
                </c:pt>
                <c:pt idx="6846">
                  <c:v>231.83923971071579</c:v>
                </c:pt>
                <c:pt idx="6847">
                  <c:v>232.59322902559069</c:v>
                </c:pt>
                <c:pt idx="6848">
                  <c:v>233.55653130955903</c:v>
                </c:pt>
                <c:pt idx="6849">
                  <c:v>233.55653130955906</c:v>
                </c:pt>
                <c:pt idx="6850">
                  <c:v>233.55653130955906</c:v>
                </c:pt>
                <c:pt idx="6851">
                  <c:v>232.66375024845186</c:v>
                </c:pt>
                <c:pt idx="6852">
                  <c:v>231.95533765446493</c:v>
                </c:pt>
                <c:pt idx="6853">
                  <c:v>230.92752151528805</c:v>
                </c:pt>
                <c:pt idx="6854">
                  <c:v>229.53413831149291</c:v>
                </c:pt>
                <c:pt idx="6855">
                  <c:v>229.38430823034923</c:v>
                </c:pt>
                <c:pt idx="6856">
                  <c:v>229.38430823034923</c:v>
                </c:pt>
                <c:pt idx="6857">
                  <c:v>229.38430823034923</c:v>
                </c:pt>
                <c:pt idx="6858">
                  <c:v>228.35752831321344</c:v>
                </c:pt>
                <c:pt idx="6859">
                  <c:v>229.72720654979287</c:v>
                </c:pt>
                <c:pt idx="6860">
                  <c:v>230.94592552625704</c:v>
                </c:pt>
                <c:pt idx="6861">
                  <c:v>230.91234610056821</c:v>
                </c:pt>
                <c:pt idx="6862">
                  <c:v>230.70939837332097</c:v>
                </c:pt>
                <c:pt idx="6863">
                  <c:v>230.70939837332097</c:v>
                </c:pt>
                <c:pt idx="6864">
                  <c:v>230.70939837332097</c:v>
                </c:pt>
                <c:pt idx="6865">
                  <c:v>230.95115048071648</c:v>
                </c:pt>
                <c:pt idx="6866">
                  <c:v>231.50105620779138</c:v>
                </c:pt>
                <c:pt idx="6867">
                  <c:v>231.37112913257712</c:v>
                </c:pt>
                <c:pt idx="6868">
                  <c:v>231.48591117027638</c:v>
                </c:pt>
                <c:pt idx="6869">
                  <c:v>231.03711992525984</c:v>
                </c:pt>
                <c:pt idx="6870">
                  <c:v>231.03711992525984</c:v>
                </c:pt>
                <c:pt idx="6871">
                  <c:v>231.03711992525984</c:v>
                </c:pt>
                <c:pt idx="6872">
                  <c:v>230.73284510131614</c:v>
                </c:pt>
                <c:pt idx="6873">
                  <c:v>230.38344374058215</c:v>
                </c:pt>
                <c:pt idx="6874">
                  <c:v>230.79901731826075</c:v>
                </c:pt>
                <c:pt idx="6875">
                  <c:v>230.84033911108085</c:v>
                </c:pt>
                <c:pt idx="6876">
                  <c:v>229.29652627885508</c:v>
                </c:pt>
                <c:pt idx="6877">
                  <c:v>229.29652627885508</c:v>
                </c:pt>
                <c:pt idx="6878">
                  <c:v>229.29652627885508</c:v>
                </c:pt>
                <c:pt idx="6879">
                  <c:v>228.90982903081397</c:v>
                </c:pt>
                <c:pt idx="6880">
                  <c:v>227.75288033403663</c:v>
                </c:pt>
                <c:pt idx="6881">
                  <c:v>227.83936509773201</c:v>
                </c:pt>
                <c:pt idx="6882">
                  <c:v>229.85454187936355</c:v>
                </c:pt>
                <c:pt idx="6883">
                  <c:v>230.15534777094766</c:v>
                </c:pt>
                <c:pt idx="6884">
                  <c:v>230.15534777094766</c:v>
                </c:pt>
                <c:pt idx="6885">
                  <c:v>230.15534777094766</c:v>
                </c:pt>
                <c:pt idx="6886">
                  <c:v>230.32523538944753</c:v>
                </c:pt>
                <c:pt idx="6887">
                  <c:v>230.11855784434988</c:v>
                </c:pt>
                <c:pt idx="6888">
                  <c:v>229.15548563814127</c:v>
                </c:pt>
                <c:pt idx="6889">
                  <c:v>228.67583107816023</c:v>
                </c:pt>
                <c:pt idx="6890">
                  <c:v>228.72020898795333</c:v>
                </c:pt>
                <c:pt idx="6891">
                  <c:v>228.72020898795333</c:v>
                </c:pt>
                <c:pt idx="6892">
                  <c:v>228.72020898795333</c:v>
                </c:pt>
                <c:pt idx="6893">
                  <c:v>229.28391216207481</c:v>
                </c:pt>
                <c:pt idx="6894">
                  <c:v>228.57098882960111</c:v>
                </c:pt>
                <c:pt idx="6895">
                  <c:v>227.34279033708052</c:v>
                </c:pt>
                <c:pt idx="6896">
                  <c:v>227.05994815018266</c:v>
                </c:pt>
                <c:pt idx="6897">
                  <c:v>227.21780029775258</c:v>
                </c:pt>
                <c:pt idx="6898">
                  <c:v>227.21780029775255</c:v>
                </c:pt>
                <c:pt idx="6899">
                  <c:v>227.21780029775255</c:v>
                </c:pt>
                <c:pt idx="6900">
                  <c:v>226.92214722884546</c:v>
                </c:pt>
                <c:pt idx="6901">
                  <c:v>225.71949858310168</c:v>
                </c:pt>
                <c:pt idx="6902">
                  <c:v>225.1222642674297</c:v>
                </c:pt>
                <c:pt idx="6903">
                  <c:v>225.98318082141105</c:v>
                </c:pt>
                <c:pt idx="6904">
                  <c:v>227.05961726183719</c:v>
                </c:pt>
                <c:pt idx="6905">
                  <c:v>227.05961726183722</c:v>
                </c:pt>
                <c:pt idx="6906">
                  <c:v>227.05961726183722</c:v>
                </c:pt>
                <c:pt idx="6907">
                  <c:v>227.52286577955414</c:v>
                </c:pt>
                <c:pt idx="6908">
                  <c:v>227.69264359252904</c:v>
                </c:pt>
                <c:pt idx="6909">
                  <c:v>226.41284923746753</c:v>
                </c:pt>
                <c:pt idx="6910">
                  <c:v>226.08914995035857</c:v>
                </c:pt>
                <c:pt idx="6911">
                  <c:v>224.36883500897579</c:v>
                </c:pt>
                <c:pt idx="6912">
                  <c:v>224.36883500897579</c:v>
                </c:pt>
                <c:pt idx="6913">
                  <c:v>224.36883500897579</c:v>
                </c:pt>
                <c:pt idx="6914">
                  <c:v>223.50161987314496</c:v>
                </c:pt>
                <c:pt idx="6915">
                  <c:v>223.22836436539438</c:v>
                </c:pt>
                <c:pt idx="6916">
                  <c:v>222.91804692109204</c:v>
                </c:pt>
                <c:pt idx="6917">
                  <c:v>222.75627390610651</c:v>
                </c:pt>
                <c:pt idx="6918">
                  <c:v>221.99903625747814</c:v>
                </c:pt>
                <c:pt idx="6919">
                  <c:v>221.99903625747814</c:v>
                </c:pt>
                <c:pt idx="6920">
                  <c:v>221.99903625747814</c:v>
                </c:pt>
                <c:pt idx="6921">
                  <c:v>221.20356850789076</c:v>
                </c:pt>
                <c:pt idx="6922">
                  <c:v>220.76043184141716</c:v>
                </c:pt>
                <c:pt idx="6923">
                  <c:v>220.21224989977489</c:v>
                </c:pt>
                <c:pt idx="6924">
                  <c:v>219.11464379194337</c:v>
                </c:pt>
                <c:pt idx="6925">
                  <c:v>220.40295079989528</c:v>
                </c:pt>
                <c:pt idx="6926">
                  <c:v>220.40295079989528</c:v>
                </c:pt>
                <c:pt idx="6927">
                  <c:v>220.40295079989528</c:v>
                </c:pt>
                <c:pt idx="6928">
                  <c:v>220.47726006428658</c:v>
                </c:pt>
                <c:pt idx="6929">
                  <c:v>220.48315982800025</c:v>
                </c:pt>
                <c:pt idx="6930">
                  <c:v>221.39258886230974</c:v>
                </c:pt>
                <c:pt idx="6931">
                  <c:v>221.48679378183712</c:v>
                </c:pt>
                <c:pt idx="6932">
                  <c:v>221.70311648541005</c:v>
                </c:pt>
                <c:pt idx="6933">
                  <c:v>221.70311648541008</c:v>
                </c:pt>
                <c:pt idx="6934">
                  <c:v>221.70311648541008</c:v>
                </c:pt>
                <c:pt idx="6935">
                  <c:v>221.82830011123568</c:v>
                </c:pt>
                <c:pt idx="6936">
                  <c:v>221.85179039133885</c:v>
                </c:pt>
                <c:pt idx="6937">
                  <c:v>223.24659296354818</c:v>
                </c:pt>
                <c:pt idx="6938">
                  <c:v>223.04997020065451</c:v>
                </c:pt>
                <c:pt idx="6939">
                  <c:v>222.92798821794813</c:v>
                </c:pt>
                <c:pt idx="6940">
                  <c:v>222.92798821794813</c:v>
                </c:pt>
                <c:pt idx="6941">
                  <c:v>222.92798821794813</c:v>
                </c:pt>
                <c:pt idx="6942">
                  <c:v>222.91162398889543</c:v>
                </c:pt>
                <c:pt idx="6943">
                  <c:v>222.88176436326464</c:v>
                </c:pt>
                <c:pt idx="6944">
                  <c:v>222.77075496066999</c:v>
                </c:pt>
                <c:pt idx="6945">
                  <c:v>222.62204242246992</c:v>
                </c:pt>
                <c:pt idx="6946">
                  <c:v>221.25369292295517</c:v>
                </c:pt>
                <c:pt idx="6947">
                  <c:v>221.25369292295517</c:v>
                </c:pt>
                <c:pt idx="6948">
                  <c:v>221.25369292295517</c:v>
                </c:pt>
                <c:pt idx="6949">
                  <c:v>219.65700920853578</c:v>
                </c:pt>
                <c:pt idx="6950">
                  <c:v>219.63857807706071</c:v>
                </c:pt>
                <c:pt idx="6951">
                  <c:v>220.05815954482625</c:v>
                </c:pt>
                <c:pt idx="6952">
                  <c:v>218.92014184234736</c:v>
                </c:pt>
                <c:pt idx="6953">
                  <c:v>217.59797381583596</c:v>
                </c:pt>
                <c:pt idx="6954">
                  <c:v>217.59797381583596</c:v>
                </c:pt>
                <c:pt idx="6955">
                  <c:v>217.59797381583596</c:v>
                </c:pt>
                <c:pt idx="6956">
                  <c:v>217.22770601796037</c:v>
                </c:pt>
                <c:pt idx="6957">
                  <c:v>215.97289105441405</c:v>
                </c:pt>
                <c:pt idx="6958">
                  <c:v>216.57855952240845</c:v>
                </c:pt>
                <c:pt idx="6959">
                  <c:v>216.06009654351817</c:v>
                </c:pt>
                <c:pt idx="6960">
                  <c:v>214.58230799715471</c:v>
                </c:pt>
                <c:pt idx="6961">
                  <c:v>214.58230799715471</c:v>
                </c:pt>
                <c:pt idx="6962">
                  <c:v>214.58230799715471</c:v>
                </c:pt>
                <c:pt idx="6963">
                  <c:v>213.17722517969509</c:v>
                </c:pt>
                <c:pt idx="6964">
                  <c:v>212.46661331915215</c:v>
                </c:pt>
                <c:pt idx="6965">
                  <c:v>213.35706861047888</c:v>
                </c:pt>
                <c:pt idx="6966">
                  <c:v>212.47527931982836</c:v>
                </c:pt>
                <c:pt idx="6967">
                  <c:v>212.58260770584221</c:v>
                </c:pt>
                <c:pt idx="6968">
                  <c:v>212.58260770584221</c:v>
                </c:pt>
                <c:pt idx="6969">
                  <c:v>212.58260770584221</c:v>
                </c:pt>
                <c:pt idx="6970">
                  <c:v>213.84200631249161</c:v>
                </c:pt>
                <c:pt idx="6971">
                  <c:v>214.11999123199672</c:v>
                </c:pt>
                <c:pt idx="6972">
                  <c:v>215.36342470312059</c:v>
                </c:pt>
                <c:pt idx="6973">
                  <c:v>214.74058450794334</c:v>
                </c:pt>
                <c:pt idx="6974">
                  <c:v>213.19930033402807</c:v>
                </c:pt>
                <c:pt idx="6975">
                  <c:v>213.19930033402809</c:v>
                </c:pt>
                <c:pt idx="6976">
                  <c:v>213.19930033402809</c:v>
                </c:pt>
                <c:pt idx="6977">
                  <c:v>212.07868808809104</c:v>
                </c:pt>
                <c:pt idx="6978">
                  <c:v>212.12913282619323</c:v>
                </c:pt>
                <c:pt idx="6979">
                  <c:v>213.88587335071634</c:v>
                </c:pt>
                <c:pt idx="6980">
                  <c:v>213.66225718593284</c:v>
                </c:pt>
                <c:pt idx="6981">
                  <c:v>213.5890993334072</c:v>
                </c:pt>
                <c:pt idx="6982">
                  <c:v>213.5890993334072</c:v>
                </c:pt>
                <c:pt idx="6983">
                  <c:v>213.5890993334072</c:v>
                </c:pt>
                <c:pt idx="6984">
                  <c:v>212.4719142946868</c:v>
                </c:pt>
                <c:pt idx="6985">
                  <c:v>213.26900644434448</c:v>
                </c:pt>
                <c:pt idx="6986">
                  <c:v>213.31072486152169</c:v>
                </c:pt>
                <c:pt idx="6987">
                  <c:v>212.33644899155115</c:v>
                </c:pt>
                <c:pt idx="6988">
                  <c:v>211.27096886303821</c:v>
                </c:pt>
                <c:pt idx="6989">
                  <c:v>211.27096886303821</c:v>
                </c:pt>
                <c:pt idx="6990">
                  <c:v>211.27096886303821</c:v>
                </c:pt>
                <c:pt idx="6991">
                  <c:v>210.58127673110457</c:v>
                </c:pt>
                <c:pt idx="6992">
                  <c:v>210.58243760502086</c:v>
                </c:pt>
                <c:pt idx="6993">
                  <c:v>209.42590143714582</c:v>
                </c:pt>
                <c:pt idx="6994">
                  <c:v>208.45096492822839</c:v>
                </c:pt>
                <c:pt idx="6995">
                  <c:v>209.07705594785776</c:v>
                </c:pt>
                <c:pt idx="6996">
                  <c:v>209.07705594785779</c:v>
                </c:pt>
                <c:pt idx="6997">
                  <c:v>209.07705594785779</c:v>
                </c:pt>
                <c:pt idx="6998">
                  <c:v>210.81128787661459</c:v>
                </c:pt>
                <c:pt idx="6999">
                  <c:v>209.76919944465155</c:v>
                </c:pt>
                <c:pt idx="7000">
                  <c:v>209.90796592931986</c:v>
                </c:pt>
                <c:pt idx="7001">
                  <c:v>207.77396345167705</c:v>
                </c:pt>
                <c:pt idx="7002">
                  <c:v>207.444277161163</c:v>
                </c:pt>
                <c:pt idx="7003">
                  <c:v>207.444277161163</c:v>
                </c:pt>
                <c:pt idx="7004">
                  <c:v>207.444277161163</c:v>
                </c:pt>
                <c:pt idx="7005">
                  <c:v>206.65786071268323</c:v>
                </c:pt>
                <c:pt idx="7006">
                  <c:v>207.37376078992105</c:v>
                </c:pt>
                <c:pt idx="7007">
                  <c:v>207.82031715134394</c:v>
                </c:pt>
                <c:pt idx="7008">
                  <c:v>210.20394787929536</c:v>
                </c:pt>
                <c:pt idx="7009">
                  <c:v>211.77088037686539</c:v>
                </c:pt>
                <c:pt idx="7010">
                  <c:v>211.77088037686539</c:v>
                </c:pt>
                <c:pt idx="7011">
                  <c:v>211.77088037686539</c:v>
                </c:pt>
                <c:pt idx="7012">
                  <c:v>212.54342385224589</c:v>
                </c:pt>
                <c:pt idx="7013">
                  <c:v>210.55625217830504</c:v>
                </c:pt>
                <c:pt idx="7014">
                  <c:v>212.71582320974574</c:v>
                </c:pt>
                <c:pt idx="7015">
                  <c:v>212.57204972252134</c:v>
                </c:pt>
                <c:pt idx="7016">
                  <c:v>212.56246005852392</c:v>
                </c:pt>
                <c:pt idx="7017">
                  <c:v>212.56246005852392</c:v>
                </c:pt>
                <c:pt idx="7018">
                  <c:v>212.56246005852392</c:v>
                </c:pt>
                <c:pt idx="7019">
                  <c:v>212.11008313964251</c:v>
                </c:pt>
                <c:pt idx="7020">
                  <c:v>211.69475089508393</c:v>
                </c:pt>
                <c:pt idx="7021">
                  <c:v>211.03319816812086</c:v>
                </c:pt>
                <c:pt idx="7022">
                  <c:v>209.82541023887973</c:v>
                </c:pt>
                <c:pt idx="7023">
                  <c:v>210.12065616326282</c:v>
                </c:pt>
                <c:pt idx="7024">
                  <c:v>210.12065616326282</c:v>
                </c:pt>
                <c:pt idx="7025">
                  <c:v>210.12065616326282</c:v>
                </c:pt>
                <c:pt idx="7026">
                  <c:v>210.53909492894564</c:v>
                </c:pt>
                <c:pt idx="7027">
                  <c:v>212.78882875252992</c:v>
                </c:pt>
                <c:pt idx="7028">
                  <c:v>211.90460526483662</c:v>
                </c:pt>
                <c:pt idx="7029">
                  <c:v>210.85584994359834</c:v>
                </c:pt>
                <c:pt idx="7030">
                  <c:v>210.78165648457488</c:v>
                </c:pt>
                <c:pt idx="7031">
                  <c:v>210.78165648457488</c:v>
                </c:pt>
                <c:pt idx="7032">
                  <c:v>210.78165648457488</c:v>
                </c:pt>
                <c:pt idx="7033">
                  <c:v>210.54706594954052</c:v>
                </c:pt>
                <c:pt idx="7034">
                  <c:v>210.05489804408111</c:v>
                </c:pt>
                <c:pt idx="7035">
                  <c:v>208.62651092726421</c:v>
                </c:pt>
                <c:pt idx="7036">
                  <c:v>208.37711919954069</c:v>
                </c:pt>
                <c:pt idx="7037">
                  <c:v>207.58761883630163</c:v>
                </c:pt>
                <c:pt idx="7038">
                  <c:v>207.58761883630166</c:v>
                </c:pt>
                <c:pt idx="7039">
                  <c:v>207.58761883630166</c:v>
                </c:pt>
                <c:pt idx="7040">
                  <c:v>207.10854766834962</c:v>
                </c:pt>
                <c:pt idx="7041">
                  <c:v>207.83914547524279</c:v>
                </c:pt>
                <c:pt idx="7042">
                  <c:v>207.6397960391981</c:v>
                </c:pt>
                <c:pt idx="7043">
                  <c:v>208.37476321680643</c:v>
                </c:pt>
                <c:pt idx="7044">
                  <c:v>208.37476321680643</c:v>
                </c:pt>
                <c:pt idx="7045">
                  <c:v>208.37476321680643</c:v>
                </c:pt>
                <c:pt idx="7046">
                  <c:v>208.37476321680643</c:v>
                </c:pt>
                <c:pt idx="7047">
                  <c:v>208.37476321680643</c:v>
                </c:pt>
                <c:pt idx="7048">
                  <c:v>208.7454138928901</c:v>
                </c:pt>
                <c:pt idx="7049">
                  <c:v>208.48714615908014</c:v>
                </c:pt>
                <c:pt idx="7050">
                  <c:v>210.1551848616694</c:v>
                </c:pt>
                <c:pt idx="7051">
                  <c:v>209.35689782906346</c:v>
                </c:pt>
                <c:pt idx="7052">
                  <c:v>209.35689782906346</c:v>
                </c:pt>
                <c:pt idx="7053">
                  <c:v>209.35689782906346</c:v>
                </c:pt>
                <c:pt idx="7054">
                  <c:v>208.63056404637237</c:v>
                </c:pt>
                <c:pt idx="7055">
                  <c:v>207.30042747875061</c:v>
                </c:pt>
                <c:pt idx="7056">
                  <c:v>205.66045825729415</c:v>
                </c:pt>
                <c:pt idx="7057">
                  <c:v>205.78597197619644</c:v>
                </c:pt>
                <c:pt idx="7058">
                  <c:v>205.59904108098505</c:v>
                </c:pt>
                <c:pt idx="7059">
                  <c:v>205.59904108098502</c:v>
                </c:pt>
                <c:pt idx="7060">
                  <c:v>205.59904108098502</c:v>
                </c:pt>
                <c:pt idx="7061">
                  <c:v>205.16180918427963</c:v>
                </c:pt>
                <c:pt idx="7062">
                  <c:v>204.65570396431528</c:v>
                </c:pt>
                <c:pt idx="7063">
                  <c:v>204.10794505641991</c:v>
                </c:pt>
                <c:pt idx="7064">
                  <c:v>202.33599176742896</c:v>
                </c:pt>
                <c:pt idx="7065">
                  <c:v>201.28300438585984</c:v>
                </c:pt>
                <c:pt idx="7066">
                  <c:v>201.28300438585984</c:v>
                </c:pt>
                <c:pt idx="7067">
                  <c:v>201.28300438585984</c:v>
                </c:pt>
                <c:pt idx="7068">
                  <c:v>200.28399489166779</c:v>
                </c:pt>
                <c:pt idx="7069">
                  <c:v>200.5205818265178</c:v>
                </c:pt>
                <c:pt idx="7070">
                  <c:v>200.97552607508436</c:v>
                </c:pt>
                <c:pt idx="7071">
                  <c:v>201.48152599046762</c:v>
                </c:pt>
                <c:pt idx="7072">
                  <c:v>201.85930742689331</c:v>
                </c:pt>
                <c:pt idx="7073">
                  <c:v>201.85930742689331</c:v>
                </c:pt>
                <c:pt idx="7074">
                  <c:v>201.85930742689331</c:v>
                </c:pt>
                <c:pt idx="7075">
                  <c:v>202.19419256632568</c:v>
                </c:pt>
                <c:pt idx="7076">
                  <c:v>202.4595106558877</c:v>
                </c:pt>
                <c:pt idx="7077">
                  <c:v>202.62515602989868</c:v>
                </c:pt>
                <c:pt idx="7078">
                  <c:v>203.8135761513438</c:v>
                </c:pt>
                <c:pt idx="7079">
                  <c:v>204.22111186305085</c:v>
                </c:pt>
                <c:pt idx="7080">
                  <c:v>204.22111186305085</c:v>
                </c:pt>
                <c:pt idx="7081">
                  <c:v>204.22111186305085</c:v>
                </c:pt>
                <c:pt idx="7082">
                  <c:v>203.72031884730518</c:v>
                </c:pt>
                <c:pt idx="7083">
                  <c:v>202.24638787630658</c:v>
                </c:pt>
                <c:pt idx="7084">
                  <c:v>201.85140601911718</c:v>
                </c:pt>
                <c:pt idx="7085">
                  <c:v>202.24683386540596</c:v>
                </c:pt>
                <c:pt idx="7086">
                  <c:v>202.42608019747519</c:v>
                </c:pt>
                <c:pt idx="7087">
                  <c:v>202.42608019747522</c:v>
                </c:pt>
                <c:pt idx="7088">
                  <c:v>202.42608019747522</c:v>
                </c:pt>
                <c:pt idx="7089">
                  <c:v>203.54508978275928</c:v>
                </c:pt>
                <c:pt idx="7090">
                  <c:v>203.54924835402488</c:v>
                </c:pt>
                <c:pt idx="7091">
                  <c:v>203.43730715145603</c:v>
                </c:pt>
                <c:pt idx="7092">
                  <c:v>203.85859446350227</c:v>
                </c:pt>
                <c:pt idx="7093">
                  <c:v>203.53821268532738</c:v>
                </c:pt>
                <c:pt idx="7094">
                  <c:v>203.53821268532738</c:v>
                </c:pt>
                <c:pt idx="7095">
                  <c:v>203.53821268532738</c:v>
                </c:pt>
                <c:pt idx="7096">
                  <c:v>203.25827912611857</c:v>
                </c:pt>
                <c:pt idx="7097">
                  <c:v>203.03516050411108</c:v>
                </c:pt>
                <c:pt idx="7098">
                  <c:v>202.83428426440531</c:v>
                </c:pt>
                <c:pt idx="7099">
                  <c:v>202.29513367932543</c:v>
                </c:pt>
                <c:pt idx="7100">
                  <c:v>201.56436412551659</c:v>
                </c:pt>
                <c:pt idx="7101">
                  <c:v>201.56436412551656</c:v>
                </c:pt>
                <c:pt idx="7102">
                  <c:v>201.56436412551656</c:v>
                </c:pt>
                <c:pt idx="7103">
                  <c:v>199.26066474863075</c:v>
                </c:pt>
                <c:pt idx="7104">
                  <c:v>198.53550867895774</c:v>
                </c:pt>
                <c:pt idx="7105">
                  <c:v>198.89399913187057</c:v>
                </c:pt>
                <c:pt idx="7106">
                  <c:v>197.25366496675116</c:v>
                </c:pt>
                <c:pt idx="7107">
                  <c:v>199.78210609467081</c:v>
                </c:pt>
                <c:pt idx="7108">
                  <c:v>199.78210609467078</c:v>
                </c:pt>
                <c:pt idx="7109">
                  <c:v>199.78210609467078</c:v>
                </c:pt>
                <c:pt idx="7110">
                  <c:v>199.23993917444355</c:v>
                </c:pt>
                <c:pt idx="7111">
                  <c:v>198.39817396250049</c:v>
                </c:pt>
                <c:pt idx="7112">
                  <c:v>197.94172968780211</c:v>
                </c:pt>
                <c:pt idx="7113">
                  <c:v>197.12177346630943</c:v>
                </c:pt>
                <c:pt idx="7114">
                  <c:v>195.91213263889486</c:v>
                </c:pt>
                <c:pt idx="7115">
                  <c:v>195.91213263889486</c:v>
                </c:pt>
                <c:pt idx="7116">
                  <c:v>195.91213263889486</c:v>
                </c:pt>
                <c:pt idx="7117">
                  <c:v>197.16285049087429</c:v>
                </c:pt>
                <c:pt idx="7118">
                  <c:v>197.00264692249769</c:v>
                </c:pt>
                <c:pt idx="7119">
                  <c:v>194.24552635617741</c:v>
                </c:pt>
                <c:pt idx="7120">
                  <c:v>194.25248484827682</c:v>
                </c:pt>
                <c:pt idx="7121">
                  <c:v>194.78505773954319</c:v>
                </c:pt>
                <c:pt idx="7122">
                  <c:v>194.78505773954319</c:v>
                </c:pt>
                <c:pt idx="7123">
                  <c:v>194.78505773954319</c:v>
                </c:pt>
                <c:pt idx="7124">
                  <c:v>192.77060027503279</c:v>
                </c:pt>
                <c:pt idx="7125">
                  <c:v>193.71381401124901</c:v>
                </c:pt>
                <c:pt idx="7126">
                  <c:v>194.22337886487043</c:v>
                </c:pt>
                <c:pt idx="7127">
                  <c:v>196.02062293929234</c:v>
                </c:pt>
                <c:pt idx="7128">
                  <c:v>196.66007994370062</c:v>
                </c:pt>
                <c:pt idx="7129">
                  <c:v>196.66007994370059</c:v>
                </c:pt>
                <c:pt idx="7130">
                  <c:v>196.66007994370059</c:v>
                </c:pt>
                <c:pt idx="7131">
                  <c:v>195.18596626093694</c:v>
                </c:pt>
                <c:pt idx="7132">
                  <c:v>194.84357701851405</c:v>
                </c:pt>
                <c:pt idx="7133">
                  <c:v>194.66259538636871</c:v>
                </c:pt>
                <c:pt idx="7134">
                  <c:v>194.02406493283527</c:v>
                </c:pt>
                <c:pt idx="7135">
                  <c:v>193.93929640446896</c:v>
                </c:pt>
                <c:pt idx="7136">
                  <c:v>193.93929640446896</c:v>
                </c:pt>
                <c:pt idx="7137">
                  <c:v>193.93929640446896</c:v>
                </c:pt>
                <c:pt idx="7138">
                  <c:v>194.62008727921705</c:v>
                </c:pt>
                <c:pt idx="7139">
                  <c:v>194.87536852912916</c:v>
                </c:pt>
                <c:pt idx="7140">
                  <c:v>196.05702697421117</c:v>
                </c:pt>
                <c:pt idx="7141">
                  <c:v>196.83446581010236</c:v>
                </c:pt>
                <c:pt idx="7142">
                  <c:v>198.39162902272969</c:v>
                </c:pt>
                <c:pt idx="7143">
                  <c:v>198.39162902272969</c:v>
                </c:pt>
                <c:pt idx="7144">
                  <c:v>198.39162902272969</c:v>
                </c:pt>
                <c:pt idx="7145">
                  <c:v>196.92344614098397</c:v>
                </c:pt>
                <c:pt idx="7146">
                  <c:v>194.03990146135294</c:v>
                </c:pt>
                <c:pt idx="7147">
                  <c:v>194.41470352119734</c:v>
                </c:pt>
                <c:pt idx="7148">
                  <c:v>196.30557674706986</c:v>
                </c:pt>
                <c:pt idx="7149">
                  <c:v>198.08932619352188</c:v>
                </c:pt>
                <c:pt idx="7150">
                  <c:v>198.08932619352188</c:v>
                </c:pt>
                <c:pt idx="7151">
                  <c:v>198.08932619352188</c:v>
                </c:pt>
                <c:pt idx="7152">
                  <c:v>197.68230633524536</c:v>
                </c:pt>
                <c:pt idx="7153">
                  <c:v>195.62918023469521</c:v>
                </c:pt>
                <c:pt idx="7154">
                  <c:v>196.73898232590125</c:v>
                </c:pt>
                <c:pt idx="7155">
                  <c:v>197.33486086014986</c:v>
                </c:pt>
                <c:pt idx="7156">
                  <c:v>195.95934440011453</c:v>
                </c:pt>
                <c:pt idx="7157">
                  <c:v>195.95934440011453</c:v>
                </c:pt>
                <c:pt idx="7158">
                  <c:v>195.95934440011453</c:v>
                </c:pt>
                <c:pt idx="7159">
                  <c:v>196.62529774649883</c:v>
                </c:pt>
                <c:pt idx="7160">
                  <c:v>194.68989079051394</c:v>
                </c:pt>
                <c:pt idx="7161">
                  <c:v>198.09852864798563</c:v>
                </c:pt>
                <c:pt idx="7162">
                  <c:v>198.59228030832784</c:v>
                </c:pt>
                <c:pt idx="7163">
                  <c:v>198.20530535901858</c:v>
                </c:pt>
                <c:pt idx="7164">
                  <c:v>198.20530535901858</c:v>
                </c:pt>
                <c:pt idx="7165">
                  <c:v>198.20530535901858</c:v>
                </c:pt>
                <c:pt idx="7166">
                  <c:v>197.25719006770444</c:v>
                </c:pt>
                <c:pt idx="7167">
                  <c:v>196.75539551834819</c:v>
                </c:pt>
                <c:pt idx="7168">
                  <c:v>194.42734661146511</c:v>
                </c:pt>
                <c:pt idx="7169">
                  <c:v>194.70311228259624</c:v>
                </c:pt>
                <c:pt idx="7170">
                  <c:v>192.13505529876332</c:v>
                </c:pt>
                <c:pt idx="7171">
                  <c:v>192.13505529876332</c:v>
                </c:pt>
                <c:pt idx="7172">
                  <c:v>192.13505529876332</c:v>
                </c:pt>
                <c:pt idx="7173">
                  <c:v>190.07497800550405</c:v>
                </c:pt>
                <c:pt idx="7174">
                  <c:v>190.44790800021676</c:v>
                </c:pt>
                <c:pt idx="7175">
                  <c:v>190.4876454200211</c:v>
                </c:pt>
                <c:pt idx="7176">
                  <c:v>190.32574993892868</c:v>
                </c:pt>
                <c:pt idx="7177">
                  <c:v>189.47947180713081</c:v>
                </c:pt>
                <c:pt idx="7178">
                  <c:v>189.47947180713081</c:v>
                </c:pt>
                <c:pt idx="7179">
                  <c:v>189.47947180713081</c:v>
                </c:pt>
                <c:pt idx="7180">
                  <c:v>189.31819255727436</c:v>
                </c:pt>
                <c:pt idx="7181">
                  <c:v>190.15854564150914</c:v>
                </c:pt>
                <c:pt idx="7182">
                  <c:v>191.63198099688523</c:v>
                </c:pt>
                <c:pt idx="7183">
                  <c:v>189.64439438116941</c:v>
                </c:pt>
                <c:pt idx="7184">
                  <c:v>189.90551322398929</c:v>
                </c:pt>
                <c:pt idx="7185">
                  <c:v>189.90551322398929</c:v>
                </c:pt>
                <c:pt idx="7186">
                  <c:v>189.90551322398929</c:v>
                </c:pt>
                <c:pt idx="7187">
                  <c:v>188.35667952949015</c:v>
                </c:pt>
                <c:pt idx="7188">
                  <c:v>189.06431444537785</c:v>
                </c:pt>
                <c:pt idx="7189">
                  <c:v>189.24571684136717</c:v>
                </c:pt>
                <c:pt idx="7190">
                  <c:v>188.9898533103102</c:v>
                </c:pt>
                <c:pt idx="7191">
                  <c:v>190.07514127679269</c:v>
                </c:pt>
                <c:pt idx="7192">
                  <c:v>190.07514127679272</c:v>
                </c:pt>
                <c:pt idx="7193">
                  <c:v>190.07514127679272</c:v>
                </c:pt>
                <c:pt idx="7194">
                  <c:v>190.2126077141871</c:v>
                </c:pt>
                <c:pt idx="7195">
                  <c:v>188.21324415907367</c:v>
                </c:pt>
                <c:pt idx="7196">
                  <c:v>186.82312505678334</c:v>
                </c:pt>
                <c:pt idx="7197">
                  <c:v>186.90689602303775</c:v>
                </c:pt>
                <c:pt idx="7198">
                  <c:v>186.63387573964403</c:v>
                </c:pt>
                <c:pt idx="7199">
                  <c:v>186.63387573964403</c:v>
                </c:pt>
                <c:pt idx="7200">
                  <c:v>186.63387573964403</c:v>
                </c:pt>
                <c:pt idx="7201">
                  <c:v>186.38586699364436</c:v>
                </c:pt>
                <c:pt idx="7202">
                  <c:v>184.46410913032369</c:v>
                </c:pt>
                <c:pt idx="7203">
                  <c:v>184.7561636668423</c:v>
                </c:pt>
                <c:pt idx="7204">
                  <c:v>183.79914490746481</c:v>
                </c:pt>
                <c:pt idx="7205">
                  <c:v>182.96747195403913</c:v>
                </c:pt>
                <c:pt idx="7206">
                  <c:v>182.96747195403913</c:v>
                </c:pt>
                <c:pt idx="7207">
                  <c:v>182.96747195403913</c:v>
                </c:pt>
                <c:pt idx="7208">
                  <c:v>182.31331182954759</c:v>
                </c:pt>
                <c:pt idx="7209">
                  <c:v>181.24945260324947</c:v>
                </c:pt>
                <c:pt idx="7210">
                  <c:v>179.92272826615581</c:v>
                </c:pt>
                <c:pt idx="7211">
                  <c:v>178.28480706599234</c:v>
                </c:pt>
                <c:pt idx="7212">
                  <c:v>180.68904218617703</c:v>
                </c:pt>
                <c:pt idx="7213">
                  <c:v>180.68904218617703</c:v>
                </c:pt>
                <c:pt idx="7214">
                  <c:v>180.68904218617703</c:v>
                </c:pt>
                <c:pt idx="7215">
                  <c:v>181.74613131088381</c:v>
                </c:pt>
                <c:pt idx="7216">
                  <c:v>181.60317770599883</c:v>
                </c:pt>
                <c:pt idx="7217">
                  <c:v>179.4417990462205</c:v>
                </c:pt>
                <c:pt idx="7218">
                  <c:v>180.39266350803416</c:v>
                </c:pt>
                <c:pt idx="7219">
                  <c:v>178.77386606027198</c:v>
                </c:pt>
                <c:pt idx="7220">
                  <c:v>178.77386606027198</c:v>
                </c:pt>
                <c:pt idx="7221">
                  <c:v>178.77386606027198</c:v>
                </c:pt>
                <c:pt idx="7222">
                  <c:v>178.72544317071763</c:v>
                </c:pt>
                <c:pt idx="7223">
                  <c:v>178.77455218633347</c:v>
                </c:pt>
                <c:pt idx="7224">
                  <c:v>177.40257935981938</c:v>
                </c:pt>
                <c:pt idx="7225">
                  <c:v>178.74919664800595</c:v>
                </c:pt>
                <c:pt idx="7226">
                  <c:v>179.57717561987835</c:v>
                </c:pt>
                <c:pt idx="7227">
                  <c:v>179.57717561987835</c:v>
                </c:pt>
                <c:pt idx="7228">
                  <c:v>179.57717561987835</c:v>
                </c:pt>
                <c:pt idx="7229">
                  <c:v>181.36791623826949</c:v>
                </c:pt>
                <c:pt idx="7230">
                  <c:v>182.19451447894559</c:v>
                </c:pt>
                <c:pt idx="7231">
                  <c:v>179.97605048310911</c:v>
                </c:pt>
                <c:pt idx="7232">
                  <c:v>180.73205083155881</c:v>
                </c:pt>
                <c:pt idx="7233">
                  <c:v>179.27071117866856</c:v>
                </c:pt>
                <c:pt idx="7234">
                  <c:v>179.27071117866856</c:v>
                </c:pt>
                <c:pt idx="7235">
                  <c:v>179.27071117866856</c:v>
                </c:pt>
                <c:pt idx="7236">
                  <c:v>179.86435634672674</c:v>
                </c:pt>
                <c:pt idx="7237">
                  <c:v>181.8605369358495</c:v>
                </c:pt>
                <c:pt idx="7238">
                  <c:v>182.77747573499968</c:v>
                </c:pt>
                <c:pt idx="7239">
                  <c:v>183.03176083809072</c:v>
                </c:pt>
                <c:pt idx="7240">
                  <c:v>181.82194080829029</c:v>
                </c:pt>
                <c:pt idx="7241">
                  <c:v>181.82194080829029</c:v>
                </c:pt>
                <c:pt idx="7242">
                  <c:v>181.82194080829029</c:v>
                </c:pt>
                <c:pt idx="7243">
                  <c:v>181.7548976914303</c:v>
                </c:pt>
                <c:pt idx="7244">
                  <c:v>182.49411295001397</c:v>
                </c:pt>
                <c:pt idx="7245">
                  <c:v>182.17129669472934</c:v>
                </c:pt>
                <c:pt idx="7246">
                  <c:v>181.08105205709154</c:v>
                </c:pt>
                <c:pt idx="7247">
                  <c:v>181.05193031242999</c:v>
                </c:pt>
                <c:pt idx="7248">
                  <c:v>181.05193031242999</c:v>
                </c:pt>
                <c:pt idx="7249">
                  <c:v>181.05193031242999</c:v>
                </c:pt>
                <c:pt idx="7250">
                  <c:v>182.92478115296308</c:v>
                </c:pt>
                <c:pt idx="7251">
                  <c:v>184.08337477604147</c:v>
                </c:pt>
                <c:pt idx="7252">
                  <c:v>183.96693244902931</c:v>
                </c:pt>
                <c:pt idx="7253">
                  <c:v>186.7811131035771</c:v>
                </c:pt>
                <c:pt idx="7254">
                  <c:v>188.53098021639087</c:v>
                </c:pt>
                <c:pt idx="7255">
                  <c:v>188.53098021639087</c:v>
                </c:pt>
                <c:pt idx="7256">
                  <c:v>188.53098021639087</c:v>
                </c:pt>
                <c:pt idx="7257">
                  <c:v>187.6887535575994</c:v>
                </c:pt>
                <c:pt idx="7258">
                  <c:v>186.72251947851629</c:v>
                </c:pt>
                <c:pt idx="7259">
                  <c:v>184.13663841066847</c:v>
                </c:pt>
                <c:pt idx="7260">
                  <c:v>183.49417140440133</c:v>
                </c:pt>
                <c:pt idx="7261">
                  <c:v>184.0526458960974</c:v>
                </c:pt>
                <c:pt idx="7262">
                  <c:v>184.0526458960974</c:v>
                </c:pt>
                <c:pt idx="7263">
                  <c:v>184.0526458960974</c:v>
                </c:pt>
                <c:pt idx="7264">
                  <c:v>184.17351922333472</c:v>
                </c:pt>
                <c:pt idx="7265">
                  <c:v>183.62570529190006</c:v>
                </c:pt>
                <c:pt idx="7266">
                  <c:v>184.38482215369433</c:v>
                </c:pt>
                <c:pt idx="7267">
                  <c:v>185.77936137508902</c:v>
                </c:pt>
                <c:pt idx="7268">
                  <c:v>185.42338489220987</c:v>
                </c:pt>
                <c:pt idx="7269">
                  <c:v>185.42338489220987</c:v>
                </c:pt>
                <c:pt idx="7270">
                  <c:v>185.42338489220987</c:v>
                </c:pt>
                <c:pt idx="7271">
                  <c:v>183.93071679857746</c:v>
                </c:pt>
                <c:pt idx="7272">
                  <c:v>183.05916056501613</c:v>
                </c:pt>
                <c:pt idx="7273">
                  <c:v>181.70019089252568</c:v>
                </c:pt>
                <c:pt idx="7274">
                  <c:v>183.24632133271692</c:v>
                </c:pt>
                <c:pt idx="7275">
                  <c:v>183.98541820073581</c:v>
                </c:pt>
                <c:pt idx="7276">
                  <c:v>183.98541820073581</c:v>
                </c:pt>
                <c:pt idx="7277">
                  <c:v>183.98541820073581</c:v>
                </c:pt>
                <c:pt idx="7278">
                  <c:v>183.99348027628514</c:v>
                </c:pt>
                <c:pt idx="7279">
                  <c:v>182.87442329491731</c:v>
                </c:pt>
                <c:pt idx="7280">
                  <c:v>182.64817234275998</c:v>
                </c:pt>
                <c:pt idx="7281">
                  <c:v>182.61431824180715</c:v>
                </c:pt>
                <c:pt idx="7282">
                  <c:v>183.31860946745476</c:v>
                </c:pt>
                <c:pt idx="7283">
                  <c:v>183.31860946745476</c:v>
                </c:pt>
                <c:pt idx="7284">
                  <c:v>183.31860946745476</c:v>
                </c:pt>
                <c:pt idx="7285">
                  <c:v>183.57531806558788</c:v>
                </c:pt>
                <c:pt idx="7286">
                  <c:v>184.4698146365491</c:v>
                </c:pt>
                <c:pt idx="7287">
                  <c:v>184.41065088757307</c:v>
                </c:pt>
                <c:pt idx="7288">
                  <c:v>185.16067869161097</c:v>
                </c:pt>
                <c:pt idx="7289">
                  <c:v>184.02352216867041</c:v>
                </c:pt>
                <c:pt idx="7290">
                  <c:v>184.02352216867041</c:v>
                </c:pt>
                <c:pt idx="7291">
                  <c:v>184.02352216867041</c:v>
                </c:pt>
                <c:pt idx="7292">
                  <c:v>184.12068964586055</c:v>
                </c:pt>
                <c:pt idx="7293">
                  <c:v>183.32164831796979</c:v>
                </c:pt>
                <c:pt idx="7294">
                  <c:v>183.87442944434261</c:v>
                </c:pt>
                <c:pt idx="7295">
                  <c:v>183.57693491662337</c:v>
                </c:pt>
                <c:pt idx="7296">
                  <c:v>184.27929532373383</c:v>
                </c:pt>
                <c:pt idx="7297">
                  <c:v>184.27929532373383</c:v>
                </c:pt>
                <c:pt idx="7298">
                  <c:v>184.27929532373383</c:v>
                </c:pt>
                <c:pt idx="7299">
                  <c:v>184.27929532373383</c:v>
                </c:pt>
                <c:pt idx="7300">
                  <c:v>183.89790514648516</c:v>
                </c:pt>
                <c:pt idx="7301">
                  <c:v>184.1227462123548</c:v>
                </c:pt>
                <c:pt idx="7302">
                  <c:v>184.74408517972105</c:v>
                </c:pt>
                <c:pt idx="7303">
                  <c:v>184.7183977693673</c:v>
                </c:pt>
                <c:pt idx="7304">
                  <c:v>184.7183977693673</c:v>
                </c:pt>
                <c:pt idx="7305">
                  <c:v>184.7183977693673</c:v>
                </c:pt>
                <c:pt idx="7306">
                  <c:v>184.74065025708902</c:v>
                </c:pt>
                <c:pt idx="7307">
                  <c:v>185.16027736512322</c:v>
                </c:pt>
                <c:pt idx="7308">
                  <c:v>184.62330283863287</c:v>
                </c:pt>
                <c:pt idx="7309">
                  <c:v>184.87662483361669</c:v>
                </c:pt>
                <c:pt idx="7310">
                  <c:v>184.45736031684885</c:v>
                </c:pt>
                <c:pt idx="7311">
                  <c:v>184.45736031684885</c:v>
                </c:pt>
                <c:pt idx="7312">
                  <c:v>184.45736031684885</c:v>
                </c:pt>
                <c:pt idx="7313">
                  <c:v>185.58854003428104</c:v>
                </c:pt>
                <c:pt idx="7314">
                  <c:v>185.1113927944547</c:v>
                </c:pt>
                <c:pt idx="7315">
                  <c:v>185.6488259647594</c:v>
                </c:pt>
                <c:pt idx="7316">
                  <c:v>186.05476808224793</c:v>
                </c:pt>
                <c:pt idx="7317">
                  <c:v>185.91772321742911</c:v>
                </c:pt>
                <c:pt idx="7318">
                  <c:v>185.91772321742911</c:v>
                </c:pt>
                <c:pt idx="7319">
                  <c:v>185.91772321742911</c:v>
                </c:pt>
                <c:pt idx="7320">
                  <c:v>186.59386847796353</c:v>
                </c:pt>
                <c:pt idx="7321">
                  <c:v>186.28403907725058</c:v>
                </c:pt>
                <c:pt idx="7322">
                  <c:v>186.7567915206028</c:v>
                </c:pt>
                <c:pt idx="7323">
                  <c:v>185.52086504306766</c:v>
                </c:pt>
                <c:pt idx="7324">
                  <c:v>186.14075083373433</c:v>
                </c:pt>
                <c:pt idx="7325">
                  <c:v>186.14075083373433</c:v>
                </c:pt>
                <c:pt idx="7326">
                  <c:v>186.14075083373433</c:v>
                </c:pt>
                <c:pt idx="7327">
                  <c:v>187.07369962160567</c:v>
                </c:pt>
                <c:pt idx="7328">
                  <c:v>187.38895813266839</c:v>
                </c:pt>
                <c:pt idx="7329">
                  <c:v>186.05058312724981</c:v>
                </c:pt>
                <c:pt idx="7330">
                  <c:v>187.12997854596958</c:v>
                </c:pt>
                <c:pt idx="7331">
                  <c:v>187.61196561367814</c:v>
                </c:pt>
              </c:numCache>
            </c:numRef>
          </c:val>
          <c:smooth val="0"/>
          <c:extLst>
            <c:ext xmlns:c16="http://schemas.microsoft.com/office/drawing/2014/chart" uri="{C3380CC4-5D6E-409C-BE32-E72D297353CC}">
              <c16:uniqueId val="{00000000-5142-4AF7-B46C-44557F067AF8}"/>
            </c:ext>
          </c:extLst>
        </c:ser>
        <c:ser>
          <c:idx val="1"/>
          <c:order val="1"/>
          <c:tx>
            <c:strRef>
              <c:f>Tabelle1!$C$1</c:f>
              <c:strCache>
                <c:ptCount val="1"/>
                <c:pt idx="0">
                  <c:v>USA</c:v>
                </c:pt>
              </c:strCache>
            </c:strRef>
          </c:tx>
          <c:spPr>
            <a:ln w="19050">
              <a:solidFill>
                <a:schemeClr val="tx1"/>
              </a:solidFill>
              <a:prstDash val="solid"/>
            </a:ln>
          </c:spPr>
          <c:marker>
            <c:symbol val="none"/>
          </c:marker>
          <c:cat>
            <c:numRef>
              <c:f>Tabelle1!$A$2:$A$7333</c:f>
              <c:numCache>
                <c:formatCode>dd\.mm\.yyyy</c:formatCode>
                <c:ptCount val="7332"/>
                <c:pt idx="0">
                  <c:v>37622</c:v>
                </c:pt>
                <c:pt idx="1">
                  <c:v>37623</c:v>
                </c:pt>
                <c:pt idx="2">
                  <c:v>37624</c:v>
                </c:pt>
                <c:pt idx="3">
                  <c:v>37625</c:v>
                </c:pt>
                <c:pt idx="4">
                  <c:v>37626</c:v>
                </c:pt>
                <c:pt idx="5">
                  <c:v>37627</c:v>
                </c:pt>
                <c:pt idx="6">
                  <c:v>37628</c:v>
                </c:pt>
                <c:pt idx="7">
                  <c:v>37629</c:v>
                </c:pt>
                <c:pt idx="8">
                  <c:v>37630</c:v>
                </c:pt>
                <c:pt idx="9">
                  <c:v>37631</c:v>
                </c:pt>
                <c:pt idx="10">
                  <c:v>37632</c:v>
                </c:pt>
                <c:pt idx="11">
                  <c:v>37633</c:v>
                </c:pt>
                <c:pt idx="12">
                  <c:v>37634</c:v>
                </c:pt>
                <c:pt idx="13">
                  <c:v>37635</c:v>
                </c:pt>
                <c:pt idx="14">
                  <c:v>37636</c:v>
                </c:pt>
                <c:pt idx="15">
                  <c:v>37637</c:v>
                </c:pt>
                <c:pt idx="16">
                  <c:v>37638</c:v>
                </c:pt>
                <c:pt idx="17">
                  <c:v>37639</c:v>
                </c:pt>
                <c:pt idx="18">
                  <c:v>37640</c:v>
                </c:pt>
                <c:pt idx="19">
                  <c:v>37641</c:v>
                </c:pt>
                <c:pt idx="20">
                  <c:v>37642</c:v>
                </c:pt>
                <c:pt idx="21">
                  <c:v>37643</c:v>
                </c:pt>
                <c:pt idx="22">
                  <c:v>37644</c:v>
                </c:pt>
                <c:pt idx="23">
                  <c:v>37645</c:v>
                </c:pt>
                <c:pt idx="24">
                  <c:v>37646</c:v>
                </c:pt>
                <c:pt idx="25">
                  <c:v>37647</c:v>
                </c:pt>
                <c:pt idx="26">
                  <c:v>37648</c:v>
                </c:pt>
                <c:pt idx="27">
                  <c:v>37649</c:v>
                </c:pt>
                <c:pt idx="28">
                  <c:v>37650</c:v>
                </c:pt>
                <c:pt idx="29">
                  <c:v>37651</c:v>
                </c:pt>
                <c:pt idx="30">
                  <c:v>37652</c:v>
                </c:pt>
                <c:pt idx="31">
                  <c:v>37653</c:v>
                </c:pt>
                <c:pt idx="32">
                  <c:v>37654</c:v>
                </c:pt>
                <c:pt idx="33">
                  <c:v>37655</c:v>
                </c:pt>
                <c:pt idx="34">
                  <c:v>37656</c:v>
                </c:pt>
                <c:pt idx="35">
                  <c:v>37657</c:v>
                </c:pt>
                <c:pt idx="36">
                  <c:v>37658</c:v>
                </c:pt>
                <c:pt idx="37">
                  <c:v>37659</c:v>
                </c:pt>
                <c:pt idx="38">
                  <c:v>37660</c:v>
                </c:pt>
                <c:pt idx="39">
                  <c:v>37661</c:v>
                </c:pt>
                <c:pt idx="40">
                  <c:v>37662</c:v>
                </c:pt>
                <c:pt idx="41">
                  <c:v>37663</c:v>
                </c:pt>
                <c:pt idx="42">
                  <c:v>37664</c:v>
                </c:pt>
                <c:pt idx="43">
                  <c:v>37665</c:v>
                </c:pt>
                <c:pt idx="44">
                  <c:v>37666</c:v>
                </c:pt>
                <c:pt idx="45">
                  <c:v>37667</c:v>
                </c:pt>
                <c:pt idx="46">
                  <c:v>37668</c:v>
                </c:pt>
                <c:pt idx="47">
                  <c:v>37669</c:v>
                </c:pt>
                <c:pt idx="48">
                  <c:v>37670</c:v>
                </c:pt>
                <c:pt idx="49">
                  <c:v>37671</c:v>
                </c:pt>
                <c:pt idx="50">
                  <c:v>37672</c:v>
                </c:pt>
                <c:pt idx="51">
                  <c:v>37673</c:v>
                </c:pt>
                <c:pt idx="52">
                  <c:v>37674</c:v>
                </c:pt>
                <c:pt idx="53">
                  <c:v>37675</c:v>
                </c:pt>
                <c:pt idx="54">
                  <c:v>37676</c:v>
                </c:pt>
                <c:pt idx="55">
                  <c:v>37677</c:v>
                </c:pt>
                <c:pt idx="56">
                  <c:v>37678</c:v>
                </c:pt>
                <c:pt idx="57">
                  <c:v>37679</c:v>
                </c:pt>
                <c:pt idx="58">
                  <c:v>37680</c:v>
                </c:pt>
                <c:pt idx="59">
                  <c:v>37681</c:v>
                </c:pt>
                <c:pt idx="60">
                  <c:v>37682</c:v>
                </c:pt>
                <c:pt idx="61">
                  <c:v>37683</c:v>
                </c:pt>
                <c:pt idx="62">
                  <c:v>37684</c:v>
                </c:pt>
                <c:pt idx="63">
                  <c:v>37685</c:v>
                </c:pt>
                <c:pt idx="64">
                  <c:v>37686</c:v>
                </c:pt>
                <c:pt idx="65">
                  <c:v>37687</c:v>
                </c:pt>
                <c:pt idx="66">
                  <c:v>37688</c:v>
                </c:pt>
                <c:pt idx="67">
                  <c:v>37689</c:v>
                </c:pt>
                <c:pt idx="68">
                  <c:v>37690</c:v>
                </c:pt>
                <c:pt idx="69">
                  <c:v>37691</c:v>
                </c:pt>
                <c:pt idx="70">
                  <c:v>37692</c:v>
                </c:pt>
                <c:pt idx="71">
                  <c:v>37693</c:v>
                </c:pt>
                <c:pt idx="72">
                  <c:v>37694</c:v>
                </c:pt>
                <c:pt idx="73">
                  <c:v>37695</c:v>
                </c:pt>
                <c:pt idx="74">
                  <c:v>37696</c:v>
                </c:pt>
                <c:pt idx="75">
                  <c:v>37697</c:v>
                </c:pt>
                <c:pt idx="76">
                  <c:v>37698</c:v>
                </c:pt>
                <c:pt idx="77">
                  <c:v>37699</c:v>
                </c:pt>
                <c:pt idx="78">
                  <c:v>37700</c:v>
                </c:pt>
                <c:pt idx="79">
                  <c:v>37701</c:v>
                </c:pt>
                <c:pt idx="80">
                  <c:v>37702</c:v>
                </c:pt>
                <c:pt idx="81">
                  <c:v>37703</c:v>
                </c:pt>
                <c:pt idx="82">
                  <c:v>37704</c:v>
                </c:pt>
                <c:pt idx="83">
                  <c:v>37705</c:v>
                </c:pt>
                <c:pt idx="84">
                  <c:v>37706</c:v>
                </c:pt>
                <c:pt idx="85">
                  <c:v>37707</c:v>
                </c:pt>
                <c:pt idx="86">
                  <c:v>37708</c:v>
                </c:pt>
                <c:pt idx="87">
                  <c:v>37709</c:v>
                </c:pt>
                <c:pt idx="88">
                  <c:v>37710</c:v>
                </c:pt>
                <c:pt idx="89">
                  <c:v>37711</c:v>
                </c:pt>
                <c:pt idx="90">
                  <c:v>37712</c:v>
                </c:pt>
                <c:pt idx="91">
                  <c:v>37713</c:v>
                </c:pt>
                <c:pt idx="92">
                  <c:v>37714</c:v>
                </c:pt>
                <c:pt idx="93">
                  <c:v>37715</c:v>
                </c:pt>
                <c:pt idx="94">
                  <c:v>37716</c:v>
                </c:pt>
                <c:pt idx="95">
                  <c:v>37717</c:v>
                </c:pt>
                <c:pt idx="96">
                  <c:v>37718</c:v>
                </c:pt>
                <c:pt idx="97">
                  <c:v>37719</c:v>
                </c:pt>
                <c:pt idx="98">
                  <c:v>37720</c:v>
                </c:pt>
                <c:pt idx="99">
                  <c:v>37721</c:v>
                </c:pt>
                <c:pt idx="100">
                  <c:v>37722</c:v>
                </c:pt>
                <c:pt idx="101">
                  <c:v>37723</c:v>
                </c:pt>
                <c:pt idx="102">
                  <c:v>37724</c:v>
                </c:pt>
                <c:pt idx="103">
                  <c:v>37725</c:v>
                </c:pt>
                <c:pt idx="104">
                  <c:v>37726</c:v>
                </c:pt>
                <c:pt idx="105">
                  <c:v>37727</c:v>
                </c:pt>
                <c:pt idx="106">
                  <c:v>37728</c:v>
                </c:pt>
                <c:pt idx="107">
                  <c:v>37729</c:v>
                </c:pt>
                <c:pt idx="108">
                  <c:v>37730</c:v>
                </c:pt>
                <c:pt idx="109">
                  <c:v>37731</c:v>
                </c:pt>
                <c:pt idx="110">
                  <c:v>37732</c:v>
                </c:pt>
                <c:pt idx="111">
                  <c:v>37733</c:v>
                </c:pt>
                <c:pt idx="112">
                  <c:v>37734</c:v>
                </c:pt>
                <c:pt idx="113">
                  <c:v>37735</c:v>
                </c:pt>
                <c:pt idx="114">
                  <c:v>37736</c:v>
                </c:pt>
                <c:pt idx="115">
                  <c:v>37737</c:v>
                </c:pt>
                <c:pt idx="116">
                  <c:v>37738</c:v>
                </c:pt>
                <c:pt idx="117">
                  <c:v>37739</c:v>
                </c:pt>
                <c:pt idx="118">
                  <c:v>37740</c:v>
                </c:pt>
                <c:pt idx="119">
                  <c:v>37741</c:v>
                </c:pt>
                <c:pt idx="120">
                  <c:v>37742</c:v>
                </c:pt>
                <c:pt idx="121">
                  <c:v>37743</c:v>
                </c:pt>
                <c:pt idx="122">
                  <c:v>37744</c:v>
                </c:pt>
                <c:pt idx="123">
                  <c:v>37745</c:v>
                </c:pt>
                <c:pt idx="124">
                  <c:v>37746</c:v>
                </c:pt>
                <c:pt idx="125">
                  <c:v>37747</c:v>
                </c:pt>
                <c:pt idx="126">
                  <c:v>37748</c:v>
                </c:pt>
                <c:pt idx="127">
                  <c:v>37749</c:v>
                </c:pt>
                <c:pt idx="128">
                  <c:v>37750</c:v>
                </c:pt>
                <c:pt idx="129">
                  <c:v>37751</c:v>
                </c:pt>
                <c:pt idx="130">
                  <c:v>37752</c:v>
                </c:pt>
                <c:pt idx="131">
                  <c:v>37753</c:v>
                </c:pt>
                <c:pt idx="132">
                  <c:v>37754</c:v>
                </c:pt>
                <c:pt idx="133">
                  <c:v>37755</c:v>
                </c:pt>
                <c:pt idx="134">
                  <c:v>37756</c:v>
                </c:pt>
                <c:pt idx="135">
                  <c:v>37757</c:v>
                </c:pt>
                <c:pt idx="136">
                  <c:v>37758</c:v>
                </c:pt>
                <c:pt idx="137">
                  <c:v>37759</c:v>
                </c:pt>
                <c:pt idx="138">
                  <c:v>37760</c:v>
                </c:pt>
                <c:pt idx="139">
                  <c:v>37761</c:v>
                </c:pt>
                <c:pt idx="140">
                  <c:v>37762</c:v>
                </c:pt>
                <c:pt idx="141">
                  <c:v>37763</c:v>
                </c:pt>
                <c:pt idx="142">
                  <c:v>37764</c:v>
                </c:pt>
                <c:pt idx="143">
                  <c:v>37765</c:v>
                </c:pt>
                <c:pt idx="144">
                  <c:v>37766</c:v>
                </c:pt>
                <c:pt idx="145">
                  <c:v>37767</c:v>
                </c:pt>
                <c:pt idx="146">
                  <c:v>37768</c:v>
                </c:pt>
                <c:pt idx="147">
                  <c:v>37769</c:v>
                </c:pt>
                <c:pt idx="148">
                  <c:v>37770</c:v>
                </c:pt>
                <c:pt idx="149">
                  <c:v>37771</c:v>
                </c:pt>
                <c:pt idx="150">
                  <c:v>37772</c:v>
                </c:pt>
                <c:pt idx="151">
                  <c:v>37773</c:v>
                </c:pt>
                <c:pt idx="152">
                  <c:v>37774</c:v>
                </c:pt>
                <c:pt idx="153">
                  <c:v>37775</c:v>
                </c:pt>
                <c:pt idx="154">
                  <c:v>37776</c:v>
                </c:pt>
                <c:pt idx="155">
                  <c:v>37777</c:v>
                </c:pt>
                <c:pt idx="156">
                  <c:v>37778</c:v>
                </c:pt>
                <c:pt idx="157">
                  <c:v>37779</c:v>
                </c:pt>
                <c:pt idx="158">
                  <c:v>37780</c:v>
                </c:pt>
                <c:pt idx="159">
                  <c:v>37781</c:v>
                </c:pt>
                <c:pt idx="160">
                  <c:v>37782</c:v>
                </c:pt>
                <c:pt idx="161">
                  <c:v>37783</c:v>
                </c:pt>
                <c:pt idx="162">
                  <c:v>37784</c:v>
                </c:pt>
                <c:pt idx="163">
                  <c:v>37785</c:v>
                </c:pt>
                <c:pt idx="164">
                  <c:v>37786</c:v>
                </c:pt>
                <c:pt idx="165">
                  <c:v>37787</c:v>
                </c:pt>
                <c:pt idx="166">
                  <c:v>37788</c:v>
                </c:pt>
                <c:pt idx="167">
                  <c:v>37789</c:v>
                </c:pt>
                <c:pt idx="168">
                  <c:v>37790</c:v>
                </c:pt>
                <c:pt idx="169">
                  <c:v>37791</c:v>
                </c:pt>
                <c:pt idx="170">
                  <c:v>37792</c:v>
                </c:pt>
                <c:pt idx="171">
                  <c:v>37793</c:v>
                </c:pt>
                <c:pt idx="172">
                  <c:v>37794</c:v>
                </c:pt>
                <c:pt idx="173">
                  <c:v>37795</c:v>
                </c:pt>
                <c:pt idx="174">
                  <c:v>37796</c:v>
                </c:pt>
                <c:pt idx="175">
                  <c:v>37797</c:v>
                </c:pt>
                <c:pt idx="176">
                  <c:v>37798</c:v>
                </c:pt>
                <c:pt idx="177">
                  <c:v>37799</c:v>
                </c:pt>
                <c:pt idx="178">
                  <c:v>37800</c:v>
                </c:pt>
                <c:pt idx="179">
                  <c:v>37801</c:v>
                </c:pt>
                <c:pt idx="180">
                  <c:v>37802</c:v>
                </c:pt>
                <c:pt idx="181">
                  <c:v>37803</c:v>
                </c:pt>
                <c:pt idx="182">
                  <c:v>37804</c:v>
                </c:pt>
                <c:pt idx="183">
                  <c:v>37805</c:v>
                </c:pt>
                <c:pt idx="184">
                  <c:v>37806</c:v>
                </c:pt>
                <c:pt idx="185">
                  <c:v>37807</c:v>
                </c:pt>
                <c:pt idx="186">
                  <c:v>37808</c:v>
                </c:pt>
                <c:pt idx="187">
                  <c:v>37809</c:v>
                </c:pt>
                <c:pt idx="188">
                  <c:v>37810</c:v>
                </c:pt>
                <c:pt idx="189">
                  <c:v>37811</c:v>
                </c:pt>
                <c:pt idx="190">
                  <c:v>37812</c:v>
                </c:pt>
                <c:pt idx="191">
                  <c:v>37813</c:v>
                </c:pt>
                <c:pt idx="192">
                  <c:v>37814</c:v>
                </c:pt>
                <c:pt idx="193">
                  <c:v>37815</c:v>
                </c:pt>
                <c:pt idx="194">
                  <c:v>37816</c:v>
                </c:pt>
                <c:pt idx="195">
                  <c:v>37817</c:v>
                </c:pt>
                <c:pt idx="196">
                  <c:v>37818</c:v>
                </c:pt>
                <c:pt idx="197">
                  <c:v>37819</c:v>
                </c:pt>
                <c:pt idx="198">
                  <c:v>37820</c:v>
                </c:pt>
                <c:pt idx="199">
                  <c:v>37821</c:v>
                </c:pt>
                <c:pt idx="200">
                  <c:v>37822</c:v>
                </c:pt>
                <c:pt idx="201">
                  <c:v>37823</c:v>
                </c:pt>
                <c:pt idx="202">
                  <c:v>37824</c:v>
                </c:pt>
                <c:pt idx="203">
                  <c:v>37825</c:v>
                </c:pt>
                <c:pt idx="204">
                  <c:v>37826</c:v>
                </c:pt>
                <c:pt idx="205">
                  <c:v>37827</c:v>
                </c:pt>
                <c:pt idx="206">
                  <c:v>37828</c:v>
                </c:pt>
                <c:pt idx="207">
                  <c:v>37829</c:v>
                </c:pt>
                <c:pt idx="208">
                  <c:v>37830</c:v>
                </c:pt>
                <c:pt idx="209">
                  <c:v>37831</c:v>
                </c:pt>
                <c:pt idx="210">
                  <c:v>37832</c:v>
                </c:pt>
                <c:pt idx="211">
                  <c:v>37833</c:v>
                </c:pt>
                <c:pt idx="212">
                  <c:v>37834</c:v>
                </c:pt>
                <c:pt idx="213">
                  <c:v>37835</c:v>
                </c:pt>
                <c:pt idx="214">
                  <c:v>37836</c:v>
                </c:pt>
                <c:pt idx="215">
                  <c:v>37837</c:v>
                </c:pt>
                <c:pt idx="216">
                  <c:v>37838</c:v>
                </c:pt>
                <c:pt idx="217">
                  <c:v>37839</c:v>
                </c:pt>
                <c:pt idx="218">
                  <c:v>37840</c:v>
                </c:pt>
                <c:pt idx="219">
                  <c:v>37841</c:v>
                </c:pt>
                <c:pt idx="220">
                  <c:v>37842</c:v>
                </c:pt>
                <c:pt idx="221">
                  <c:v>37843</c:v>
                </c:pt>
                <c:pt idx="222">
                  <c:v>37844</c:v>
                </c:pt>
                <c:pt idx="223">
                  <c:v>37845</c:v>
                </c:pt>
                <c:pt idx="224">
                  <c:v>37846</c:v>
                </c:pt>
                <c:pt idx="225">
                  <c:v>37847</c:v>
                </c:pt>
                <c:pt idx="226">
                  <c:v>37848</c:v>
                </c:pt>
                <c:pt idx="227">
                  <c:v>37849</c:v>
                </c:pt>
                <c:pt idx="228">
                  <c:v>37850</c:v>
                </c:pt>
                <c:pt idx="229">
                  <c:v>37851</c:v>
                </c:pt>
                <c:pt idx="230">
                  <c:v>37852</c:v>
                </c:pt>
                <c:pt idx="231">
                  <c:v>37853</c:v>
                </c:pt>
                <c:pt idx="232">
                  <c:v>37854</c:v>
                </c:pt>
                <c:pt idx="233">
                  <c:v>37855</c:v>
                </c:pt>
                <c:pt idx="234">
                  <c:v>37856</c:v>
                </c:pt>
                <c:pt idx="235">
                  <c:v>37857</c:v>
                </c:pt>
                <c:pt idx="236">
                  <c:v>37858</c:v>
                </c:pt>
                <c:pt idx="237">
                  <c:v>37859</c:v>
                </c:pt>
                <c:pt idx="238">
                  <c:v>37860</c:v>
                </c:pt>
                <c:pt idx="239">
                  <c:v>37861</c:v>
                </c:pt>
                <c:pt idx="240">
                  <c:v>37862</c:v>
                </c:pt>
                <c:pt idx="241">
                  <c:v>37863</c:v>
                </c:pt>
                <c:pt idx="242">
                  <c:v>37864</c:v>
                </c:pt>
                <c:pt idx="243">
                  <c:v>37865</c:v>
                </c:pt>
                <c:pt idx="244">
                  <c:v>37866</c:v>
                </c:pt>
                <c:pt idx="245">
                  <c:v>37867</c:v>
                </c:pt>
                <c:pt idx="246">
                  <c:v>37868</c:v>
                </c:pt>
                <c:pt idx="247">
                  <c:v>37869</c:v>
                </c:pt>
                <c:pt idx="248">
                  <c:v>37870</c:v>
                </c:pt>
                <c:pt idx="249">
                  <c:v>37871</c:v>
                </c:pt>
                <c:pt idx="250">
                  <c:v>37872</c:v>
                </c:pt>
                <c:pt idx="251">
                  <c:v>37873</c:v>
                </c:pt>
                <c:pt idx="252">
                  <c:v>37874</c:v>
                </c:pt>
                <c:pt idx="253">
                  <c:v>37875</c:v>
                </c:pt>
                <c:pt idx="254">
                  <c:v>37876</c:v>
                </c:pt>
                <c:pt idx="255">
                  <c:v>37877</c:v>
                </c:pt>
                <c:pt idx="256">
                  <c:v>37878</c:v>
                </c:pt>
                <c:pt idx="257">
                  <c:v>37879</c:v>
                </c:pt>
                <c:pt idx="258">
                  <c:v>37880</c:v>
                </c:pt>
                <c:pt idx="259">
                  <c:v>37881</c:v>
                </c:pt>
                <c:pt idx="260">
                  <c:v>37882</c:v>
                </c:pt>
                <c:pt idx="261">
                  <c:v>37883</c:v>
                </c:pt>
                <c:pt idx="262">
                  <c:v>37884</c:v>
                </c:pt>
                <c:pt idx="263">
                  <c:v>37885</c:v>
                </c:pt>
                <c:pt idx="264">
                  <c:v>37886</c:v>
                </c:pt>
                <c:pt idx="265">
                  <c:v>37887</c:v>
                </c:pt>
                <c:pt idx="266">
                  <c:v>37888</c:v>
                </c:pt>
                <c:pt idx="267">
                  <c:v>37889</c:v>
                </c:pt>
                <c:pt idx="268">
                  <c:v>37890</c:v>
                </c:pt>
                <c:pt idx="269">
                  <c:v>37891</c:v>
                </c:pt>
                <c:pt idx="270">
                  <c:v>37892</c:v>
                </c:pt>
                <c:pt idx="271">
                  <c:v>37893</c:v>
                </c:pt>
                <c:pt idx="272">
                  <c:v>37894</c:v>
                </c:pt>
                <c:pt idx="273">
                  <c:v>37895</c:v>
                </c:pt>
                <c:pt idx="274">
                  <c:v>37896</c:v>
                </c:pt>
                <c:pt idx="275">
                  <c:v>37897</c:v>
                </c:pt>
                <c:pt idx="276">
                  <c:v>37898</c:v>
                </c:pt>
                <c:pt idx="277">
                  <c:v>37899</c:v>
                </c:pt>
                <c:pt idx="278">
                  <c:v>37900</c:v>
                </c:pt>
                <c:pt idx="279">
                  <c:v>37901</c:v>
                </c:pt>
                <c:pt idx="280">
                  <c:v>37902</c:v>
                </c:pt>
                <c:pt idx="281">
                  <c:v>37903</c:v>
                </c:pt>
                <c:pt idx="282">
                  <c:v>37904</c:v>
                </c:pt>
                <c:pt idx="283">
                  <c:v>37905</c:v>
                </c:pt>
                <c:pt idx="284">
                  <c:v>37906</c:v>
                </c:pt>
                <c:pt idx="285">
                  <c:v>37907</c:v>
                </c:pt>
                <c:pt idx="286">
                  <c:v>37908</c:v>
                </c:pt>
                <c:pt idx="287">
                  <c:v>37909</c:v>
                </c:pt>
                <c:pt idx="288">
                  <c:v>37910</c:v>
                </c:pt>
                <c:pt idx="289">
                  <c:v>37911</c:v>
                </c:pt>
                <c:pt idx="290">
                  <c:v>37912</c:v>
                </c:pt>
                <c:pt idx="291">
                  <c:v>37913</c:v>
                </c:pt>
                <c:pt idx="292">
                  <c:v>37914</c:v>
                </c:pt>
                <c:pt idx="293">
                  <c:v>37915</c:v>
                </c:pt>
                <c:pt idx="294">
                  <c:v>37916</c:v>
                </c:pt>
                <c:pt idx="295">
                  <c:v>37917</c:v>
                </c:pt>
                <c:pt idx="296">
                  <c:v>37918</c:v>
                </c:pt>
                <c:pt idx="297">
                  <c:v>37919</c:v>
                </c:pt>
                <c:pt idx="298">
                  <c:v>37920</c:v>
                </c:pt>
                <c:pt idx="299">
                  <c:v>37921</c:v>
                </c:pt>
                <c:pt idx="300">
                  <c:v>37922</c:v>
                </c:pt>
                <c:pt idx="301">
                  <c:v>37923</c:v>
                </c:pt>
                <c:pt idx="302">
                  <c:v>37924</c:v>
                </c:pt>
                <c:pt idx="303">
                  <c:v>37925</c:v>
                </c:pt>
                <c:pt idx="304">
                  <c:v>37926</c:v>
                </c:pt>
                <c:pt idx="305">
                  <c:v>37927</c:v>
                </c:pt>
                <c:pt idx="306">
                  <c:v>37928</c:v>
                </c:pt>
                <c:pt idx="307">
                  <c:v>37929</c:v>
                </c:pt>
                <c:pt idx="308">
                  <c:v>37930</c:v>
                </c:pt>
                <c:pt idx="309">
                  <c:v>37931</c:v>
                </c:pt>
                <c:pt idx="310">
                  <c:v>37932</c:v>
                </c:pt>
                <c:pt idx="311">
                  <c:v>37933</c:v>
                </c:pt>
                <c:pt idx="312">
                  <c:v>37934</c:v>
                </c:pt>
                <c:pt idx="313">
                  <c:v>37935</c:v>
                </c:pt>
                <c:pt idx="314">
                  <c:v>37936</c:v>
                </c:pt>
                <c:pt idx="315">
                  <c:v>37937</c:v>
                </c:pt>
                <c:pt idx="316">
                  <c:v>37938</c:v>
                </c:pt>
                <c:pt idx="317">
                  <c:v>37939</c:v>
                </c:pt>
                <c:pt idx="318">
                  <c:v>37940</c:v>
                </c:pt>
                <c:pt idx="319">
                  <c:v>37941</c:v>
                </c:pt>
                <c:pt idx="320">
                  <c:v>37942</c:v>
                </c:pt>
                <c:pt idx="321">
                  <c:v>37943</c:v>
                </c:pt>
                <c:pt idx="322">
                  <c:v>37944</c:v>
                </c:pt>
                <c:pt idx="323">
                  <c:v>37945</c:v>
                </c:pt>
                <c:pt idx="324">
                  <c:v>37946</c:v>
                </c:pt>
                <c:pt idx="325">
                  <c:v>37947</c:v>
                </c:pt>
                <c:pt idx="326">
                  <c:v>37948</c:v>
                </c:pt>
                <c:pt idx="327">
                  <c:v>37949</c:v>
                </c:pt>
                <c:pt idx="328">
                  <c:v>37950</c:v>
                </c:pt>
                <c:pt idx="329">
                  <c:v>37951</c:v>
                </c:pt>
                <c:pt idx="330">
                  <c:v>37952</c:v>
                </c:pt>
                <c:pt idx="331">
                  <c:v>37953</c:v>
                </c:pt>
                <c:pt idx="332">
                  <c:v>37954</c:v>
                </c:pt>
                <c:pt idx="333">
                  <c:v>37955</c:v>
                </c:pt>
                <c:pt idx="334">
                  <c:v>37956</c:v>
                </c:pt>
                <c:pt idx="335">
                  <c:v>37957</c:v>
                </c:pt>
                <c:pt idx="336">
                  <c:v>37958</c:v>
                </c:pt>
                <c:pt idx="337">
                  <c:v>37959</c:v>
                </c:pt>
                <c:pt idx="338">
                  <c:v>37960</c:v>
                </c:pt>
                <c:pt idx="339">
                  <c:v>37961</c:v>
                </c:pt>
                <c:pt idx="340">
                  <c:v>37962</c:v>
                </c:pt>
                <c:pt idx="341">
                  <c:v>37963</c:v>
                </c:pt>
                <c:pt idx="342">
                  <c:v>37964</c:v>
                </c:pt>
                <c:pt idx="343">
                  <c:v>37965</c:v>
                </c:pt>
                <c:pt idx="344">
                  <c:v>37966</c:v>
                </c:pt>
                <c:pt idx="345">
                  <c:v>37967</c:v>
                </c:pt>
                <c:pt idx="346">
                  <c:v>37968</c:v>
                </c:pt>
                <c:pt idx="347">
                  <c:v>37969</c:v>
                </c:pt>
                <c:pt idx="348">
                  <c:v>37970</c:v>
                </c:pt>
                <c:pt idx="349">
                  <c:v>37971</c:v>
                </c:pt>
                <c:pt idx="350">
                  <c:v>37972</c:v>
                </c:pt>
                <c:pt idx="351">
                  <c:v>37973</c:v>
                </c:pt>
                <c:pt idx="352">
                  <c:v>37974</c:v>
                </c:pt>
                <c:pt idx="353">
                  <c:v>37975</c:v>
                </c:pt>
                <c:pt idx="354">
                  <c:v>37976</c:v>
                </c:pt>
                <c:pt idx="355">
                  <c:v>37977</c:v>
                </c:pt>
                <c:pt idx="356">
                  <c:v>37978</c:v>
                </c:pt>
                <c:pt idx="357">
                  <c:v>37979</c:v>
                </c:pt>
                <c:pt idx="358">
                  <c:v>37980</c:v>
                </c:pt>
                <c:pt idx="359">
                  <c:v>37981</c:v>
                </c:pt>
                <c:pt idx="360">
                  <c:v>37982</c:v>
                </c:pt>
                <c:pt idx="361">
                  <c:v>37983</c:v>
                </c:pt>
                <c:pt idx="362">
                  <c:v>37984</c:v>
                </c:pt>
                <c:pt idx="363">
                  <c:v>37985</c:v>
                </c:pt>
                <c:pt idx="364">
                  <c:v>37986</c:v>
                </c:pt>
                <c:pt idx="365">
                  <c:v>37987</c:v>
                </c:pt>
                <c:pt idx="366">
                  <c:v>37988</c:v>
                </c:pt>
                <c:pt idx="367">
                  <c:v>37989</c:v>
                </c:pt>
                <c:pt idx="368">
                  <c:v>37990</c:v>
                </c:pt>
                <c:pt idx="369">
                  <c:v>37991</c:v>
                </c:pt>
                <c:pt idx="370">
                  <c:v>37992</c:v>
                </c:pt>
                <c:pt idx="371">
                  <c:v>37993</c:v>
                </c:pt>
                <c:pt idx="372">
                  <c:v>37994</c:v>
                </c:pt>
                <c:pt idx="373">
                  <c:v>37995</c:v>
                </c:pt>
                <c:pt idx="374">
                  <c:v>37996</c:v>
                </c:pt>
                <c:pt idx="375">
                  <c:v>37997</c:v>
                </c:pt>
                <c:pt idx="376">
                  <c:v>37998</c:v>
                </c:pt>
                <c:pt idx="377">
                  <c:v>37999</c:v>
                </c:pt>
                <c:pt idx="378">
                  <c:v>38000</c:v>
                </c:pt>
                <c:pt idx="379">
                  <c:v>38001</c:v>
                </c:pt>
                <c:pt idx="380">
                  <c:v>38002</c:v>
                </c:pt>
                <c:pt idx="381">
                  <c:v>38003</c:v>
                </c:pt>
                <c:pt idx="382">
                  <c:v>38004</c:v>
                </c:pt>
                <c:pt idx="383">
                  <c:v>38005</c:v>
                </c:pt>
                <c:pt idx="384">
                  <c:v>38006</c:v>
                </c:pt>
                <c:pt idx="385">
                  <c:v>38007</c:v>
                </c:pt>
                <c:pt idx="386">
                  <c:v>38008</c:v>
                </c:pt>
                <c:pt idx="387">
                  <c:v>38009</c:v>
                </c:pt>
                <c:pt idx="388">
                  <c:v>38010</c:v>
                </c:pt>
                <c:pt idx="389">
                  <c:v>38011</c:v>
                </c:pt>
                <c:pt idx="390">
                  <c:v>38012</c:v>
                </c:pt>
                <c:pt idx="391">
                  <c:v>38013</c:v>
                </c:pt>
                <c:pt idx="392">
                  <c:v>38014</c:v>
                </c:pt>
                <c:pt idx="393">
                  <c:v>38015</c:v>
                </c:pt>
                <c:pt idx="394">
                  <c:v>38016</c:v>
                </c:pt>
                <c:pt idx="395">
                  <c:v>38017</c:v>
                </c:pt>
                <c:pt idx="396">
                  <c:v>38018</c:v>
                </c:pt>
                <c:pt idx="397">
                  <c:v>38019</c:v>
                </c:pt>
                <c:pt idx="398">
                  <c:v>38020</c:v>
                </c:pt>
                <c:pt idx="399">
                  <c:v>38021</c:v>
                </c:pt>
                <c:pt idx="400">
                  <c:v>38022</c:v>
                </c:pt>
                <c:pt idx="401">
                  <c:v>38023</c:v>
                </c:pt>
                <c:pt idx="402">
                  <c:v>38024</c:v>
                </c:pt>
                <c:pt idx="403">
                  <c:v>38025</c:v>
                </c:pt>
                <c:pt idx="404">
                  <c:v>38026</c:v>
                </c:pt>
                <c:pt idx="405">
                  <c:v>38027</c:v>
                </c:pt>
                <c:pt idx="406">
                  <c:v>38028</c:v>
                </c:pt>
                <c:pt idx="407">
                  <c:v>38029</c:v>
                </c:pt>
                <c:pt idx="408">
                  <c:v>38030</c:v>
                </c:pt>
                <c:pt idx="409">
                  <c:v>38031</c:v>
                </c:pt>
                <c:pt idx="410">
                  <c:v>38032</c:v>
                </c:pt>
                <c:pt idx="411">
                  <c:v>38033</c:v>
                </c:pt>
                <c:pt idx="412">
                  <c:v>38034</c:v>
                </c:pt>
                <c:pt idx="413">
                  <c:v>38035</c:v>
                </c:pt>
                <c:pt idx="414">
                  <c:v>38036</c:v>
                </c:pt>
                <c:pt idx="415">
                  <c:v>38037</c:v>
                </c:pt>
                <c:pt idx="416">
                  <c:v>38038</c:v>
                </c:pt>
                <c:pt idx="417">
                  <c:v>38039</c:v>
                </c:pt>
                <c:pt idx="418">
                  <c:v>38040</c:v>
                </c:pt>
                <c:pt idx="419">
                  <c:v>38041</c:v>
                </c:pt>
                <c:pt idx="420">
                  <c:v>38042</c:v>
                </c:pt>
                <c:pt idx="421">
                  <c:v>38043</c:v>
                </c:pt>
                <c:pt idx="422">
                  <c:v>38044</c:v>
                </c:pt>
                <c:pt idx="423">
                  <c:v>38045</c:v>
                </c:pt>
                <c:pt idx="424">
                  <c:v>38046</c:v>
                </c:pt>
                <c:pt idx="425">
                  <c:v>38047</c:v>
                </c:pt>
                <c:pt idx="426">
                  <c:v>38048</c:v>
                </c:pt>
                <c:pt idx="427">
                  <c:v>38049</c:v>
                </c:pt>
                <c:pt idx="428">
                  <c:v>38050</c:v>
                </c:pt>
                <c:pt idx="429">
                  <c:v>38051</c:v>
                </c:pt>
                <c:pt idx="430">
                  <c:v>38052</c:v>
                </c:pt>
                <c:pt idx="431">
                  <c:v>38053</c:v>
                </c:pt>
                <c:pt idx="432">
                  <c:v>38054</c:v>
                </c:pt>
                <c:pt idx="433">
                  <c:v>38055</c:v>
                </c:pt>
                <c:pt idx="434">
                  <c:v>38056</c:v>
                </c:pt>
                <c:pt idx="435">
                  <c:v>38057</c:v>
                </c:pt>
                <c:pt idx="436">
                  <c:v>38058</c:v>
                </c:pt>
                <c:pt idx="437">
                  <c:v>38059</c:v>
                </c:pt>
                <c:pt idx="438">
                  <c:v>38060</c:v>
                </c:pt>
                <c:pt idx="439">
                  <c:v>38061</c:v>
                </c:pt>
                <c:pt idx="440">
                  <c:v>38062</c:v>
                </c:pt>
                <c:pt idx="441">
                  <c:v>38063</c:v>
                </c:pt>
                <c:pt idx="442">
                  <c:v>38064</c:v>
                </c:pt>
                <c:pt idx="443">
                  <c:v>38065</c:v>
                </c:pt>
                <c:pt idx="444">
                  <c:v>38066</c:v>
                </c:pt>
                <c:pt idx="445">
                  <c:v>38067</c:v>
                </c:pt>
                <c:pt idx="446">
                  <c:v>38068</c:v>
                </c:pt>
                <c:pt idx="447">
                  <c:v>38069</c:v>
                </c:pt>
                <c:pt idx="448">
                  <c:v>38070</c:v>
                </c:pt>
                <c:pt idx="449">
                  <c:v>38071</c:v>
                </c:pt>
                <c:pt idx="450">
                  <c:v>38072</c:v>
                </c:pt>
                <c:pt idx="451">
                  <c:v>38073</c:v>
                </c:pt>
                <c:pt idx="452">
                  <c:v>38074</c:v>
                </c:pt>
                <c:pt idx="453">
                  <c:v>38075</c:v>
                </c:pt>
                <c:pt idx="454">
                  <c:v>38076</c:v>
                </c:pt>
                <c:pt idx="455">
                  <c:v>38077</c:v>
                </c:pt>
                <c:pt idx="456">
                  <c:v>38078</c:v>
                </c:pt>
                <c:pt idx="457">
                  <c:v>38079</c:v>
                </c:pt>
                <c:pt idx="458">
                  <c:v>38080</c:v>
                </c:pt>
                <c:pt idx="459">
                  <c:v>38081</c:v>
                </c:pt>
                <c:pt idx="460">
                  <c:v>38082</c:v>
                </c:pt>
                <c:pt idx="461">
                  <c:v>38083</c:v>
                </c:pt>
                <c:pt idx="462">
                  <c:v>38084</c:v>
                </c:pt>
                <c:pt idx="463">
                  <c:v>38085</c:v>
                </c:pt>
                <c:pt idx="464">
                  <c:v>38086</c:v>
                </c:pt>
                <c:pt idx="465">
                  <c:v>38087</c:v>
                </c:pt>
                <c:pt idx="466">
                  <c:v>38088</c:v>
                </c:pt>
                <c:pt idx="467">
                  <c:v>38089</c:v>
                </c:pt>
                <c:pt idx="468">
                  <c:v>38090</c:v>
                </c:pt>
                <c:pt idx="469">
                  <c:v>38091</c:v>
                </c:pt>
                <c:pt idx="470">
                  <c:v>38092</c:v>
                </c:pt>
                <c:pt idx="471">
                  <c:v>38093</c:v>
                </c:pt>
                <c:pt idx="472">
                  <c:v>38094</c:v>
                </c:pt>
                <c:pt idx="473">
                  <c:v>38095</c:v>
                </c:pt>
                <c:pt idx="474">
                  <c:v>38096</c:v>
                </c:pt>
                <c:pt idx="475">
                  <c:v>38097</c:v>
                </c:pt>
                <c:pt idx="476">
                  <c:v>38098</c:v>
                </c:pt>
                <c:pt idx="477">
                  <c:v>38099</c:v>
                </c:pt>
                <c:pt idx="478">
                  <c:v>38100</c:v>
                </c:pt>
                <c:pt idx="479">
                  <c:v>38101</c:v>
                </c:pt>
                <c:pt idx="480">
                  <c:v>38102</c:v>
                </c:pt>
                <c:pt idx="481">
                  <c:v>38103</c:v>
                </c:pt>
                <c:pt idx="482">
                  <c:v>38104</c:v>
                </c:pt>
                <c:pt idx="483">
                  <c:v>38105</c:v>
                </c:pt>
                <c:pt idx="484">
                  <c:v>38106</c:v>
                </c:pt>
                <c:pt idx="485">
                  <c:v>38107</c:v>
                </c:pt>
                <c:pt idx="486">
                  <c:v>38108</c:v>
                </c:pt>
                <c:pt idx="487">
                  <c:v>38109</c:v>
                </c:pt>
                <c:pt idx="488">
                  <c:v>38110</c:v>
                </c:pt>
                <c:pt idx="489">
                  <c:v>38111</c:v>
                </c:pt>
                <c:pt idx="490">
                  <c:v>38112</c:v>
                </c:pt>
                <c:pt idx="491">
                  <c:v>38113</c:v>
                </c:pt>
                <c:pt idx="492">
                  <c:v>38114</c:v>
                </c:pt>
                <c:pt idx="493">
                  <c:v>38115</c:v>
                </c:pt>
                <c:pt idx="494">
                  <c:v>38116</c:v>
                </c:pt>
                <c:pt idx="495">
                  <c:v>38117</c:v>
                </c:pt>
                <c:pt idx="496">
                  <c:v>38118</c:v>
                </c:pt>
                <c:pt idx="497">
                  <c:v>38119</c:v>
                </c:pt>
                <c:pt idx="498">
                  <c:v>38120</c:v>
                </c:pt>
                <c:pt idx="499">
                  <c:v>38121</c:v>
                </c:pt>
                <c:pt idx="500">
                  <c:v>38122</c:v>
                </c:pt>
                <c:pt idx="501">
                  <c:v>38123</c:v>
                </c:pt>
                <c:pt idx="502">
                  <c:v>38124</c:v>
                </c:pt>
                <c:pt idx="503">
                  <c:v>38125</c:v>
                </c:pt>
                <c:pt idx="504">
                  <c:v>38126</c:v>
                </c:pt>
                <c:pt idx="505">
                  <c:v>38127</c:v>
                </c:pt>
                <c:pt idx="506">
                  <c:v>38128</c:v>
                </c:pt>
                <c:pt idx="507">
                  <c:v>38129</c:v>
                </c:pt>
                <c:pt idx="508">
                  <c:v>38130</c:v>
                </c:pt>
                <c:pt idx="509">
                  <c:v>38131</c:v>
                </c:pt>
                <c:pt idx="510">
                  <c:v>38132</c:v>
                </c:pt>
                <c:pt idx="511">
                  <c:v>38133</c:v>
                </c:pt>
                <c:pt idx="512">
                  <c:v>38134</c:v>
                </c:pt>
                <c:pt idx="513">
                  <c:v>38135</c:v>
                </c:pt>
                <c:pt idx="514">
                  <c:v>38136</c:v>
                </c:pt>
                <c:pt idx="515">
                  <c:v>38137</c:v>
                </c:pt>
                <c:pt idx="516">
                  <c:v>38138</c:v>
                </c:pt>
                <c:pt idx="517">
                  <c:v>38139</c:v>
                </c:pt>
                <c:pt idx="518">
                  <c:v>38140</c:v>
                </c:pt>
                <c:pt idx="519">
                  <c:v>38141</c:v>
                </c:pt>
                <c:pt idx="520">
                  <c:v>38142</c:v>
                </c:pt>
                <c:pt idx="521">
                  <c:v>38143</c:v>
                </c:pt>
                <c:pt idx="522">
                  <c:v>38144</c:v>
                </c:pt>
                <c:pt idx="523">
                  <c:v>38145</c:v>
                </c:pt>
                <c:pt idx="524">
                  <c:v>38146</c:v>
                </c:pt>
                <c:pt idx="525">
                  <c:v>38147</c:v>
                </c:pt>
                <c:pt idx="526">
                  <c:v>38148</c:v>
                </c:pt>
                <c:pt idx="527">
                  <c:v>38149</c:v>
                </c:pt>
                <c:pt idx="528">
                  <c:v>38150</c:v>
                </c:pt>
                <c:pt idx="529">
                  <c:v>38151</c:v>
                </c:pt>
                <c:pt idx="530">
                  <c:v>38152</c:v>
                </c:pt>
                <c:pt idx="531">
                  <c:v>38153</c:v>
                </c:pt>
                <c:pt idx="532">
                  <c:v>38154</c:v>
                </c:pt>
                <c:pt idx="533">
                  <c:v>38155</c:v>
                </c:pt>
                <c:pt idx="534">
                  <c:v>38156</c:v>
                </c:pt>
                <c:pt idx="535">
                  <c:v>38157</c:v>
                </c:pt>
                <c:pt idx="536">
                  <c:v>38158</c:v>
                </c:pt>
                <c:pt idx="537">
                  <c:v>38159</c:v>
                </c:pt>
                <c:pt idx="538">
                  <c:v>38160</c:v>
                </c:pt>
                <c:pt idx="539">
                  <c:v>38161</c:v>
                </c:pt>
                <c:pt idx="540">
                  <c:v>38162</c:v>
                </c:pt>
                <c:pt idx="541">
                  <c:v>38163</c:v>
                </c:pt>
                <c:pt idx="542">
                  <c:v>38164</c:v>
                </c:pt>
                <c:pt idx="543">
                  <c:v>38165</c:v>
                </c:pt>
                <c:pt idx="544">
                  <c:v>38166</c:v>
                </c:pt>
                <c:pt idx="545">
                  <c:v>38167</c:v>
                </c:pt>
                <c:pt idx="546">
                  <c:v>38168</c:v>
                </c:pt>
                <c:pt idx="547">
                  <c:v>38169</c:v>
                </c:pt>
                <c:pt idx="548">
                  <c:v>38170</c:v>
                </c:pt>
                <c:pt idx="549">
                  <c:v>38171</c:v>
                </c:pt>
                <c:pt idx="550">
                  <c:v>38172</c:v>
                </c:pt>
                <c:pt idx="551">
                  <c:v>38173</c:v>
                </c:pt>
                <c:pt idx="552">
                  <c:v>38174</c:v>
                </c:pt>
                <c:pt idx="553">
                  <c:v>38175</c:v>
                </c:pt>
                <c:pt idx="554">
                  <c:v>38176</c:v>
                </c:pt>
                <c:pt idx="555">
                  <c:v>38177</c:v>
                </c:pt>
                <c:pt idx="556">
                  <c:v>38178</c:v>
                </c:pt>
                <c:pt idx="557">
                  <c:v>38179</c:v>
                </c:pt>
                <c:pt idx="558">
                  <c:v>38180</c:v>
                </c:pt>
                <c:pt idx="559">
                  <c:v>38181</c:v>
                </c:pt>
                <c:pt idx="560">
                  <c:v>38182</c:v>
                </c:pt>
                <c:pt idx="561">
                  <c:v>38183</c:v>
                </c:pt>
                <c:pt idx="562">
                  <c:v>38184</c:v>
                </c:pt>
                <c:pt idx="563">
                  <c:v>38185</c:v>
                </c:pt>
                <c:pt idx="564">
                  <c:v>38186</c:v>
                </c:pt>
                <c:pt idx="565">
                  <c:v>38187</c:v>
                </c:pt>
                <c:pt idx="566">
                  <c:v>38188</c:v>
                </c:pt>
                <c:pt idx="567">
                  <c:v>38189</c:v>
                </c:pt>
                <c:pt idx="568">
                  <c:v>38190</c:v>
                </c:pt>
                <c:pt idx="569">
                  <c:v>38191</c:v>
                </c:pt>
                <c:pt idx="570">
                  <c:v>38192</c:v>
                </c:pt>
                <c:pt idx="571">
                  <c:v>38193</c:v>
                </c:pt>
                <c:pt idx="572">
                  <c:v>38194</c:v>
                </c:pt>
                <c:pt idx="573">
                  <c:v>38195</c:v>
                </c:pt>
                <c:pt idx="574">
                  <c:v>38196</c:v>
                </c:pt>
                <c:pt idx="575">
                  <c:v>38197</c:v>
                </c:pt>
                <c:pt idx="576">
                  <c:v>38198</c:v>
                </c:pt>
                <c:pt idx="577">
                  <c:v>38199</c:v>
                </c:pt>
                <c:pt idx="578">
                  <c:v>38200</c:v>
                </c:pt>
                <c:pt idx="579">
                  <c:v>38201</c:v>
                </c:pt>
                <c:pt idx="580">
                  <c:v>38202</c:v>
                </c:pt>
                <c:pt idx="581">
                  <c:v>38203</c:v>
                </c:pt>
                <c:pt idx="582">
                  <c:v>38204</c:v>
                </c:pt>
                <c:pt idx="583">
                  <c:v>38205</c:v>
                </c:pt>
                <c:pt idx="584">
                  <c:v>38206</c:v>
                </c:pt>
                <c:pt idx="585">
                  <c:v>38207</c:v>
                </c:pt>
                <c:pt idx="586">
                  <c:v>38208</c:v>
                </c:pt>
                <c:pt idx="587">
                  <c:v>38209</c:v>
                </c:pt>
                <c:pt idx="588">
                  <c:v>38210</c:v>
                </c:pt>
                <c:pt idx="589">
                  <c:v>38211</c:v>
                </c:pt>
                <c:pt idx="590">
                  <c:v>38212</c:v>
                </c:pt>
                <c:pt idx="591">
                  <c:v>38213</c:v>
                </c:pt>
                <c:pt idx="592">
                  <c:v>38214</c:v>
                </c:pt>
                <c:pt idx="593">
                  <c:v>38215</c:v>
                </c:pt>
                <c:pt idx="594">
                  <c:v>38216</c:v>
                </c:pt>
                <c:pt idx="595">
                  <c:v>38217</c:v>
                </c:pt>
                <c:pt idx="596">
                  <c:v>38218</c:v>
                </c:pt>
                <c:pt idx="597">
                  <c:v>38219</c:v>
                </c:pt>
                <c:pt idx="598">
                  <c:v>38220</c:v>
                </c:pt>
                <c:pt idx="599">
                  <c:v>38221</c:v>
                </c:pt>
                <c:pt idx="600">
                  <c:v>38222</c:v>
                </c:pt>
                <c:pt idx="601">
                  <c:v>38223</c:v>
                </c:pt>
                <c:pt idx="602">
                  <c:v>38224</c:v>
                </c:pt>
                <c:pt idx="603">
                  <c:v>38225</c:v>
                </c:pt>
                <c:pt idx="604">
                  <c:v>38226</c:v>
                </c:pt>
                <c:pt idx="605">
                  <c:v>38227</c:v>
                </c:pt>
                <c:pt idx="606">
                  <c:v>38228</c:v>
                </c:pt>
                <c:pt idx="607">
                  <c:v>38229</c:v>
                </c:pt>
                <c:pt idx="608">
                  <c:v>38230</c:v>
                </c:pt>
                <c:pt idx="609">
                  <c:v>38231</c:v>
                </c:pt>
                <c:pt idx="610">
                  <c:v>38232</c:v>
                </c:pt>
                <c:pt idx="611">
                  <c:v>38233</c:v>
                </c:pt>
                <c:pt idx="612">
                  <c:v>38234</c:v>
                </c:pt>
                <c:pt idx="613">
                  <c:v>38235</c:v>
                </c:pt>
                <c:pt idx="614">
                  <c:v>38236</c:v>
                </c:pt>
                <c:pt idx="615">
                  <c:v>38237</c:v>
                </c:pt>
                <c:pt idx="616">
                  <c:v>38238</c:v>
                </c:pt>
                <c:pt idx="617">
                  <c:v>38239</c:v>
                </c:pt>
                <c:pt idx="618">
                  <c:v>38240</c:v>
                </c:pt>
                <c:pt idx="619">
                  <c:v>38241</c:v>
                </c:pt>
                <c:pt idx="620">
                  <c:v>38242</c:v>
                </c:pt>
                <c:pt idx="621">
                  <c:v>38243</c:v>
                </c:pt>
                <c:pt idx="622">
                  <c:v>38244</c:v>
                </c:pt>
                <c:pt idx="623">
                  <c:v>38245</c:v>
                </c:pt>
                <c:pt idx="624">
                  <c:v>38246</c:v>
                </c:pt>
                <c:pt idx="625">
                  <c:v>38247</c:v>
                </c:pt>
                <c:pt idx="626">
                  <c:v>38248</c:v>
                </c:pt>
                <c:pt idx="627">
                  <c:v>38249</c:v>
                </c:pt>
                <c:pt idx="628">
                  <c:v>38250</c:v>
                </c:pt>
                <c:pt idx="629">
                  <c:v>38251</c:v>
                </c:pt>
                <c:pt idx="630">
                  <c:v>38252</c:v>
                </c:pt>
                <c:pt idx="631">
                  <c:v>38253</c:v>
                </c:pt>
                <c:pt idx="632">
                  <c:v>38254</c:v>
                </c:pt>
                <c:pt idx="633">
                  <c:v>38255</c:v>
                </c:pt>
                <c:pt idx="634">
                  <c:v>38256</c:v>
                </c:pt>
                <c:pt idx="635">
                  <c:v>38257</c:v>
                </c:pt>
                <c:pt idx="636">
                  <c:v>38258</c:v>
                </c:pt>
                <c:pt idx="637">
                  <c:v>38259</c:v>
                </c:pt>
                <c:pt idx="638">
                  <c:v>38260</c:v>
                </c:pt>
                <c:pt idx="639">
                  <c:v>38261</c:v>
                </c:pt>
                <c:pt idx="640">
                  <c:v>38262</c:v>
                </c:pt>
                <c:pt idx="641">
                  <c:v>38263</c:v>
                </c:pt>
                <c:pt idx="642">
                  <c:v>38264</c:v>
                </c:pt>
                <c:pt idx="643">
                  <c:v>38265</c:v>
                </c:pt>
                <c:pt idx="644">
                  <c:v>38266</c:v>
                </c:pt>
                <c:pt idx="645">
                  <c:v>38267</c:v>
                </c:pt>
                <c:pt idx="646">
                  <c:v>38268</c:v>
                </c:pt>
                <c:pt idx="647">
                  <c:v>38269</c:v>
                </c:pt>
                <c:pt idx="648">
                  <c:v>38270</c:v>
                </c:pt>
                <c:pt idx="649">
                  <c:v>38271</c:v>
                </c:pt>
                <c:pt idx="650">
                  <c:v>38272</c:v>
                </c:pt>
                <c:pt idx="651">
                  <c:v>38273</c:v>
                </c:pt>
                <c:pt idx="652">
                  <c:v>38274</c:v>
                </c:pt>
                <c:pt idx="653">
                  <c:v>38275</c:v>
                </c:pt>
                <c:pt idx="654">
                  <c:v>38276</c:v>
                </c:pt>
                <c:pt idx="655">
                  <c:v>38277</c:v>
                </c:pt>
                <c:pt idx="656">
                  <c:v>38278</c:v>
                </c:pt>
                <c:pt idx="657">
                  <c:v>38279</c:v>
                </c:pt>
                <c:pt idx="658">
                  <c:v>38280</c:v>
                </c:pt>
                <c:pt idx="659">
                  <c:v>38281</c:v>
                </c:pt>
                <c:pt idx="660">
                  <c:v>38282</c:v>
                </c:pt>
                <c:pt idx="661">
                  <c:v>38283</c:v>
                </c:pt>
                <c:pt idx="662">
                  <c:v>38284</c:v>
                </c:pt>
                <c:pt idx="663">
                  <c:v>38285</c:v>
                </c:pt>
                <c:pt idx="664">
                  <c:v>38286</c:v>
                </c:pt>
                <c:pt idx="665">
                  <c:v>38287</c:v>
                </c:pt>
                <c:pt idx="666">
                  <c:v>38288</c:v>
                </c:pt>
                <c:pt idx="667">
                  <c:v>38289</c:v>
                </c:pt>
                <c:pt idx="668">
                  <c:v>38290</c:v>
                </c:pt>
                <c:pt idx="669">
                  <c:v>38291</c:v>
                </c:pt>
                <c:pt idx="670">
                  <c:v>38292</c:v>
                </c:pt>
                <c:pt idx="671">
                  <c:v>38293</c:v>
                </c:pt>
                <c:pt idx="672">
                  <c:v>38294</c:v>
                </c:pt>
                <c:pt idx="673">
                  <c:v>38295</c:v>
                </c:pt>
                <c:pt idx="674">
                  <c:v>38296</c:v>
                </c:pt>
                <c:pt idx="675">
                  <c:v>38297</c:v>
                </c:pt>
                <c:pt idx="676">
                  <c:v>38298</c:v>
                </c:pt>
                <c:pt idx="677">
                  <c:v>38299</c:v>
                </c:pt>
                <c:pt idx="678">
                  <c:v>38300</c:v>
                </c:pt>
                <c:pt idx="679">
                  <c:v>38301</c:v>
                </c:pt>
                <c:pt idx="680">
                  <c:v>38302</c:v>
                </c:pt>
                <c:pt idx="681">
                  <c:v>38303</c:v>
                </c:pt>
                <c:pt idx="682">
                  <c:v>38304</c:v>
                </c:pt>
                <c:pt idx="683">
                  <c:v>38305</c:v>
                </c:pt>
                <c:pt idx="684">
                  <c:v>38306</c:v>
                </c:pt>
                <c:pt idx="685">
                  <c:v>38307</c:v>
                </c:pt>
                <c:pt idx="686">
                  <c:v>38308</c:v>
                </c:pt>
                <c:pt idx="687">
                  <c:v>38309</c:v>
                </c:pt>
                <c:pt idx="688">
                  <c:v>38310</c:v>
                </c:pt>
                <c:pt idx="689">
                  <c:v>38311</c:v>
                </c:pt>
                <c:pt idx="690">
                  <c:v>38312</c:v>
                </c:pt>
                <c:pt idx="691">
                  <c:v>38313</c:v>
                </c:pt>
                <c:pt idx="692">
                  <c:v>38314</c:v>
                </c:pt>
                <c:pt idx="693">
                  <c:v>38315</c:v>
                </c:pt>
                <c:pt idx="694">
                  <c:v>38316</c:v>
                </c:pt>
                <c:pt idx="695">
                  <c:v>38317</c:v>
                </c:pt>
                <c:pt idx="696">
                  <c:v>38318</c:v>
                </c:pt>
                <c:pt idx="697">
                  <c:v>38319</c:v>
                </c:pt>
                <c:pt idx="698">
                  <c:v>38320</c:v>
                </c:pt>
                <c:pt idx="699">
                  <c:v>38321</c:v>
                </c:pt>
                <c:pt idx="700">
                  <c:v>38322</c:v>
                </c:pt>
                <c:pt idx="701">
                  <c:v>38323</c:v>
                </c:pt>
                <c:pt idx="702">
                  <c:v>38324</c:v>
                </c:pt>
                <c:pt idx="703">
                  <c:v>38325</c:v>
                </c:pt>
                <c:pt idx="704">
                  <c:v>38326</c:v>
                </c:pt>
                <c:pt idx="705">
                  <c:v>38327</c:v>
                </c:pt>
                <c:pt idx="706">
                  <c:v>38328</c:v>
                </c:pt>
                <c:pt idx="707">
                  <c:v>38329</c:v>
                </c:pt>
                <c:pt idx="708">
                  <c:v>38330</c:v>
                </c:pt>
                <c:pt idx="709">
                  <c:v>38331</c:v>
                </c:pt>
                <c:pt idx="710">
                  <c:v>38332</c:v>
                </c:pt>
                <c:pt idx="711">
                  <c:v>38333</c:v>
                </c:pt>
                <c:pt idx="712">
                  <c:v>38334</c:v>
                </c:pt>
                <c:pt idx="713">
                  <c:v>38335</c:v>
                </c:pt>
                <c:pt idx="714">
                  <c:v>38336</c:v>
                </c:pt>
                <c:pt idx="715">
                  <c:v>38337</c:v>
                </c:pt>
                <c:pt idx="716">
                  <c:v>38338</c:v>
                </c:pt>
                <c:pt idx="717">
                  <c:v>38339</c:v>
                </c:pt>
                <c:pt idx="718">
                  <c:v>38340</c:v>
                </c:pt>
                <c:pt idx="719">
                  <c:v>38341</c:v>
                </c:pt>
                <c:pt idx="720">
                  <c:v>38342</c:v>
                </c:pt>
                <c:pt idx="721">
                  <c:v>38343</c:v>
                </c:pt>
                <c:pt idx="722">
                  <c:v>38344</c:v>
                </c:pt>
                <c:pt idx="723">
                  <c:v>38345</c:v>
                </c:pt>
                <c:pt idx="724">
                  <c:v>38346</c:v>
                </c:pt>
                <c:pt idx="725">
                  <c:v>38347</c:v>
                </c:pt>
                <c:pt idx="726">
                  <c:v>38348</c:v>
                </c:pt>
                <c:pt idx="727">
                  <c:v>38349</c:v>
                </c:pt>
                <c:pt idx="728">
                  <c:v>38350</c:v>
                </c:pt>
                <c:pt idx="729">
                  <c:v>38351</c:v>
                </c:pt>
                <c:pt idx="730">
                  <c:v>38352</c:v>
                </c:pt>
                <c:pt idx="731">
                  <c:v>38353</c:v>
                </c:pt>
                <c:pt idx="732">
                  <c:v>38354</c:v>
                </c:pt>
                <c:pt idx="733">
                  <c:v>38355</c:v>
                </c:pt>
                <c:pt idx="734">
                  <c:v>38356</c:v>
                </c:pt>
                <c:pt idx="735">
                  <c:v>38357</c:v>
                </c:pt>
                <c:pt idx="736">
                  <c:v>38358</c:v>
                </c:pt>
                <c:pt idx="737">
                  <c:v>38359</c:v>
                </c:pt>
                <c:pt idx="738">
                  <c:v>38360</c:v>
                </c:pt>
                <c:pt idx="739">
                  <c:v>38361</c:v>
                </c:pt>
                <c:pt idx="740">
                  <c:v>38362</c:v>
                </c:pt>
                <c:pt idx="741">
                  <c:v>38363</c:v>
                </c:pt>
                <c:pt idx="742">
                  <c:v>38364</c:v>
                </c:pt>
                <c:pt idx="743">
                  <c:v>38365</c:v>
                </c:pt>
                <c:pt idx="744">
                  <c:v>38366</c:v>
                </c:pt>
                <c:pt idx="745">
                  <c:v>38367</c:v>
                </c:pt>
                <c:pt idx="746">
                  <c:v>38368</c:v>
                </c:pt>
                <c:pt idx="747">
                  <c:v>38369</c:v>
                </c:pt>
                <c:pt idx="748">
                  <c:v>38370</c:v>
                </c:pt>
                <c:pt idx="749">
                  <c:v>38371</c:v>
                </c:pt>
                <c:pt idx="750">
                  <c:v>38372</c:v>
                </c:pt>
                <c:pt idx="751">
                  <c:v>38373</c:v>
                </c:pt>
                <c:pt idx="752">
                  <c:v>38374</c:v>
                </c:pt>
                <c:pt idx="753">
                  <c:v>38375</c:v>
                </c:pt>
                <c:pt idx="754">
                  <c:v>38376</c:v>
                </c:pt>
                <c:pt idx="755">
                  <c:v>38377</c:v>
                </c:pt>
                <c:pt idx="756">
                  <c:v>38378</c:v>
                </c:pt>
                <c:pt idx="757">
                  <c:v>38379</c:v>
                </c:pt>
                <c:pt idx="758">
                  <c:v>38380</c:v>
                </c:pt>
                <c:pt idx="759">
                  <c:v>38381</c:v>
                </c:pt>
                <c:pt idx="760">
                  <c:v>38382</c:v>
                </c:pt>
                <c:pt idx="761">
                  <c:v>38383</c:v>
                </c:pt>
                <c:pt idx="762">
                  <c:v>38384</c:v>
                </c:pt>
                <c:pt idx="763">
                  <c:v>38385</c:v>
                </c:pt>
                <c:pt idx="764">
                  <c:v>38386</c:v>
                </c:pt>
                <c:pt idx="765">
                  <c:v>38387</c:v>
                </c:pt>
                <c:pt idx="766">
                  <c:v>38388</c:v>
                </c:pt>
                <c:pt idx="767">
                  <c:v>38389</c:v>
                </c:pt>
                <c:pt idx="768">
                  <c:v>38390</c:v>
                </c:pt>
                <c:pt idx="769">
                  <c:v>38391</c:v>
                </c:pt>
                <c:pt idx="770">
                  <c:v>38392</c:v>
                </c:pt>
                <c:pt idx="771">
                  <c:v>38393</c:v>
                </c:pt>
                <c:pt idx="772">
                  <c:v>38394</c:v>
                </c:pt>
                <c:pt idx="773">
                  <c:v>38395</c:v>
                </c:pt>
                <c:pt idx="774">
                  <c:v>38396</c:v>
                </c:pt>
                <c:pt idx="775">
                  <c:v>38397</c:v>
                </c:pt>
                <c:pt idx="776">
                  <c:v>38398</c:v>
                </c:pt>
                <c:pt idx="777">
                  <c:v>38399</c:v>
                </c:pt>
                <c:pt idx="778">
                  <c:v>38400</c:v>
                </c:pt>
                <c:pt idx="779">
                  <c:v>38401</c:v>
                </c:pt>
                <c:pt idx="780">
                  <c:v>38402</c:v>
                </c:pt>
                <c:pt idx="781">
                  <c:v>38403</c:v>
                </c:pt>
                <c:pt idx="782">
                  <c:v>38404</c:v>
                </c:pt>
                <c:pt idx="783">
                  <c:v>38405</c:v>
                </c:pt>
                <c:pt idx="784">
                  <c:v>38406</c:v>
                </c:pt>
                <c:pt idx="785">
                  <c:v>38407</c:v>
                </c:pt>
                <c:pt idx="786">
                  <c:v>38408</c:v>
                </c:pt>
                <c:pt idx="787">
                  <c:v>38409</c:v>
                </c:pt>
                <c:pt idx="788">
                  <c:v>38410</c:v>
                </c:pt>
                <c:pt idx="789">
                  <c:v>38411</c:v>
                </c:pt>
                <c:pt idx="790">
                  <c:v>38412</c:v>
                </c:pt>
                <c:pt idx="791">
                  <c:v>38413</c:v>
                </c:pt>
                <c:pt idx="792">
                  <c:v>38414</c:v>
                </c:pt>
                <c:pt idx="793">
                  <c:v>38415</c:v>
                </c:pt>
                <c:pt idx="794">
                  <c:v>38416</c:v>
                </c:pt>
                <c:pt idx="795">
                  <c:v>38417</c:v>
                </c:pt>
                <c:pt idx="796">
                  <c:v>38418</c:v>
                </c:pt>
                <c:pt idx="797">
                  <c:v>38419</c:v>
                </c:pt>
                <c:pt idx="798">
                  <c:v>38420</c:v>
                </c:pt>
                <c:pt idx="799">
                  <c:v>38421</c:v>
                </c:pt>
                <c:pt idx="800">
                  <c:v>38422</c:v>
                </c:pt>
                <c:pt idx="801">
                  <c:v>38423</c:v>
                </c:pt>
                <c:pt idx="802">
                  <c:v>38424</c:v>
                </c:pt>
                <c:pt idx="803">
                  <c:v>38425</c:v>
                </c:pt>
                <c:pt idx="804">
                  <c:v>38426</c:v>
                </c:pt>
                <c:pt idx="805">
                  <c:v>38427</c:v>
                </c:pt>
                <c:pt idx="806">
                  <c:v>38428</c:v>
                </c:pt>
                <c:pt idx="807">
                  <c:v>38429</c:v>
                </c:pt>
                <c:pt idx="808">
                  <c:v>38430</c:v>
                </c:pt>
                <c:pt idx="809">
                  <c:v>38431</c:v>
                </c:pt>
                <c:pt idx="810">
                  <c:v>38432</c:v>
                </c:pt>
                <c:pt idx="811">
                  <c:v>38433</c:v>
                </c:pt>
                <c:pt idx="812">
                  <c:v>38434</c:v>
                </c:pt>
                <c:pt idx="813">
                  <c:v>38435</c:v>
                </c:pt>
                <c:pt idx="814">
                  <c:v>38436</c:v>
                </c:pt>
                <c:pt idx="815">
                  <c:v>38437</c:v>
                </c:pt>
                <c:pt idx="816">
                  <c:v>38438</c:v>
                </c:pt>
                <c:pt idx="817">
                  <c:v>38439</c:v>
                </c:pt>
                <c:pt idx="818">
                  <c:v>38440</c:v>
                </c:pt>
                <c:pt idx="819">
                  <c:v>38441</c:v>
                </c:pt>
                <c:pt idx="820">
                  <c:v>38442</c:v>
                </c:pt>
                <c:pt idx="821">
                  <c:v>38443</c:v>
                </c:pt>
                <c:pt idx="822">
                  <c:v>38444</c:v>
                </c:pt>
                <c:pt idx="823">
                  <c:v>38445</c:v>
                </c:pt>
                <c:pt idx="824">
                  <c:v>38446</c:v>
                </c:pt>
                <c:pt idx="825">
                  <c:v>38447</c:v>
                </c:pt>
                <c:pt idx="826">
                  <c:v>38448</c:v>
                </c:pt>
                <c:pt idx="827">
                  <c:v>38449</c:v>
                </c:pt>
                <c:pt idx="828">
                  <c:v>38450</c:v>
                </c:pt>
                <c:pt idx="829">
                  <c:v>38451</c:v>
                </c:pt>
                <c:pt idx="830">
                  <c:v>38452</c:v>
                </c:pt>
                <c:pt idx="831">
                  <c:v>38453</c:v>
                </c:pt>
                <c:pt idx="832">
                  <c:v>38454</c:v>
                </c:pt>
                <c:pt idx="833">
                  <c:v>38455</c:v>
                </c:pt>
                <c:pt idx="834">
                  <c:v>38456</c:v>
                </c:pt>
                <c:pt idx="835">
                  <c:v>38457</c:v>
                </c:pt>
                <c:pt idx="836">
                  <c:v>38458</c:v>
                </c:pt>
                <c:pt idx="837">
                  <c:v>38459</c:v>
                </c:pt>
                <c:pt idx="838">
                  <c:v>38460</c:v>
                </c:pt>
                <c:pt idx="839">
                  <c:v>38461</c:v>
                </c:pt>
                <c:pt idx="840">
                  <c:v>38462</c:v>
                </c:pt>
                <c:pt idx="841">
                  <c:v>38463</c:v>
                </c:pt>
                <c:pt idx="842">
                  <c:v>38464</c:v>
                </c:pt>
                <c:pt idx="843">
                  <c:v>38465</c:v>
                </c:pt>
                <c:pt idx="844">
                  <c:v>38466</c:v>
                </c:pt>
                <c:pt idx="845">
                  <c:v>38467</c:v>
                </c:pt>
                <c:pt idx="846">
                  <c:v>38468</c:v>
                </c:pt>
                <c:pt idx="847">
                  <c:v>38469</c:v>
                </c:pt>
                <c:pt idx="848">
                  <c:v>38470</c:v>
                </c:pt>
                <c:pt idx="849">
                  <c:v>38471</c:v>
                </c:pt>
                <c:pt idx="850">
                  <c:v>38472</c:v>
                </c:pt>
                <c:pt idx="851">
                  <c:v>38473</c:v>
                </c:pt>
                <c:pt idx="852">
                  <c:v>38474</c:v>
                </c:pt>
                <c:pt idx="853">
                  <c:v>38475</c:v>
                </c:pt>
                <c:pt idx="854">
                  <c:v>38476</c:v>
                </c:pt>
                <c:pt idx="855">
                  <c:v>38477</c:v>
                </c:pt>
                <c:pt idx="856">
                  <c:v>38478</c:v>
                </c:pt>
                <c:pt idx="857">
                  <c:v>38479</c:v>
                </c:pt>
                <c:pt idx="858">
                  <c:v>38480</c:v>
                </c:pt>
                <c:pt idx="859">
                  <c:v>38481</c:v>
                </c:pt>
                <c:pt idx="860">
                  <c:v>38482</c:v>
                </c:pt>
                <c:pt idx="861">
                  <c:v>38483</c:v>
                </c:pt>
                <c:pt idx="862">
                  <c:v>38484</c:v>
                </c:pt>
                <c:pt idx="863">
                  <c:v>38485</c:v>
                </c:pt>
                <c:pt idx="864">
                  <c:v>38486</c:v>
                </c:pt>
                <c:pt idx="865">
                  <c:v>38487</c:v>
                </c:pt>
                <c:pt idx="866">
                  <c:v>38488</c:v>
                </c:pt>
                <c:pt idx="867">
                  <c:v>38489</c:v>
                </c:pt>
                <c:pt idx="868">
                  <c:v>38490</c:v>
                </c:pt>
                <c:pt idx="869">
                  <c:v>38491</c:v>
                </c:pt>
                <c:pt idx="870">
                  <c:v>38492</c:v>
                </c:pt>
                <c:pt idx="871">
                  <c:v>38493</c:v>
                </c:pt>
                <c:pt idx="872">
                  <c:v>38494</c:v>
                </c:pt>
                <c:pt idx="873">
                  <c:v>38495</c:v>
                </c:pt>
                <c:pt idx="874">
                  <c:v>38496</c:v>
                </c:pt>
                <c:pt idx="875">
                  <c:v>38497</c:v>
                </c:pt>
                <c:pt idx="876">
                  <c:v>38498</c:v>
                </c:pt>
                <c:pt idx="877">
                  <c:v>38499</c:v>
                </c:pt>
                <c:pt idx="878">
                  <c:v>38500</c:v>
                </c:pt>
                <c:pt idx="879">
                  <c:v>38501</c:v>
                </c:pt>
                <c:pt idx="880">
                  <c:v>38502</c:v>
                </c:pt>
                <c:pt idx="881">
                  <c:v>38503</c:v>
                </c:pt>
                <c:pt idx="882">
                  <c:v>38504</c:v>
                </c:pt>
                <c:pt idx="883">
                  <c:v>38505</c:v>
                </c:pt>
                <c:pt idx="884">
                  <c:v>38506</c:v>
                </c:pt>
                <c:pt idx="885">
                  <c:v>38507</c:v>
                </c:pt>
                <c:pt idx="886">
                  <c:v>38508</c:v>
                </c:pt>
                <c:pt idx="887">
                  <c:v>38509</c:v>
                </c:pt>
                <c:pt idx="888">
                  <c:v>38510</c:v>
                </c:pt>
                <c:pt idx="889">
                  <c:v>38511</c:v>
                </c:pt>
                <c:pt idx="890">
                  <c:v>38512</c:v>
                </c:pt>
                <c:pt idx="891">
                  <c:v>38513</c:v>
                </c:pt>
                <c:pt idx="892">
                  <c:v>38514</c:v>
                </c:pt>
                <c:pt idx="893">
                  <c:v>38515</c:v>
                </c:pt>
                <c:pt idx="894">
                  <c:v>38516</c:v>
                </c:pt>
                <c:pt idx="895">
                  <c:v>38517</c:v>
                </c:pt>
                <c:pt idx="896">
                  <c:v>38518</c:v>
                </c:pt>
                <c:pt idx="897">
                  <c:v>38519</c:v>
                </c:pt>
                <c:pt idx="898">
                  <c:v>38520</c:v>
                </c:pt>
                <c:pt idx="899">
                  <c:v>38521</c:v>
                </c:pt>
                <c:pt idx="900">
                  <c:v>38522</c:v>
                </c:pt>
                <c:pt idx="901">
                  <c:v>38523</c:v>
                </c:pt>
                <c:pt idx="902">
                  <c:v>38524</c:v>
                </c:pt>
                <c:pt idx="903">
                  <c:v>38525</c:v>
                </c:pt>
                <c:pt idx="904">
                  <c:v>38526</c:v>
                </c:pt>
                <c:pt idx="905">
                  <c:v>38527</c:v>
                </c:pt>
                <c:pt idx="906">
                  <c:v>38528</c:v>
                </c:pt>
                <c:pt idx="907">
                  <c:v>38529</c:v>
                </c:pt>
                <c:pt idx="908">
                  <c:v>38530</c:v>
                </c:pt>
                <c:pt idx="909">
                  <c:v>38531</c:v>
                </c:pt>
                <c:pt idx="910">
                  <c:v>38532</c:v>
                </c:pt>
                <c:pt idx="911">
                  <c:v>38533</c:v>
                </c:pt>
                <c:pt idx="912">
                  <c:v>38534</c:v>
                </c:pt>
                <c:pt idx="913">
                  <c:v>38535</c:v>
                </c:pt>
                <c:pt idx="914">
                  <c:v>38536</c:v>
                </c:pt>
                <c:pt idx="915">
                  <c:v>38537</c:v>
                </c:pt>
                <c:pt idx="916">
                  <c:v>38538</c:v>
                </c:pt>
                <c:pt idx="917">
                  <c:v>38539</c:v>
                </c:pt>
                <c:pt idx="918">
                  <c:v>38540</c:v>
                </c:pt>
                <c:pt idx="919">
                  <c:v>38541</c:v>
                </c:pt>
                <c:pt idx="920">
                  <c:v>38542</c:v>
                </c:pt>
                <c:pt idx="921">
                  <c:v>38543</c:v>
                </c:pt>
                <c:pt idx="922">
                  <c:v>38544</c:v>
                </c:pt>
                <c:pt idx="923">
                  <c:v>38545</c:v>
                </c:pt>
                <c:pt idx="924">
                  <c:v>38546</c:v>
                </c:pt>
                <c:pt idx="925">
                  <c:v>38547</c:v>
                </c:pt>
                <c:pt idx="926">
                  <c:v>38548</c:v>
                </c:pt>
                <c:pt idx="927">
                  <c:v>38549</c:v>
                </c:pt>
                <c:pt idx="928">
                  <c:v>38550</c:v>
                </c:pt>
                <c:pt idx="929">
                  <c:v>38551</c:v>
                </c:pt>
                <c:pt idx="930">
                  <c:v>38552</c:v>
                </c:pt>
                <c:pt idx="931">
                  <c:v>38553</c:v>
                </c:pt>
                <c:pt idx="932">
                  <c:v>38554</c:v>
                </c:pt>
                <c:pt idx="933">
                  <c:v>38555</c:v>
                </c:pt>
                <c:pt idx="934">
                  <c:v>38556</c:v>
                </c:pt>
                <c:pt idx="935">
                  <c:v>38557</c:v>
                </c:pt>
                <c:pt idx="936">
                  <c:v>38558</c:v>
                </c:pt>
                <c:pt idx="937">
                  <c:v>38559</c:v>
                </c:pt>
                <c:pt idx="938">
                  <c:v>38560</c:v>
                </c:pt>
                <c:pt idx="939">
                  <c:v>38561</c:v>
                </c:pt>
                <c:pt idx="940">
                  <c:v>38562</c:v>
                </c:pt>
                <c:pt idx="941">
                  <c:v>38563</c:v>
                </c:pt>
                <c:pt idx="942">
                  <c:v>38564</c:v>
                </c:pt>
                <c:pt idx="943">
                  <c:v>38565</c:v>
                </c:pt>
                <c:pt idx="944">
                  <c:v>38566</c:v>
                </c:pt>
                <c:pt idx="945">
                  <c:v>38567</c:v>
                </c:pt>
                <c:pt idx="946">
                  <c:v>38568</c:v>
                </c:pt>
                <c:pt idx="947">
                  <c:v>38569</c:v>
                </c:pt>
                <c:pt idx="948">
                  <c:v>38570</c:v>
                </c:pt>
                <c:pt idx="949">
                  <c:v>38571</c:v>
                </c:pt>
                <c:pt idx="950">
                  <c:v>38572</c:v>
                </c:pt>
                <c:pt idx="951">
                  <c:v>38573</c:v>
                </c:pt>
                <c:pt idx="952">
                  <c:v>38574</c:v>
                </c:pt>
                <c:pt idx="953">
                  <c:v>38575</c:v>
                </c:pt>
                <c:pt idx="954">
                  <c:v>38576</c:v>
                </c:pt>
                <c:pt idx="955">
                  <c:v>38577</c:v>
                </c:pt>
                <c:pt idx="956">
                  <c:v>38578</c:v>
                </c:pt>
                <c:pt idx="957">
                  <c:v>38579</c:v>
                </c:pt>
                <c:pt idx="958">
                  <c:v>38580</c:v>
                </c:pt>
                <c:pt idx="959">
                  <c:v>38581</c:v>
                </c:pt>
                <c:pt idx="960">
                  <c:v>38582</c:v>
                </c:pt>
                <c:pt idx="961">
                  <c:v>38583</c:v>
                </c:pt>
                <c:pt idx="962">
                  <c:v>38584</c:v>
                </c:pt>
                <c:pt idx="963">
                  <c:v>38585</c:v>
                </c:pt>
                <c:pt idx="964">
                  <c:v>38586</c:v>
                </c:pt>
                <c:pt idx="965">
                  <c:v>38587</c:v>
                </c:pt>
                <c:pt idx="966">
                  <c:v>38588</c:v>
                </c:pt>
                <c:pt idx="967">
                  <c:v>38589</c:v>
                </c:pt>
                <c:pt idx="968">
                  <c:v>38590</c:v>
                </c:pt>
                <c:pt idx="969">
                  <c:v>38591</c:v>
                </c:pt>
                <c:pt idx="970">
                  <c:v>38592</c:v>
                </c:pt>
                <c:pt idx="971">
                  <c:v>38593</c:v>
                </c:pt>
                <c:pt idx="972">
                  <c:v>38594</c:v>
                </c:pt>
                <c:pt idx="973">
                  <c:v>38595</c:v>
                </c:pt>
                <c:pt idx="974">
                  <c:v>38596</c:v>
                </c:pt>
                <c:pt idx="975">
                  <c:v>38597</c:v>
                </c:pt>
                <c:pt idx="976">
                  <c:v>38598</c:v>
                </c:pt>
                <c:pt idx="977">
                  <c:v>38599</c:v>
                </c:pt>
                <c:pt idx="978">
                  <c:v>38600</c:v>
                </c:pt>
                <c:pt idx="979">
                  <c:v>38601</c:v>
                </c:pt>
                <c:pt idx="980">
                  <c:v>38602</c:v>
                </c:pt>
                <c:pt idx="981">
                  <c:v>38603</c:v>
                </c:pt>
                <c:pt idx="982">
                  <c:v>38604</c:v>
                </c:pt>
                <c:pt idx="983">
                  <c:v>38605</c:v>
                </c:pt>
                <c:pt idx="984">
                  <c:v>38606</c:v>
                </c:pt>
                <c:pt idx="985">
                  <c:v>38607</c:v>
                </c:pt>
                <c:pt idx="986">
                  <c:v>38608</c:v>
                </c:pt>
                <c:pt idx="987">
                  <c:v>38609</c:v>
                </c:pt>
                <c:pt idx="988">
                  <c:v>38610</c:v>
                </c:pt>
                <c:pt idx="989">
                  <c:v>38611</c:v>
                </c:pt>
                <c:pt idx="990">
                  <c:v>38612</c:v>
                </c:pt>
                <c:pt idx="991">
                  <c:v>38613</c:v>
                </c:pt>
                <c:pt idx="992">
                  <c:v>38614</c:v>
                </c:pt>
                <c:pt idx="993">
                  <c:v>38615</c:v>
                </c:pt>
                <c:pt idx="994">
                  <c:v>38616</c:v>
                </c:pt>
                <c:pt idx="995">
                  <c:v>38617</c:v>
                </c:pt>
                <c:pt idx="996">
                  <c:v>38618</c:v>
                </c:pt>
                <c:pt idx="997">
                  <c:v>38619</c:v>
                </c:pt>
                <c:pt idx="998">
                  <c:v>38620</c:v>
                </c:pt>
                <c:pt idx="999">
                  <c:v>38621</c:v>
                </c:pt>
                <c:pt idx="1000">
                  <c:v>38622</c:v>
                </c:pt>
                <c:pt idx="1001">
                  <c:v>38623</c:v>
                </c:pt>
                <c:pt idx="1002">
                  <c:v>38624</c:v>
                </c:pt>
                <c:pt idx="1003">
                  <c:v>38625</c:v>
                </c:pt>
                <c:pt idx="1004">
                  <c:v>38626</c:v>
                </c:pt>
                <c:pt idx="1005">
                  <c:v>38627</c:v>
                </c:pt>
                <c:pt idx="1006">
                  <c:v>38628</c:v>
                </c:pt>
                <c:pt idx="1007">
                  <c:v>38629</c:v>
                </c:pt>
                <c:pt idx="1008">
                  <c:v>38630</c:v>
                </c:pt>
                <c:pt idx="1009">
                  <c:v>38631</c:v>
                </c:pt>
                <c:pt idx="1010">
                  <c:v>38632</c:v>
                </c:pt>
                <c:pt idx="1011">
                  <c:v>38633</c:v>
                </c:pt>
                <c:pt idx="1012">
                  <c:v>38634</c:v>
                </c:pt>
                <c:pt idx="1013">
                  <c:v>38635</c:v>
                </c:pt>
                <c:pt idx="1014">
                  <c:v>38636</c:v>
                </c:pt>
                <c:pt idx="1015">
                  <c:v>38637</c:v>
                </c:pt>
                <c:pt idx="1016">
                  <c:v>38638</c:v>
                </c:pt>
                <c:pt idx="1017">
                  <c:v>38639</c:v>
                </c:pt>
                <c:pt idx="1018">
                  <c:v>38640</c:v>
                </c:pt>
                <c:pt idx="1019">
                  <c:v>38641</c:v>
                </c:pt>
                <c:pt idx="1020">
                  <c:v>38642</c:v>
                </c:pt>
                <c:pt idx="1021">
                  <c:v>38643</c:v>
                </c:pt>
                <c:pt idx="1022">
                  <c:v>38644</c:v>
                </c:pt>
                <c:pt idx="1023">
                  <c:v>38645</c:v>
                </c:pt>
                <c:pt idx="1024">
                  <c:v>38646</c:v>
                </c:pt>
                <c:pt idx="1025">
                  <c:v>38647</c:v>
                </c:pt>
                <c:pt idx="1026">
                  <c:v>38648</c:v>
                </c:pt>
                <c:pt idx="1027">
                  <c:v>38649</c:v>
                </c:pt>
                <c:pt idx="1028">
                  <c:v>38650</c:v>
                </c:pt>
                <c:pt idx="1029">
                  <c:v>38651</c:v>
                </c:pt>
                <c:pt idx="1030">
                  <c:v>38652</c:v>
                </c:pt>
                <c:pt idx="1031">
                  <c:v>38653</c:v>
                </c:pt>
                <c:pt idx="1032">
                  <c:v>38654</c:v>
                </c:pt>
                <c:pt idx="1033">
                  <c:v>38655</c:v>
                </c:pt>
                <c:pt idx="1034">
                  <c:v>38656</c:v>
                </c:pt>
                <c:pt idx="1035">
                  <c:v>38657</c:v>
                </c:pt>
                <c:pt idx="1036">
                  <c:v>38658</c:v>
                </c:pt>
                <c:pt idx="1037">
                  <c:v>38659</c:v>
                </c:pt>
                <c:pt idx="1038">
                  <c:v>38660</c:v>
                </c:pt>
                <c:pt idx="1039">
                  <c:v>38661</c:v>
                </c:pt>
                <c:pt idx="1040">
                  <c:v>38662</c:v>
                </c:pt>
                <c:pt idx="1041">
                  <c:v>38663</c:v>
                </c:pt>
                <c:pt idx="1042">
                  <c:v>38664</c:v>
                </c:pt>
                <c:pt idx="1043">
                  <c:v>38665</c:v>
                </c:pt>
                <c:pt idx="1044">
                  <c:v>38666</c:v>
                </c:pt>
                <c:pt idx="1045">
                  <c:v>38667</c:v>
                </c:pt>
                <c:pt idx="1046">
                  <c:v>38668</c:v>
                </c:pt>
                <c:pt idx="1047">
                  <c:v>38669</c:v>
                </c:pt>
                <c:pt idx="1048">
                  <c:v>38670</c:v>
                </c:pt>
                <c:pt idx="1049">
                  <c:v>38671</c:v>
                </c:pt>
                <c:pt idx="1050">
                  <c:v>38672</c:v>
                </c:pt>
                <c:pt idx="1051">
                  <c:v>38673</c:v>
                </c:pt>
                <c:pt idx="1052">
                  <c:v>38674</c:v>
                </c:pt>
                <c:pt idx="1053">
                  <c:v>38675</c:v>
                </c:pt>
                <c:pt idx="1054">
                  <c:v>38676</c:v>
                </c:pt>
                <c:pt idx="1055">
                  <c:v>38677</c:v>
                </c:pt>
                <c:pt idx="1056">
                  <c:v>38678</c:v>
                </c:pt>
                <c:pt idx="1057">
                  <c:v>38679</c:v>
                </c:pt>
                <c:pt idx="1058">
                  <c:v>38680</c:v>
                </c:pt>
                <c:pt idx="1059">
                  <c:v>38681</c:v>
                </c:pt>
                <c:pt idx="1060">
                  <c:v>38682</c:v>
                </c:pt>
                <c:pt idx="1061">
                  <c:v>38683</c:v>
                </c:pt>
                <c:pt idx="1062">
                  <c:v>38684</c:v>
                </c:pt>
                <c:pt idx="1063">
                  <c:v>38685</c:v>
                </c:pt>
                <c:pt idx="1064">
                  <c:v>38686</c:v>
                </c:pt>
                <c:pt idx="1065">
                  <c:v>38687</c:v>
                </c:pt>
                <c:pt idx="1066">
                  <c:v>38688</c:v>
                </c:pt>
                <c:pt idx="1067">
                  <c:v>38689</c:v>
                </c:pt>
                <c:pt idx="1068">
                  <c:v>38690</c:v>
                </c:pt>
                <c:pt idx="1069">
                  <c:v>38691</c:v>
                </c:pt>
                <c:pt idx="1070">
                  <c:v>38692</c:v>
                </c:pt>
                <c:pt idx="1071">
                  <c:v>38693</c:v>
                </c:pt>
                <c:pt idx="1072">
                  <c:v>38694</c:v>
                </c:pt>
                <c:pt idx="1073">
                  <c:v>38695</c:v>
                </c:pt>
                <c:pt idx="1074">
                  <c:v>38696</c:v>
                </c:pt>
                <c:pt idx="1075">
                  <c:v>38697</c:v>
                </c:pt>
                <c:pt idx="1076">
                  <c:v>38698</c:v>
                </c:pt>
                <c:pt idx="1077">
                  <c:v>38699</c:v>
                </c:pt>
                <c:pt idx="1078">
                  <c:v>38700</c:v>
                </c:pt>
                <c:pt idx="1079">
                  <c:v>38701</c:v>
                </c:pt>
                <c:pt idx="1080">
                  <c:v>38702</c:v>
                </c:pt>
                <c:pt idx="1081">
                  <c:v>38703</c:v>
                </c:pt>
                <c:pt idx="1082">
                  <c:v>38704</c:v>
                </c:pt>
                <c:pt idx="1083">
                  <c:v>38705</c:v>
                </c:pt>
                <c:pt idx="1084">
                  <c:v>38706</c:v>
                </c:pt>
                <c:pt idx="1085">
                  <c:v>38707</c:v>
                </c:pt>
                <c:pt idx="1086">
                  <c:v>38708</c:v>
                </c:pt>
                <c:pt idx="1087">
                  <c:v>38709</c:v>
                </c:pt>
                <c:pt idx="1088">
                  <c:v>38710</c:v>
                </c:pt>
                <c:pt idx="1089">
                  <c:v>38711</c:v>
                </c:pt>
                <c:pt idx="1090">
                  <c:v>38712</c:v>
                </c:pt>
                <c:pt idx="1091">
                  <c:v>38713</c:v>
                </c:pt>
                <c:pt idx="1092">
                  <c:v>38714</c:v>
                </c:pt>
                <c:pt idx="1093">
                  <c:v>38715</c:v>
                </c:pt>
                <c:pt idx="1094">
                  <c:v>38716</c:v>
                </c:pt>
                <c:pt idx="1095">
                  <c:v>38717</c:v>
                </c:pt>
                <c:pt idx="1096">
                  <c:v>38718</c:v>
                </c:pt>
                <c:pt idx="1097" formatCode="m/d/yyyy">
                  <c:v>38719</c:v>
                </c:pt>
                <c:pt idx="1098" formatCode="m/d/yyyy">
                  <c:v>38720</c:v>
                </c:pt>
                <c:pt idx="1099" formatCode="m/d/yyyy">
                  <c:v>38721</c:v>
                </c:pt>
                <c:pt idx="1100" formatCode="m/d/yyyy">
                  <c:v>38722</c:v>
                </c:pt>
                <c:pt idx="1101" formatCode="m/d/yyyy">
                  <c:v>38723</c:v>
                </c:pt>
                <c:pt idx="1102" formatCode="m/d/yyyy">
                  <c:v>38724</c:v>
                </c:pt>
                <c:pt idx="1103" formatCode="m/d/yyyy">
                  <c:v>38725</c:v>
                </c:pt>
                <c:pt idx="1104" formatCode="m/d/yyyy">
                  <c:v>38726</c:v>
                </c:pt>
                <c:pt idx="1105" formatCode="m/d/yyyy">
                  <c:v>38727</c:v>
                </c:pt>
                <c:pt idx="1106" formatCode="m/d/yyyy">
                  <c:v>38728</c:v>
                </c:pt>
                <c:pt idx="1107" formatCode="m/d/yyyy">
                  <c:v>38729</c:v>
                </c:pt>
                <c:pt idx="1108" formatCode="m/d/yyyy">
                  <c:v>38730</c:v>
                </c:pt>
                <c:pt idx="1109" formatCode="m/d/yyyy">
                  <c:v>38731</c:v>
                </c:pt>
                <c:pt idx="1110" formatCode="m/d/yyyy">
                  <c:v>38732</c:v>
                </c:pt>
                <c:pt idx="1111" formatCode="m/d/yyyy">
                  <c:v>38733</c:v>
                </c:pt>
                <c:pt idx="1112" formatCode="m/d/yyyy">
                  <c:v>38734</c:v>
                </c:pt>
                <c:pt idx="1113" formatCode="m/d/yyyy">
                  <c:v>38735</c:v>
                </c:pt>
                <c:pt idx="1114" formatCode="m/d/yyyy">
                  <c:v>38736</c:v>
                </c:pt>
                <c:pt idx="1115" formatCode="m/d/yyyy">
                  <c:v>38737</c:v>
                </c:pt>
                <c:pt idx="1116" formatCode="m/d/yyyy">
                  <c:v>38738</c:v>
                </c:pt>
                <c:pt idx="1117" formatCode="m/d/yyyy">
                  <c:v>38739</c:v>
                </c:pt>
                <c:pt idx="1118" formatCode="m/d/yyyy">
                  <c:v>38740</c:v>
                </c:pt>
                <c:pt idx="1119" formatCode="m/d/yyyy">
                  <c:v>38741</c:v>
                </c:pt>
                <c:pt idx="1120" formatCode="m/d/yyyy">
                  <c:v>38742</c:v>
                </c:pt>
                <c:pt idx="1121" formatCode="m/d/yyyy">
                  <c:v>38743</c:v>
                </c:pt>
                <c:pt idx="1122" formatCode="m/d/yyyy">
                  <c:v>38744</c:v>
                </c:pt>
                <c:pt idx="1123" formatCode="m/d/yyyy">
                  <c:v>38745</c:v>
                </c:pt>
                <c:pt idx="1124" formatCode="m/d/yyyy">
                  <c:v>38746</c:v>
                </c:pt>
                <c:pt idx="1125" formatCode="m/d/yyyy">
                  <c:v>38747</c:v>
                </c:pt>
                <c:pt idx="1126" formatCode="m/d/yyyy">
                  <c:v>38748</c:v>
                </c:pt>
                <c:pt idx="1127" formatCode="m/d/yyyy">
                  <c:v>38749</c:v>
                </c:pt>
                <c:pt idx="1128" formatCode="m/d/yyyy">
                  <c:v>38750</c:v>
                </c:pt>
                <c:pt idx="1129" formatCode="m/d/yyyy">
                  <c:v>38751</c:v>
                </c:pt>
                <c:pt idx="1130" formatCode="m/d/yyyy">
                  <c:v>38752</c:v>
                </c:pt>
                <c:pt idx="1131" formatCode="m/d/yyyy">
                  <c:v>38753</c:v>
                </c:pt>
                <c:pt idx="1132" formatCode="m/d/yyyy">
                  <c:v>38754</c:v>
                </c:pt>
                <c:pt idx="1133" formatCode="m/d/yyyy">
                  <c:v>38755</c:v>
                </c:pt>
                <c:pt idx="1134" formatCode="m/d/yyyy">
                  <c:v>38756</c:v>
                </c:pt>
                <c:pt idx="1135" formatCode="m/d/yyyy">
                  <c:v>38757</c:v>
                </c:pt>
                <c:pt idx="1136" formatCode="m/d/yyyy">
                  <c:v>38758</c:v>
                </c:pt>
                <c:pt idx="1137" formatCode="m/d/yyyy">
                  <c:v>38759</c:v>
                </c:pt>
                <c:pt idx="1138" formatCode="m/d/yyyy">
                  <c:v>38760</c:v>
                </c:pt>
                <c:pt idx="1139" formatCode="m/d/yyyy">
                  <c:v>38761</c:v>
                </c:pt>
                <c:pt idx="1140" formatCode="m/d/yyyy">
                  <c:v>38762</c:v>
                </c:pt>
                <c:pt idx="1141" formatCode="m/d/yyyy">
                  <c:v>38763</c:v>
                </c:pt>
                <c:pt idx="1142" formatCode="m/d/yyyy">
                  <c:v>38764</c:v>
                </c:pt>
                <c:pt idx="1143" formatCode="m/d/yyyy">
                  <c:v>38765</c:v>
                </c:pt>
                <c:pt idx="1144" formatCode="m/d/yyyy">
                  <c:v>38766</c:v>
                </c:pt>
                <c:pt idx="1145" formatCode="m/d/yyyy">
                  <c:v>38767</c:v>
                </c:pt>
                <c:pt idx="1146" formatCode="m/d/yyyy">
                  <c:v>38768</c:v>
                </c:pt>
                <c:pt idx="1147" formatCode="m/d/yyyy">
                  <c:v>38769</c:v>
                </c:pt>
                <c:pt idx="1148" formatCode="m/d/yyyy">
                  <c:v>38770</c:v>
                </c:pt>
                <c:pt idx="1149" formatCode="m/d/yyyy">
                  <c:v>38771</c:v>
                </c:pt>
                <c:pt idx="1150" formatCode="m/d/yyyy">
                  <c:v>38772</c:v>
                </c:pt>
                <c:pt idx="1151" formatCode="m/d/yyyy">
                  <c:v>38773</c:v>
                </c:pt>
                <c:pt idx="1152" formatCode="m/d/yyyy">
                  <c:v>38774</c:v>
                </c:pt>
                <c:pt idx="1153" formatCode="m/d/yyyy">
                  <c:v>38775</c:v>
                </c:pt>
                <c:pt idx="1154" formatCode="m/d/yyyy">
                  <c:v>38776</c:v>
                </c:pt>
                <c:pt idx="1155" formatCode="m/d/yyyy">
                  <c:v>38777</c:v>
                </c:pt>
                <c:pt idx="1156" formatCode="m/d/yyyy">
                  <c:v>38778</c:v>
                </c:pt>
                <c:pt idx="1157" formatCode="m/d/yyyy">
                  <c:v>38779</c:v>
                </c:pt>
                <c:pt idx="1158" formatCode="m/d/yyyy">
                  <c:v>38780</c:v>
                </c:pt>
                <c:pt idx="1159" formatCode="m/d/yyyy">
                  <c:v>38781</c:v>
                </c:pt>
                <c:pt idx="1160" formatCode="m/d/yyyy">
                  <c:v>38782</c:v>
                </c:pt>
                <c:pt idx="1161" formatCode="m/d/yyyy">
                  <c:v>38783</c:v>
                </c:pt>
                <c:pt idx="1162" formatCode="m/d/yyyy">
                  <c:v>38784</c:v>
                </c:pt>
                <c:pt idx="1163" formatCode="m/d/yyyy">
                  <c:v>38785</c:v>
                </c:pt>
                <c:pt idx="1164" formatCode="m/d/yyyy">
                  <c:v>38786</c:v>
                </c:pt>
                <c:pt idx="1165" formatCode="m/d/yyyy">
                  <c:v>38787</c:v>
                </c:pt>
                <c:pt idx="1166" formatCode="m/d/yyyy">
                  <c:v>38788</c:v>
                </c:pt>
                <c:pt idx="1167" formatCode="m/d/yyyy">
                  <c:v>38789</c:v>
                </c:pt>
                <c:pt idx="1168" formatCode="m/d/yyyy">
                  <c:v>38790</c:v>
                </c:pt>
                <c:pt idx="1169" formatCode="m/d/yyyy">
                  <c:v>38791</c:v>
                </c:pt>
                <c:pt idx="1170" formatCode="m/d/yyyy">
                  <c:v>38792</c:v>
                </c:pt>
                <c:pt idx="1171" formatCode="m/d/yyyy">
                  <c:v>38793</c:v>
                </c:pt>
                <c:pt idx="1172" formatCode="m/d/yyyy">
                  <c:v>38794</c:v>
                </c:pt>
                <c:pt idx="1173" formatCode="m/d/yyyy">
                  <c:v>38795</c:v>
                </c:pt>
                <c:pt idx="1174" formatCode="m/d/yyyy">
                  <c:v>38796</c:v>
                </c:pt>
                <c:pt idx="1175" formatCode="m/d/yyyy">
                  <c:v>38797</c:v>
                </c:pt>
                <c:pt idx="1176" formatCode="m/d/yyyy">
                  <c:v>38798</c:v>
                </c:pt>
                <c:pt idx="1177" formatCode="m/d/yyyy">
                  <c:v>38799</c:v>
                </c:pt>
                <c:pt idx="1178" formatCode="m/d/yyyy">
                  <c:v>38800</c:v>
                </c:pt>
                <c:pt idx="1179" formatCode="m/d/yyyy">
                  <c:v>38801</c:v>
                </c:pt>
                <c:pt idx="1180" formatCode="m/d/yyyy">
                  <c:v>38802</c:v>
                </c:pt>
                <c:pt idx="1181" formatCode="m/d/yyyy">
                  <c:v>38803</c:v>
                </c:pt>
                <c:pt idx="1182" formatCode="m/d/yyyy">
                  <c:v>38804</c:v>
                </c:pt>
                <c:pt idx="1183" formatCode="m/d/yyyy">
                  <c:v>38805</c:v>
                </c:pt>
                <c:pt idx="1184" formatCode="m/d/yyyy">
                  <c:v>38806</c:v>
                </c:pt>
                <c:pt idx="1185" formatCode="m/d/yyyy">
                  <c:v>38807</c:v>
                </c:pt>
                <c:pt idx="1186" formatCode="m/d/yyyy">
                  <c:v>38808</c:v>
                </c:pt>
                <c:pt idx="1187" formatCode="m/d/yyyy">
                  <c:v>38809</c:v>
                </c:pt>
                <c:pt idx="1188" formatCode="m/d/yyyy">
                  <c:v>38810</c:v>
                </c:pt>
                <c:pt idx="1189" formatCode="m/d/yyyy">
                  <c:v>38811</c:v>
                </c:pt>
                <c:pt idx="1190" formatCode="m/d/yyyy">
                  <c:v>38812</c:v>
                </c:pt>
                <c:pt idx="1191" formatCode="m/d/yyyy">
                  <c:v>38813</c:v>
                </c:pt>
                <c:pt idx="1192" formatCode="m/d/yyyy">
                  <c:v>38814</c:v>
                </c:pt>
                <c:pt idx="1193" formatCode="m/d/yyyy">
                  <c:v>38815</c:v>
                </c:pt>
                <c:pt idx="1194" formatCode="m/d/yyyy">
                  <c:v>38816</c:v>
                </c:pt>
                <c:pt idx="1195" formatCode="m/d/yyyy">
                  <c:v>38817</c:v>
                </c:pt>
                <c:pt idx="1196" formatCode="m/d/yyyy">
                  <c:v>38818</c:v>
                </c:pt>
                <c:pt idx="1197" formatCode="m/d/yyyy">
                  <c:v>38819</c:v>
                </c:pt>
                <c:pt idx="1198" formatCode="m/d/yyyy">
                  <c:v>38820</c:v>
                </c:pt>
                <c:pt idx="1199" formatCode="m/d/yyyy">
                  <c:v>38821</c:v>
                </c:pt>
                <c:pt idx="1200" formatCode="m/d/yyyy">
                  <c:v>38822</c:v>
                </c:pt>
                <c:pt idx="1201" formatCode="m/d/yyyy">
                  <c:v>38823</c:v>
                </c:pt>
                <c:pt idx="1202" formatCode="m/d/yyyy">
                  <c:v>38824</c:v>
                </c:pt>
                <c:pt idx="1203" formatCode="m/d/yyyy">
                  <c:v>38825</c:v>
                </c:pt>
                <c:pt idx="1204" formatCode="m/d/yyyy">
                  <c:v>38826</c:v>
                </c:pt>
                <c:pt idx="1205" formatCode="m/d/yyyy">
                  <c:v>38827</c:v>
                </c:pt>
                <c:pt idx="1206" formatCode="m/d/yyyy">
                  <c:v>38828</c:v>
                </c:pt>
                <c:pt idx="1207" formatCode="m/d/yyyy">
                  <c:v>38829</c:v>
                </c:pt>
                <c:pt idx="1208" formatCode="m/d/yyyy">
                  <c:v>38830</c:v>
                </c:pt>
                <c:pt idx="1209" formatCode="m/d/yyyy">
                  <c:v>38831</c:v>
                </c:pt>
                <c:pt idx="1210" formatCode="m/d/yyyy">
                  <c:v>38832</c:v>
                </c:pt>
                <c:pt idx="1211" formatCode="m/d/yyyy">
                  <c:v>38833</c:v>
                </c:pt>
                <c:pt idx="1212" formatCode="m/d/yyyy">
                  <c:v>38834</c:v>
                </c:pt>
                <c:pt idx="1213" formatCode="m/d/yyyy">
                  <c:v>38835</c:v>
                </c:pt>
                <c:pt idx="1214" formatCode="m/d/yyyy">
                  <c:v>38836</c:v>
                </c:pt>
                <c:pt idx="1215" formatCode="m/d/yyyy">
                  <c:v>38837</c:v>
                </c:pt>
                <c:pt idx="1216" formatCode="m/d/yyyy">
                  <c:v>38838</c:v>
                </c:pt>
                <c:pt idx="1217" formatCode="m/d/yyyy">
                  <c:v>38839</c:v>
                </c:pt>
                <c:pt idx="1218" formatCode="m/d/yyyy">
                  <c:v>38840</c:v>
                </c:pt>
                <c:pt idx="1219" formatCode="m/d/yyyy">
                  <c:v>38841</c:v>
                </c:pt>
                <c:pt idx="1220" formatCode="m/d/yyyy">
                  <c:v>38842</c:v>
                </c:pt>
                <c:pt idx="1221" formatCode="m/d/yyyy">
                  <c:v>38843</c:v>
                </c:pt>
                <c:pt idx="1222" formatCode="m/d/yyyy">
                  <c:v>38844</c:v>
                </c:pt>
                <c:pt idx="1223" formatCode="m/d/yyyy">
                  <c:v>38845</c:v>
                </c:pt>
                <c:pt idx="1224" formatCode="m/d/yyyy">
                  <c:v>38846</c:v>
                </c:pt>
                <c:pt idx="1225" formatCode="m/d/yyyy">
                  <c:v>38847</c:v>
                </c:pt>
                <c:pt idx="1226" formatCode="m/d/yyyy">
                  <c:v>38848</c:v>
                </c:pt>
                <c:pt idx="1227" formatCode="m/d/yyyy">
                  <c:v>38849</c:v>
                </c:pt>
                <c:pt idx="1228" formatCode="m/d/yyyy">
                  <c:v>38850</c:v>
                </c:pt>
                <c:pt idx="1229" formatCode="m/d/yyyy">
                  <c:v>38851</c:v>
                </c:pt>
                <c:pt idx="1230" formatCode="m/d/yyyy">
                  <c:v>38852</c:v>
                </c:pt>
                <c:pt idx="1231" formatCode="m/d/yyyy">
                  <c:v>38853</c:v>
                </c:pt>
                <c:pt idx="1232" formatCode="m/d/yyyy">
                  <c:v>38854</c:v>
                </c:pt>
                <c:pt idx="1233" formatCode="m/d/yyyy">
                  <c:v>38855</c:v>
                </c:pt>
                <c:pt idx="1234" formatCode="m/d/yyyy">
                  <c:v>38856</c:v>
                </c:pt>
                <c:pt idx="1235" formatCode="m/d/yyyy">
                  <c:v>38857</c:v>
                </c:pt>
                <c:pt idx="1236" formatCode="m/d/yyyy">
                  <c:v>38858</c:v>
                </c:pt>
                <c:pt idx="1237" formatCode="m/d/yyyy">
                  <c:v>38859</c:v>
                </c:pt>
                <c:pt idx="1238" formatCode="m/d/yyyy">
                  <c:v>38860</c:v>
                </c:pt>
                <c:pt idx="1239" formatCode="m/d/yyyy">
                  <c:v>38861</c:v>
                </c:pt>
                <c:pt idx="1240" formatCode="m/d/yyyy">
                  <c:v>38862</c:v>
                </c:pt>
                <c:pt idx="1241" formatCode="m/d/yyyy">
                  <c:v>38863</c:v>
                </c:pt>
                <c:pt idx="1242" formatCode="m/d/yyyy">
                  <c:v>38864</c:v>
                </c:pt>
                <c:pt idx="1243" formatCode="m/d/yyyy">
                  <c:v>38865</c:v>
                </c:pt>
                <c:pt idx="1244" formatCode="m/d/yyyy">
                  <c:v>38866</c:v>
                </c:pt>
                <c:pt idx="1245" formatCode="m/d/yyyy">
                  <c:v>38867</c:v>
                </c:pt>
                <c:pt idx="1246" formatCode="m/d/yyyy">
                  <c:v>38868</c:v>
                </c:pt>
                <c:pt idx="1247" formatCode="m/d/yyyy">
                  <c:v>38869</c:v>
                </c:pt>
                <c:pt idx="1248" formatCode="m/d/yyyy">
                  <c:v>38870</c:v>
                </c:pt>
                <c:pt idx="1249" formatCode="m/d/yyyy">
                  <c:v>38871</c:v>
                </c:pt>
                <c:pt idx="1250" formatCode="m/d/yyyy">
                  <c:v>38872</c:v>
                </c:pt>
                <c:pt idx="1251" formatCode="m/d/yyyy">
                  <c:v>38873</c:v>
                </c:pt>
                <c:pt idx="1252" formatCode="m/d/yyyy">
                  <c:v>38874</c:v>
                </c:pt>
                <c:pt idx="1253" formatCode="m/d/yyyy">
                  <c:v>38875</c:v>
                </c:pt>
                <c:pt idx="1254" formatCode="m/d/yyyy">
                  <c:v>38876</c:v>
                </c:pt>
                <c:pt idx="1255" formatCode="m/d/yyyy">
                  <c:v>38877</c:v>
                </c:pt>
                <c:pt idx="1256" formatCode="m/d/yyyy">
                  <c:v>38878</c:v>
                </c:pt>
                <c:pt idx="1257" formatCode="m/d/yyyy">
                  <c:v>38879</c:v>
                </c:pt>
                <c:pt idx="1258" formatCode="m/d/yyyy">
                  <c:v>38880</c:v>
                </c:pt>
                <c:pt idx="1259" formatCode="m/d/yyyy">
                  <c:v>38881</c:v>
                </c:pt>
                <c:pt idx="1260" formatCode="m/d/yyyy">
                  <c:v>38882</c:v>
                </c:pt>
                <c:pt idx="1261" formatCode="m/d/yyyy">
                  <c:v>38883</c:v>
                </c:pt>
                <c:pt idx="1262" formatCode="m/d/yyyy">
                  <c:v>38884</c:v>
                </c:pt>
                <c:pt idx="1263" formatCode="m/d/yyyy">
                  <c:v>38885</c:v>
                </c:pt>
                <c:pt idx="1264" formatCode="m/d/yyyy">
                  <c:v>38886</c:v>
                </c:pt>
                <c:pt idx="1265" formatCode="m/d/yyyy">
                  <c:v>38887</c:v>
                </c:pt>
                <c:pt idx="1266" formatCode="m/d/yyyy">
                  <c:v>38888</c:v>
                </c:pt>
                <c:pt idx="1267" formatCode="m/d/yyyy">
                  <c:v>38889</c:v>
                </c:pt>
                <c:pt idx="1268" formatCode="m/d/yyyy">
                  <c:v>38890</c:v>
                </c:pt>
                <c:pt idx="1269" formatCode="m/d/yyyy">
                  <c:v>38891</c:v>
                </c:pt>
                <c:pt idx="1270" formatCode="m/d/yyyy">
                  <c:v>38892</c:v>
                </c:pt>
                <c:pt idx="1271" formatCode="m/d/yyyy">
                  <c:v>38893</c:v>
                </c:pt>
                <c:pt idx="1272" formatCode="m/d/yyyy">
                  <c:v>38894</c:v>
                </c:pt>
                <c:pt idx="1273" formatCode="m/d/yyyy">
                  <c:v>38895</c:v>
                </c:pt>
                <c:pt idx="1274" formatCode="m/d/yyyy">
                  <c:v>38896</c:v>
                </c:pt>
                <c:pt idx="1275" formatCode="m/d/yyyy">
                  <c:v>38897</c:v>
                </c:pt>
                <c:pt idx="1276" formatCode="m/d/yyyy">
                  <c:v>38898</c:v>
                </c:pt>
                <c:pt idx="1277" formatCode="m/d/yyyy">
                  <c:v>38899</c:v>
                </c:pt>
                <c:pt idx="1278" formatCode="m/d/yyyy">
                  <c:v>38900</c:v>
                </c:pt>
                <c:pt idx="1279" formatCode="m/d/yyyy">
                  <c:v>38901</c:v>
                </c:pt>
                <c:pt idx="1280" formatCode="m/d/yyyy">
                  <c:v>38902</c:v>
                </c:pt>
                <c:pt idx="1281" formatCode="m/d/yyyy">
                  <c:v>38903</c:v>
                </c:pt>
                <c:pt idx="1282" formatCode="m/d/yyyy">
                  <c:v>38904</c:v>
                </c:pt>
                <c:pt idx="1283" formatCode="m/d/yyyy">
                  <c:v>38905</c:v>
                </c:pt>
                <c:pt idx="1284" formatCode="m/d/yyyy">
                  <c:v>38906</c:v>
                </c:pt>
                <c:pt idx="1285" formatCode="m/d/yyyy">
                  <c:v>38907</c:v>
                </c:pt>
                <c:pt idx="1286" formatCode="m/d/yyyy">
                  <c:v>38908</c:v>
                </c:pt>
                <c:pt idx="1287" formatCode="m/d/yyyy">
                  <c:v>38909</c:v>
                </c:pt>
                <c:pt idx="1288" formatCode="m/d/yyyy">
                  <c:v>38910</c:v>
                </c:pt>
                <c:pt idx="1289" formatCode="m/d/yyyy">
                  <c:v>38911</c:v>
                </c:pt>
                <c:pt idx="1290" formatCode="m/d/yyyy">
                  <c:v>38912</c:v>
                </c:pt>
                <c:pt idx="1291" formatCode="m/d/yyyy">
                  <c:v>38913</c:v>
                </c:pt>
                <c:pt idx="1292" formatCode="m/d/yyyy">
                  <c:v>38914</c:v>
                </c:pt>
                <c:pt idx="1293" formatCode="m/d/yyyy">
                  <c:v>38915</c:v>
                </c:pt>
                <c:pt idx="1294" formatCode="m/d/yyyy">
                  <c:v>38916</c:v>
                </c:pt>
                <c:pt idx="1295" formatCode="m/d/yyyy">
                  <c:v>38917</c:v>
                </c:pt>
                <c:pt idx="1296" formatCode="m/d/yyyy">
                  <c:v>38918</c:v>
                </c:pt>
                <c:pt idx="1297" formatCode="m/d/yyyy">
                  <c:v>38919</c:v>
                </c:pt>
                <c:pt idx="1298" formatCode="m/d/yyyy">
                  <c:v>38920</c:v>
                </c:pt>
                <c:pt idx="1299" formatCode="m/d/yyyy">
                  <c:v>38921</c:v>
                </c:pt>
                <c:pt idx="1300" formatCode="m/d/yyyy">
                  <c:v>38922</c:v>
                </c:pt>
                <c:pt idx="1301" formatCode="m/d/yyyy">
                  <c:v>38923</c:v>
                </c:pt>
                <c:pt idx="1302" formatCode="m/d/yyyy">
                  <c:v>38924</c:v>
                </c:pt>
                <c:pt idx="1303" formatCode="m/d/yyyy">
                  <c:v>38925</c:v>
                </c:pt>
                <c:pt idx="1304" formatCode="m/d/yyyy">
                  <c:v>38926</c:v>
                </c:pt>
                <c:pt idx="1305" formatCode="m/d/yyyy">
                  <c:v>38927</c:v>
                </c:pt>
                <c:pt idx="1306" formatCode="m/d/yyyy">
                  <c:v>38928</c:v>
                </c:pt>
                <c:pt idx="1307" formatCode="m/d/yyyy">
                  <c:v>38929</c:v>
                </c:pt>
                <c:pt idx="1308" formatCode="m/d/yyyy">
                  <c:v>38930</c:v>
                </c:pt>
                <c:pt idx="1309" formatCode="m/d/yyyy">
                  <c:v>38931</c:v>
                </c:pt>
                <c:pt idx="1310" formatCode="m/d/yyyy">
                  <c:v>38932</c:v>
                </c:pt>
                <c:pt idx="1311" formatCode="m/d/yyyy">
                  <c:v>38933</c:v>
                </c:pt>
                <c:pt idx="1312" formatCode="m/d/yyyy">
                  <c:v>38934</c:v>
                </c:pt>
                <c:pt idx="1313" formatCode="m/d/yyyy">
                  <c:v>38935</c:v>
                </c:pt>
                <c:pt idx="1314" formatCode="m/d/yyyy">
                  <c:v>38936</c:v>
                </c:pt>
                <c:pt idx="1315" formatCode="m/d/yyyy">
                  <c:v>38937</c:v>
                </c:pt>
                <c:pt idx="1316" formatCode="m/d/yyyy">
                  <c:v>38938</c:v>
                </c:pt>
                <c:pt idx="1317" formatCode="m/d/yyyy">
                  <c:v>38939</c:v>
                </c:pt>
                <c:pt idx="1318" formatCode="m/d/yyyy">
                  <c:v>38940</c:v>
                </c:pt>
                <c:pt idx="1319" formatCode="m/d/yyyy">
                  <c:v>38941</c:v>
                </c:pt>
                <c:pt idx="1320" formatCode="m/d/yyyy">
                  <c:v>38942</c:v>
                </c:pt>
                <c:pt idx="1321" formatCode="m/d/yyyy">
                  <c:v>38943</c:v>
                </c:pt>
                <c:pt idx="1322" formatCode="m/d/yyyy">
                  <c:v>38944</c:v>
                </c:pt>
                <c:pt idx="1323" formatCode="m/d/yyyy">
                  <c:v>38945</c:v>
                </c:pt>
                <c:pt idx="1324" formatCode="m/d/yyyy">
                  <c:v>38946</c:v>
                </c:pt>
                <c:pt idx="1325" formatCode="m/d/yyyy">
                  <c:v>38947</c:v>
                </c:pt>
                <c:pt idx="1326" formatCode="m/d/yyyy">
                  <c:v>38948</c:v>
                </c:pt>
                <c:pt idx="1327" formatCode="m/d/yyyy">
                  <c:v>38949</c:v>
                </c:pt>
                <c:pt idx="1328" formatCode="m/d/yyyy">
                  <c:v>38950</c:v>
                </c:pt>
                <c:pt idx="1329" formatCode="m/d/yyyy">
                  <c:v>38951</c:v>
                </c:pt>
                <c:pt idx="1330" formatCode="m/d/yyyy">
                  <c:v>38952</c:v>
                </c:pt>
                <c:pt idx="1331" formatCode="m/d/yyyy">
                  <c:v>38953</c:v>
                </c:pt>
                <c:pt idx="1332" formatCode="m/d/yyyy">
                  <c:v>38954</c:v>
                </c:pt>
                <c:pt idx="1333" formatCode="m/d/yyyy">
                  <c:v>38955</c:v>
                </c:pt>
                <c:pt idx="1334" formatCode="m/d/yyyy">
                  <c:v>38956</c:v>
                </c:pt>
                <c:pt idx="1335" formatCode="m/d/yyyy">
                  <c:v>38957</c:v>
                </c:pt>
                <c:pt idx="1336" formatCode="m/d/yyyy">
                  <c:v>38958</c:v>
                </c:pt>
                <c:pt idx="1337" formatCode="m/d/yyyy">
                  <c:v>38959</c:v>
                </c:pt>
                <c:pt idx="1338" formatCode="m/d/yyyy">
                  <c:v>38960</c:v>
                </c:pt>
                <c:pt idx="1339" formatCode="m/d/yyyy">
                  <c:v>38961</c:v>
                </c:pt>
                <c:pt idx="1340" formatCode="m/d/yyyy">
                  <c:v>38962</c:v>
                </c:pt>
                <c:pt idx="1341" formatCode="m/d/yyyy">
                  <c:v>38963</c:v>
                </c:pt>
                <c:pt idx="1342" formatCode="m/d/yyyy">
                  <c:v>38964</c:v>
                </c:pt>
                <c:pt idx="1343" formatCode="m/d/yyyy">
                  <c:v>38965</c:v>
                </c:pt>
                <c:pt idx="1344" formatCode="m/d/yyyy">
                  <c:v>38966</c:v>
                </c:pt>
                <c:pt idx="1345" formatCode="m/d/yyyy">
                  <c:v>38967</c:v>
                </c:pt>
                <c:pt idx="1346" formatCode="m/d/yyyy">
                  <c:v>38968</c:v>
                </c:pt>
                <c:pt idx="1347" formatCode="m/d/yyyy">
                  <c:v>38969</c:v>
                </c:pt>
                <c:pt idx="1348" formatCode="m/d/yyyy">
                  <c:v>38970</c:v>
                </c:pt>
                <c:pt idx="1349" formatCode="m/d/yyyy">
                  <c:v>38971</c:v>
                </c:pt>
                <c:pt idx="1350" formatCode="m/d/yyyy">
                  <c:v>38972</c:v>
                </c:pt>
                <c:pt idx="1351" formatCode="m/d/yyyy">
                  <c:v>38973</c:v>
                </c:pt>
                <c:pt idx="1352" formatCode="m/d/yyyy">
                  <c:v>38974</c:v>
                </c:pt>
                <c:pt idx="1353" formatCode="m/d/yyyy">
                  <c:v>38975</c:v>
                </c:pt>
                <c:pt idx="1354" formatCode="m/d/yyyy">
                  <c:v>38976</c:v>
                </c:pt>
                <c:pt idx="1355" formatCode="m/d/yyyy">
                  <c:v>38977</c:v>
                </c:pt>
                <c:pt idx="1356" formatCode="m/d/yyyy">
                  <c:v>38978</c:v>
                </c:pt>
                <c:pt idx="1357" formatCode="m/d/yyyy">
                  <c:v>38979</c:v>
                </c:pt>
                <c:pt idx="1358" formatCode="m/d/yyyy">
                  <c:v>38980</c:v>
                </c:pt>
                <c:pt idx="1359" formatCode="m/d/yyyy">
                  <c:v>38981</c:v>
                </c:pt>
                <c:pt idx="1360" formatCode="m/d/yyyy">
                  <c:v>38982</c:v>
                </c:pt>
                <c:pt idx="1361" formatCode="m/d/yyyy">
                  <c:v>38983</c:v>
                </c:pt>
                <c:pt idx="1362" formatCode="m/d/yyyy">
                  <c:v>38984</c:v>
                </c:pt>
                <c:pt idx="1363" formatCode="m/d/yyyy">
                  <c:v>38985</c:v>
                </c:pt>
                <c:pt idx="1364" formatCode="m/d/yyyy">
                  <c:v>38986</c:v>
                </c:pt>
                <c:pt idx="1365" formatCode="m/d/yyyy">
                  <c:v>38987</c:v>
                </c:pt>
                <c:pt idx="1366" formatCode="m/d/yyyy">
                  <c:v>38988</c:v>
                </c:pt>
                <c:pt idx="1367" formatCode="m/d/yyyy">
                  <c:v>38989</c:v>
                </c:pt>
                <c:pt idx="1368" formatCode="m/d/yyyy">
                  <c:v>38990</c:v>
                </c:pt>
                <c:pt idx="1369" formatCode="m/d/yyyy">
                  <c:v>38991</c:v>
                </c:pt>
                <c:pt idx="1370" formatCode="m/d/yyyy">
                  <c:v>38992</c:v>
                </c:pt>
                <c:pt idx="1371" formatCode="m/d/yyyy">
                  <c:v>38993</c:v>
                </c:pt>
                <c:pt idx="1372" formatCode="m/d/yyyy">
                  <c:v>38994</c:v>
                </c:pt>
                <c:pt idx="1373" formatCode="m/d/yyyy">
                  <c:v>38995</c:v>
                </c:pt>
                <c:pt idx="1374" formatCode="m/d/yyyy">
                  <c:v>38996</c:v>
                </c:pt>
                <c:pt idx="1375" formatCode="m/d/yyyy">
                  <c:v>38997</c:v>
                </c:pt>
                <c:pt idx="1376" formatCode="m/d/yyyy">
                  <c:v>38998</c:v>
                </c:pt>
                <c:pt idx="1377" formatCode="m/d/yyyy">
                  <c:v>38999</c:v>
                </c:pt>
                <c:pt idx="1378" formatCode="m/d/yyyy">
                  <c:v>39000</c:v>
                </c:pt>
                <c:pt idx="1379" formatCode="m/d/yyyy">
                  <c:v>39001</c:v>
                </c:pt>
                <c:pt idx="1380" formatCode="m/d/yyyy">
                  <c:v>39002</c:v>
                </c:pt>
                <c:pt idx="1381" formatCode="m/d/yyyy">
                  <c:v>39003</c:v>
                </c:pt>
                <c:pt idx="1382" formatCode="m/d/yyyy">
                  <c:v>39004</c:v>
                </c:pt>
                <c:pt idx="1383" formatCode="m/d/yyyy">
                  <c:v>39005</c:v>
                </c:pt>
                <c:pt idx="1384" formatCode="m/d/yyyy">
                  <c:v>39006</c:v>
                </c:pt>
                <c:pt idx="1385" formatCode="m/d/yyyy">
                  <c:v>39007</c:v>
                </c:pt>
                <c:pt idx="1386" formatCode="m/d/yyyy">
                  <c:v>39008</c:v>
                </c:pt>
                <c:pt idx="1387" formatCode="m/d/yyyy">
                  <c:v>39009</c:v>
                </c:pt>
                <c:pt idx="1388" formatCode="m/d/yyyy">
                  <c:v>39010</c:v>
                </c:pt>
                <c:pt idx="1389" formatCode="m/d/yyyy">
                  <c:v>39011</c:v>
                </c:pt>
                <c:pt idx="1390" formatCode="m/d/yyyy">
                  <c:v>39012</c:v>
                </c:pt>
                <c:pt idx="1391" formatCode="m/d/yyyy">
                  <c:v>39013</c:v>
                </c:pt>
                <c:pt idx="1392" formatCode="m/d/yyyy">
                  <c:v>39014</c:v>
                </c:pt>
                <c:pt idx="1393" formatCode="m/d/yyyy">
                  <c:v>39015</c:v>
                </c:pt>
                <c:pt idx="1394" formatCode="m/d/yyyy">
                  <c:v>39016</c:v>
                </c:pt>
                <c:pt idx="1395" formatCode="m/d/yyyy">
                  <c:v>39017</c:v>
                </c:pt>
                <c:pt idx="1396" formatCode="m/d/yyyy">
                  <c:v>39018</c:v>
                </c:pt>
                <c:pt idx="1397" formatCode="m/d/yyyy">
                  <c:v>39019</c:v>
                </c:pt>
                <c:pt idx="1398" formatCode="m/d/yyyy">
                  <c:v>39020</c:v>
                </c:pt>
                <c:pt idx="1399" formatCode="m/d/yyyy">
                  <c:v>39021</c:v>
                </c:pt>
                <c:pt idx="1400" formatCode="m/d/yyyy">
                  <c:v>39022</c:v>
                </c:pt>
                <c:pt idx="1401" formatCode="m/d/yyyy">
                  <c:v>39023</c:v>
                </c:pt>
                <c:pt idx="1402" formatCode="m/d/yyyy">
                  <c:v>39024</c:v>
                </c:pt>
                <c:pt idx="1403" formatCode="m/d/yyyy">
                  <c:v>39025</c:v>
                </c:pt>
                <c:pt idx="1404" formatCode="m/d/yyyy">
                  <c:v>39026</c:v>
                </c:pt>
                <c:pt idx="1405" formatCode="m/d/yyyy">
                  <c:v>39027</c:v>
                </c:pt>
                <c:pt idx="1406" formatCode="m/d/yyyy">
                  <c:v>39028</c:v>
                </c:pt>
                <c:pt idx="1407" formatCode="m/d/yyyy">
                  <c:v>39029</c:v>
                </c:pt>
                <c:pt idx="1408" formatCode="m/d/yyyy">
                  <c:v>39030</c:v>
                </c:pt>
                <c:pt idx="1409" formatCode="m/d/yyyy">
                  <c:v>39031</c:v>
                </c:pt>
                <c:pt idx="1410" formatCode="m/d/yyyy">
                  <c:v>39032</c:v>
                </c:pt>
                <c:pt idx="1411" formatCode="m/d/yyyy">
                  <c:v>39033</c:v>
                </c:pt>
                <c:pt idx="1412" formatCode="m/d/yyyy">
                  <c:v>39034</c:v>
                </c:pt>
                <c:pt idx="1413" formatCode="m/d/yyyy">
                  <c:v>39035</c:v>
                </c:pt>
                <c:pt idx="1414" formatCode="m/d/yyyy">
                  <c:v>39036</c:v>
                </c:pt>
                <c:pt idx="1415" formatCode="m/d/yyyy">
                  <c:v>39037</c:v>
                </c:pt>
                <c:pt idx="1416" formatCode="m/d/yyyy">
                  <c:v>39038</c:v>
                </c:pt>
                <c:pt idx="1417" formatCode="m/d/yyyy">
                  <c:v>39039</c:v>
                </c:pt>
                <c:pt idx="1418" formatCode="m/d/yyyy">
                  <c:v>39040</c:v>
                </c:pt>
                <c:pt idx="1419" formatCode="m/d/yyyy">
                  <c:v>39041</c:v>
                </c:pt>
                <c:pt idx="1420" formatCode="m/d/yyyy">
                  <c:v>39042</c:v>
                </c:pt>
                <c:pt idx="1421" formatCode="m/d/yyyy">
                  <c:v>39043</c:v>
                </c:pt>
                <c:pt idx="1422" formatCode="m/d/yyyy">
                  <c:v>39044</c:v>
                </c:pt>
                <c:pt idx="1423" formatCode="m/d/yyyy">
                  <c:v>39045</c:v>
                </c:pt>
                <c:pt idx="1424" formatCode="m/d/yyyy">
                  <c:v>39046</c:v>
                </c:pt>
                <c:pt idx="1425" formatCode="m/d/yyyy">
                  <c:v>39047</c:v>
                </c:pt>
                <c:pt idx="1426" formatCode="m/d/yyyy">
                  <c:v>39048</c:v>
                </c:pt>
                <c:pt idx="1427" formatCode="m/d/yyyy">
                  <c:v>39049</c:v>
                </c:pt>
                <c:pt idx="1428" formatCode="m/d/yyyy">
                  <c:v>39050</c:v>
                </c:pt>
                <c:pt idx="1429" formatCode="m/d/yyyy">
                  <c:v>39051</c:v>
                </c:pt>
                <c:pt idx="1430" formatCode="m/d/yyyy">
                  <c:v>39052</c:v>
                </c:pt>
                <c:pt idx="1431" formatCode="m/d/yyyy">
                  <c:v>39053</c:v>
                </c:pt>
                <c:pt idx="1432" formatCode="m/d/yyyy">
                  <c:v>39054</c:v>
                </c:pt>
                <c:pt idx="1433" formatCode="m/d/yyyy">
                  <c:v>39055</c:v>
                </c:pt>
                <c:pt idx="1434" formatCode="m/d/yyyy">
                  <c:v>39056</c:v>
                </c:pt>
                <c:pt idx="1435" formatCode="m/d/yyyy">
                  <c:v>39057</c:v>
                </c:pt>
                <c:pt idx="1436" formatCode="m/d/yyyy">
                  <c:v>39058</c:v>
                </c:pt>
                <c:pt idx="1437" formatCode="m/d/yyyy">
                  <c:v>39059</c:v>
                </c:pt>
                <c:pt idx="1438" formatCode="m/d/yyyy">
                  <c:v>39060</c:v>
                </c:pt>
                <c:pt idx="1439" formatCode="m/d/yyyy">
                  <c:v>39061</c:v>
                </c:pt>
                <c:pt idx="1440" formatCode="m/d/yyyy">
                  <c:v>39062</c:v>
                </c:pt>
                <c:pt idx="1441" formatCode="m/d/yyyy">
                  <c:v>39063</c:v>
                </c:pt>
                <c:pt idx="1442" formatCode="m/d/yyyy">
                  <c:v>39064</c:v>
                </c:pt>
                <c:pt idx="1443" formatCode="m/d/yyyy">
                  <c:v>39065</c:v>
                </c:pt>
                <c:pt idx="1444" formatCode="m/d/yyyy">
                  <c:v>39066</c:v>
                </c:pt>
                <c:pt idx="1445" formatCode="m/d/yyyy">
                  <c:v>39067</c:v>
                </c:pt>
                <c:pt idx="1446" formatCode="m/d/yyyy">
                  <c:v>39068</c:v>
                </c:pt>
                <c:pt idx="1447" formatCode="m/d/yyyy">
                  <c:v>39069</c:v>
                </c:pt>
                <c:pt idx="1448" formatCode="m/d/yyyy">
                  <c:v>39070</c:v>
                </c:pt>
                <c:pt idx="1449" formatCode="m/d/yyyy">
                  <c:v>39071</c:v>
                </c:pt>
                <c:pt idx="1450" formatCode="m/d/yyyy">
                  <c:v>39072</c:v>
                </c:pt>
                <c:pt idx="1451" formatCode="m/d/yyyy">
                  <c:v>39073</c:v>
                </c:pt>
                <c:pt idx="1452" formatCode="m/d/yyyy">
                  <c:v>39074</c:v>
                </c:pt>
                <c:pt idx="1453" formatCode="m/d/yyyy">
                  <c:v>39075</c:v>
                </c:pt>
                <c:pt idx="1454" formatCode="m/d/yyyy">
                  <c:v>39076</c:v>
                </c:pt>
                <c:pt idx="1455" formatCode="m/d/yyyy">
                  <c:v>39077</c:v>
                </c:pt>
                <c:pt idx="1456" formatCode="m/d/yyyy">
                  <c:v>39078</c:v>
                </c:pt>
                <c:pt idx="1457" formatCode="m/d/yyyy">
                  <c:v>39079</c:v>
                </c:pt>
                <c:pt idx="1458" formatCode="m/d/yyyy">
                  <c:v>39080</c:v>
                </c:pt>
                <c:pt idx="1459" formatCode="m/d/yyyy">
                  <c:v>39081</c:v>
                </c:pt>
                <c:pt idx="1460" formatCode="m/d/yyyy">
                  <c:v>39082</c:v>
                </c:pt>
                <c:pt idx="1461" formatCode="m/d/yyyy">
                  <c:v>39083</c:v>
                </c:pt>
                <c:pt idx="1462" formatCode="m/d/yyyy">
                  <c:v>39084</c:v>
                </c:pt>
                <c:pt idx="1463" formatCode="m/d/yyyy">
                  <c:v>39085</c:v>
                </c:pt>
                <c:pt idx="1464" formatCode="m/d/yyyy">
                  <c:v>39086</c:v>
                </c:pt>
                <c:pt idx="1465" formatCode="m/d/yyyy">
                  <c:v>39087</c:v>
                </c:pt>
                <c:pt idx="1466" formatCode="m/d/yyyy">
                  <c:v>39088</c:v>
                </c:pt>
                <c:pt idx="1467" formatCode="m/d/yyyy">
                  <c:v>39089</c:v>
                </c:pt>
                <c:pt idx="1468" formatCode="m/d/yyyy">
                  <c:v>39090</c:v>
                </c:pt>
                <c:pt idx="1469" formatCode="m/d/yyyy">
                  <c:v>39091</c:v>
                </c:pt>
                <c:pt idx="1470" formatCode="m/d/yyyy">
                  <c:v>39092</c:v>
                </c:pt>
                <c:pt idx="1471" formatCode="m/d/yyyy">
                  <c:v>39093</c:v>
                </c:pt>
                <c:pt idx="1472" formatCode="m/d/yyyy">
                  <c:v>39094</c:v>
                </c:pt>
                <c:pt idx="1473" formatCode="m/d/yyyy">
                  <c:v>39095</c:v>
                </c:pt>
                <c:pt idx="1474" formatCode="m/d/yyyy">
                  <c:v>39096</c:v>
                </c:pt>
                <c:pt idx="1475" formatCode="m/d/yyyy">
                  <c:v>39097</c:v>
                </c:pt>
                <c:pt idx="1476" formatCode="m/d/yyyy">
                  <c:v>39098</c:v>
                </c:pt>
                <c:pt idx="1477" formatCode="m/d/yyyy">
                  <c:v>39099</c:v>
                </c:pt>
                <c:pt idx="1478" formatCode="m/d/yyyy">
                  <c:v>39100</c:v>
                </c:pt>
                <c:pt idx="1479" formatCode="m/d/yyyy">
                  <c:v>39101</c:v>
                </c:pt>
                <c:pt idx="1480" formatCode="m/d/yyyy">
                  <c:v>39102</c:v>
                </c:pt>
                <c:pt idx="1481" formatCode="m/d/yyyy">
                  <c:v>39103</c:v>
                </c:pt>
                <c:pt idx="1482" formatCode="m/d/yyyy">
                  <c:v>39104</c:v>
                </c:pt>
                <c:pt idx="1483" formatCode="m/d/yyyy">
                  <c:v>39105</c:v>
                </c:pt>
                <c:pt idx="1484" formatCode="m/d/yyyy">
                  <c:v>39106</c:v>
                </c:pt>
                <c:pt idx="1485" formatCode="m/d/yyyy">
                  <c:v>39107</c:v>
                </c:pt>
                <c:pt idx="1486" formatCode="m/d/yyyy">
                  <c:v>39108</c:v>
                </c:pt>
                <c:pt idx="1487" formatCode="m/d/yyyy">
                  <c:v>39109</c:v>
                </c:pt>
                <c:pt idx="1488" formatCode="m/d/yyyy">
                  <c:v>39110</c:v>
                </c:pt>
                <c:pt idx="1489" formatCode="m/d/yyyy">
                  <c:v>39111</c:v>
                </c:pt>
                <c:pt idx="1490" formatCode="m/d/yyyy">
                  <c:v>39112</c:v>
                </c:pt>
                <c:pt idx="1491" formatCode="m/d/yyyy">
                  <c:v>39113</c:v>
                </c:pt>
                <c:pt idx="1492" formatCode="m/d/yyyy">
                  <c:v>39114</c:v>
                </c:pt>
                <c:pt idx="1493" formatCode="m/d/yyyy">
                  <c:v>39115</c:v>
                </c:pt>
                <c:pt idx="1494" formatCode="m/d/yyyy">
                  <c:v>39116</c:v>
                </c:pt>
                <c:pt idx="1495" formatCode="m/d/yyyy">
                  <c:v>39117</c:v>
                </c:pt>
                <c:pt idx="1496" formatCode="m/d/yyyy">
                  <c:v>39118</c:v>
                </c:pt>
                <c:pt idx="1497" formatCode="m/d/yyyy">
                  <c:v>39119</c:v>
                </c:pt>
                <c:pt idx="1498" formatCode="m/d/yyyy">
                  <c:v>39120</c:v>
                </c:pt>
                <c:pt idx="1499" formatCode="m/d/yyyy">
                  <c:v>39121</c:v>
                </c:pt>
                <c:pt idx="1500" formatCode="m/d/yyyy">
                  <c:v>39122</c:v>
                </c:pt>
                <c:pt idx="1501" formatCode="m/d/yyyy">
                  <c:v>39123</c:v>
                </c:pt>
                <c:pt idx="1502" formatCode="m/d/yyyy">
                  <c:v>39124</c:v>
                </c:pt>
                <c:pt idx="1503" formatCode="m/d/yyyy">
                  <c:v>39125</c:v>
                </c:pt>
                <c:pt idx="1504" formatCode="m/d/yyyy">
                  <c:v>39126</c:v>
                </c:pt>
                <c:pt idx="1505" formatCode="m/d/yyyy">
                  <c:v>39127</c:v>
                </c:pt>
                <c:pt idx="1506" formatCode="m/d/yyyy">
                  <c:v>39128</c:v>
                </c:pt>
                <c:pt idx="1507" formatCode="m/d/yyyy">
                  <c:v>39129</c:v>
                </c:pt>
                <c:pt idx="1508" formatCode="m/d/yyyy">
                  <c:v>39130</c:v>
                </c:pt>
                <c:pt idx="1509" formatCode="m/d/yyyy">
                  <c:v>39131</c:v>
                </c:pt>
                <c:pt idx="1510" formatCode="m/d/yyyy">
                  <c:v>39132</c:v>
                </c:pt>
                <c:pt idx="1511" formatCode="m/d/yyyy">
                  <c:v>39133</c:v>
                </c:pt>
                <c:pt idx="1512" formatCode="m/d/yyyy">
                  <c:v>39134</c:v>
                </c:pt>
                <c:pt idx="1513" formatCode="m/d/yyyy">
                  <c:v>39135</c:v>
                </c:pt>
                <c:pt idx="1514" formatCode="m/d/yyyy">
                  <c:v>39136</c:v>
                </c:pt>
                <c:pt idx="1515" formatCode="m/d/yyyy">
                  <c:v>39137</c:v>
                </c:pt>
                <c:pt idx="1516" formatCode="m/d/yyyy">
                  <c:v>39138</c:v>
                </c:pt>
                <c:pt idx="1517" formatCode="m/d/yyyy">
                  <c:v>39139</c:v>
                </c:pt>
                <c:pt idx="1518" formatCode="m/d/yyyy">
                  <c:v>39140</c:v>
                </c:pt>
                <c:pt idx="1519" formatCode="m/d/yyyy">
                  <c:v>39141</c:v>
                </c:pt>
                <c:pt idx="1520" formatCode="m/d/yyyy">
                  <c:v>39142</c:v>
                </c:pt>
                <c:pt idx="1521" formatCode="m/d/yyyy">
                  <c:v>39143</c:v>
                </c:pt>
                <c:pt idx="1522" formatCode="m/d/yyyy">
                  <c:v>39144</c:v>
                </c:pt>
                <c:pt idx="1523" formatCode="m/d/yyyy">
                  <c:v>39145</c:v>
                </c:pt>
                <c:pt idx="1524" formatCode="m/d/yyyy">
                  <c:v>39146</c:v>
                </c:pt>
                <c:pt idx="1525" formatCode="m/d/yyyy">
                  <c:v>39147</c:v>
                </c:pt>
                <c:pt idx="1526" formatCode="m/d/yyyy">
                  <c:v>39148</c:v>
                </c:pt>
                <c:pt idx="1527" formatCode="m/d/yyyy">
                  <c:v>39149</c:v>
                </c:pt>
                <c:pt idx="1528" formatCode="m/d/yyyy">
                  <c:v>39150</c:v>
                </c:pt>
                <c:pt idx="1529" formatCode="m/d/yyyy">
                  <c:v>39151</c:v>
                </c:pt>
                <c:pt idx="1530" formatCode="m/d/yyyy">
                  <c:v>39152</c:v>
                </c:pt>
                <c:pt idx="1531" formatCode="m/d/yyyy">
                  <c:v>39153</c:v>
                </c:pt>
                <c:pt idx="1532" formatCode="m/d/yyyy">
                  <c:v>39154</c:v>
                </c:pt>
                <c:pt idx="1533" formatCode="m/d/yyyy">
                  <c:v>39155</c:v>
                </c:pt>
                <c:pt idx="1534" formatCode="m/d/yyyy">
                  <c:v>39156</c:v>
                </c:pt>
                <c:pt idx="1535" formatCode="m/d/yyyy">
                  <c:v>39157</c:v>
                </c:pt>
                <c:pt idx="1536" formatCode="m/d/yyyy">
                  <c:v>39158</c:v>
                </c:pt>
                <c:pt idx="1537" formatCode="m/d/yyyy">
                  <c:v>39159</c:v>
                </c:pt>
                <c:pt idx="1538" formatCode="m/d/yyyy">
                  <c:v>39160</c:v>
                </c:pt>
                <c:pt idx="1539" formatCode="m/d/yyyy">
                  <c:v>39161</c:v>
                </c:pt>
                <c:pt idx="1540" formatCode="m/d/yyyy">
                  <c:v>39162</c:v>
                </c:pt>
                <c:pt idx="1541" formatCode="m/d/yyyy">
                  <c:v>39163</c:v>
                </c:pt>
                <c:pt idx="1542" formatCode="m/d/yyyy">
                  <c:v>39164</c:v>
                </c:pt>
                <c:pt idx="1543" formatCode="m/d/yyyy">
                  <c:v>39165</c:v>
                </c:pt>
                <c:pt idx="1544" formatCode="m/d/yyyy">
                  <c:v>39166</c:v>
                </c:pt>
                <c:pt idx="1545" formatCode="m/d/yyyy">
                  <c:v>39167</c:v>
                </c:pt>
                <c:pt idx="1546" formatCode="m/d/yyyy">
                  <c:v>39168</c:v>
                </c:pt>
                <c:pt idx="1547" formatCode="m/d/yyyy">
                  <c:v>39169</c:v>
                </c:pt>
                <c:pt idx="1548" formatCode="m/d/yyyy">
                  <c:v>39170</c:v>
                </c:pt>
                <c:pt idx="1549" formatCode="m/d/yyyy">
                  <c:v>39171</c:v>
                </c:pt>
                <c:pt idx="1550" formatCode="m/d/yyyy">
                  <c:v>39172</c:v>
                </c:pt>
                <c:pt idx="1551" formatCode="m/d/yyyy">
                  <c:v>39173</c:v>
                </c:pt>
                <c:pt idx="1552" formatCode="m/d/yyyy">
                  <c:v>39174</c:v>
                </c:pt>
                <c:pt idx="1553" formatCode="m/d/yyyy">
                  <c:v>39175</c:v>
                </c:pt>
                <c:pt idx="1554" formatCode="m/d/yyyy">
                  <c:v>39176</c:v>
                </c:pt>
                <c:pt idx="1555" formatCode="m/d/yyyy">
                  <c:v>39177</c:v>
                </c:pt>
                <c:pt idx="1556" formatCode="m/d/yyyy">
                  <c:v>39178</c:v>
                </c:pt>
                <c:pt idx="1557" formatCode="m/d/yyyy">
                  <c:v>39179</c:v>
                </c:pt>
                <c:pt idx="1558" formatCode="m/d/yyyy">
                  <c:v>39180</c:v>
                </c:pt>
                <c:pt idx="1559" formatCode="m/d/yyyy">
                  <c:v>39181</c:v>
                </c:pt>
                <c:pt idx="1560" formatCode="m/d/yyyy">
                  <c:v>39182</c:v>
                </c:pt>
                <c:pt idx="1561" formatCode="m/d/yyyy">
                  <c:v>39183</c:v>
                </c:pt>
                <c:pt idx="1562" formatCode="m/d/yyyy">
                  <c:v>39184</c:v>
                </c:pt>
                <c:pt idx="1563" formatCode="m/d/yyyy">
                  <c:v>39185</c:v>
                </c:pt>
                <c:pt idx="1564" formatCode="m/d/yyyy">
                  <c:v>39186</c:v>
                </c:pt>
                <c:pt idx="1565" formatCode="m/d/yyyy">
                  <c:v>39187</c:v>
                </c:pt>
                <c:pt idx="1566" formatCode="m/d/yyyy">
                  <c:v>39188</c:v>
                </c:pt>
                <c:pt idx="1567" formatCode="m/d/yyyy">
                  <c:v>39189</c:v>
                </c:pt>
                <c:pt idx="1568" formatCode="m/d/yyyy">
                  <c:v>39190</c:v>
                </c:pt>
                <c:pt idx="1569" formatCode="m/d/yyyy">
                  <c:v>39191</c:v>
                </c:pt>
                <c:pt idx="1570" formatCode="m/d/yyyy">
                  <c:v>39192</c:v>
                </c:pt>
                <c:pt idx="1571" formatCode="m/d/yyyy">
                  <c:v>39193</c:v>
                </c:pt>
                <c:pt idx="1572" formatCode="m/d/yyyy">
                  <c:v>39194</c:v>
                </c:pt>
                <c:pt idx="1573" formatCode="m/d/yyyy">
                  <c:v>39195</c:v>
                </c:pt>
                <c:pt idx="1574" formatCode="m/d/yyyy">
                  <c:v>39196</c:v>
                </c:pt>
                <c:pt idx="1575" formatCode="m/d/yyyy">
                  <c:v>39197</c:v>
                </c:pt>
                <c:pt idx="1576" formatCode="m/d/yyyy">
                  <c:v>39198</c:v>
                </c:pt>
                <c:pt idx="1577" formatCode="m/d/yyyy">
                  <c:v>39199</c:v>
                </c:pt>
                <c:pt idx="1578" formatCode="m/d/yyyy">
                  <c:v>39200</c:v>
                </c:pt>
                <c:pt idx="1579" formatCode="m/d/yyyy">
                  <c:v>39201</c:v>
                </c:pt>
                <c:pt idx="1580" formatCode="m/d/yyyy">
                  <c:v>39202</c:v>
                </c:pt>
                <c:pt idx="1581" formatCode="m/d/yyyy">
                  <c:v>39203</c:v>
                </c:pt>
                <c:pt idx="1582" formatCode="m/d/yyyy">
                  <c:v>39204</c:v>
                </c:pt>
                <c:pt idx="1583" formatCode="m/d/yyyy">
                  <c:v>39205</c:v>
                </c:pt>
                <c:pt idx="1584" formatCode="m/d/yyyy">
                  <c:v>39206</c:v>
                </c:pt>
                <c:pt idx="1585" formatCode="m/d/yyyy">
                  <c:v>39207</c:v>
                </c:pt>
                <c:pt idx="1586" formatCode="m/d/yyyy">
                  <c:v>39208</c:v>
                </c:pt>
                <c:pt idx="1587" formatCode="m/d/yyyy">
                  <c:v>39209</c:v>
                </c:pt>
                <c:pt idx="1588" formatCode="m/d/yyyy">
                  <c:v>39210</c:v>
                </c:pt>
                <c:pt idx="1589" formatCode="m/d/yyyy">
                  <c:v>39211</c:v>
                </c:pt>
                <c:pt idx="1590" formatCode="m/d/yyyy">
                  <c:v>39212</c:v>
                </c:pt>
                <c:pt idx="1591" formatCode="m/d/yyyy">
                  <c:v>39213</c:v>
                </c:pt>
                <c:pt idx="1592" formatCode="m/d/yyyy">
                  <c:v>39214</c:v>
                </c:pt>
                <c:pt idx="1593" formatCode="m/d/yyyy">
                  <c:v>39215</c:v>
                </c:pt>
                <c:pt idx="1594" formatCode="m/d/yyyy">
                  <c:v>39216</c:v>
                </c:pt>
                <c:pt idx="1595" formatCode="m/d/yyyy">
                  <c:v>39217</c:v>
                </c:pt>
                <c:pt idx="1596" formatCode="m/d/yyyy">
                  <c:v>39218</c:v>
                </c:pt>
                <c:pt idx="1597" formatCode="m/d/yyyy">
                  <c:v>39219</c:v>
                </c:pt>
                <c:pt idx="1598" formatCode="m/d/yyyy">
                  <c:v>39220</c:v>
                </c:pt>
                <c:pt idx="1599" formatCode="m/d/yyyy">
                  <c:v>39221</c:v>
                </c:pt>
                <c:pt idx="1600" formatCode="m/d/yyyy">
                  <c:v>39222</c:v>
                </c:pt>
                <c:pt idx="1601" formatCode="m/d/yyyy">
                  <c:v>39223</c:v>
                </c:pt>
                <c:pt idx="1602" formatCode="m/d/yyyy">
                  <c:v>39224</c:v>
                </c:pt>
                <c:pt idx="1603" formatCode="m/d/yyyy">
                  <c:v>39225</c:v>
                </c:pt>
                <c:pt idx="1604" formatCode="m/d/yyyy">
                  <c:v>39226</c:v>
                </c:pt>
                <c:pt idx="1605" formatCode="m/d/yyyy">
                  <c:v>39227</c:v>
                </c:pt>
                <c:pt idx="1606" formatCode="m/d/yyyy">
                  <c:v>39228</c:v>
                </c:pt>
                <c:pt idx="1607" formatCode="m/d/yyyy">
                  <c:v>39229</c:v>
                </c:pt>
                <c:pt idx="1608" formatCode="m/d/yyyy">
                  <c:v>39230</c:v>
                </c:pt>
                <c:pt idx="1609" formatCode="m/d/yyyy">
                  <c:v>39231</c:v>
                </c:pt>
                <c:pt idx="1610" formatCode="m/d/yyyy">
                  <c:v>39232</c:v>
                </c:pt>
                <c:pt idx="1611" formatCode="m/d/yyyy">
                  <c:v>39233</c:v>
                </c:pt>
                <c:pt idx="1612" formatCode="m/d/yyyy">
                  <c:v>39234</c:v>
                </c:pt>
                <c:pt idx="1613" formatCode="m/d/yyyy">
                  <c:v>39235</c:v>
                </c:pt>
                <c:pt idx="1614" formatCode="m/d/yyyy">
                  <c:v>39236</c:v>
                </c:pt>
                <c:pt idx="1615" formatCode="m/d/yyyy">
                  <c:v>39237</c:v>
                </c:pt>
                <c:pt idx="1616" formatCode="m/d/yyyy">
                  <c:v>39238</c:v>
                </c:pt>
                <c:pt idx="1617" formatCode="m/d/yyyy">
                  <c:v>39239</c:v>
                </c:pt>
                <c:pt idx="1618" formatCode="m/d/yyyy">
                  <c:v>39240</c:v>
                </c:pt>
                <c:pt idx="1619" formatCode="m/d/yyyy">
                  <c:v>39241</c:v>
                </c:pt>
                <c:pt idx="1620" formatCode="m/d/yyyy">
                  <c:v>39242</c:v>
                </c:pt>
                <c:pt idx="1621" formatCode="m/d/yyyy">
                  <c:v>39243</c:v>
                </c:pt>
                <c:pt idx="1622" formatCode="m/d/yyyy">
                  <c:v>39244</c:v>
                </c:pt>
                <c:pt idx="1623" formatCode="m/d/yyyy">
                  <c:v>39245</c:v>
                </c:pt>
                <c:pt idx="1624" formatCode="m/d/yyyy">
                  <c:v>39246</c:v>
                </c:pt>
                <c:pt idx="1625" formatCode="m/d/yyyy">
                  <c:v>39247</c:v>
                </c:pt>
                <c:pt idx="1626" formatCode="m/d/yyyy">
                  <c:v>39248</c:v>
                </c:pt>
                <c:pt idx="1627" formatCode="m/d/yyyy">
                  <c:v>39249</c:v>
                </c:pt>
                <c:pt idx="1628" formatCode="m/d/yyyy">
                  <c:v>39250</c:v>
                </c:pt>
                <c:pt idx="1629" formatCode="m/d/yyyy">
                  <c:v>39251</c:v>
                </c:pt>
                <c:pt idx="1630" formatCode="m/d/yyyy">
                  <c:v>39252</c:v>
                </c:pt>
                <c:pt idx="1631" formatCode="m/d/yyyy">
                  <c:v>39253</c:v>
                </c:pt>
                <c:pt idx="1632" formatCode="m/d/yyyy">
                  <c:v>39254</c:v>
                </c:pt>
                <c:pt idx="1633" formatCode="m/d/yyyy">
                  <c:v>39255</c:v>
                </c:pt>
                <c:pt idx="1634" formatCode="m/d/yyyy">
                  <c:v>39256</c:v>
                </c:pt>
                <c:pt idx="1635" formatCode="m/d/yyyy">
                  <c:v>39257</c:v>
                </c:pt>
                <c:pt idx="1636" formatCode="m/d/yyyy">
                  <c:v>39258</c:v>
                </c:pt>
                <c:pt idx="1637" formatCode="m/d/yyyy">
                  <c:v>39259</c:v>
                </c:pt>
                <c:pt idx="1638" formatCode="m/d/yyyy">
                  <c:v>39260</c:v>
                </c:pt>
                <c:pt idx="1639" formatCode="m/d/yyyy">
                  <c:v>39261</c:v>
                </c:pt>
                <c:pt idx="1640" formatCode="m/d/yyyy">
                  <c:v>39262</c:v>
                </c:pt>
                <c:pt idx="1641" formatCode="m/d/yyyy">
                  <c:v>39263</c:v>
                </c:pt>
                <c:pt idx="1642" formatCode="m/d/yyyy">
                  <c:v>39264</c:v>
                </c:pt>
                <c:pt idx="1643" formatCode="m/d/yyyy">
                  <c:v>39265</c:v>
                </c:pt>
                <c:pt idx="1644" formatCode="m/d/yyyy">
                  <c:v>39266</c:v>
                </c:pt>
                <c:pt idx="1645" formatCode="m/d/yyyy">
                  <c:v>39267</c:v>
                </c:pt>
                <c:pt idx="1646" formatCode="m/d/yyyy">
                  <c:v>39268</c:v>
                </c:pt>
                <c:pt idx="1647" formatCode="m/d/yyyy">
                  <c:v>39269</c:v>
                </c:pt>
                <c:pt idx="1648" formatCode="m/d/yyyy">
                  <c:v>39270</c:v>
                </c:pt>
                <c:pt idx="1649" formatCode="m/d/yyyy">
                  <c:v>39271</c:v>
                </c:pt>
                <c:pt idx="1650" formatCode="m/d/yyyy">
                  <c:v>39272</c:v>
                </c:pt>
                <c:pt idx="1651" formatCode="m/d/yyyy">
                  <c:v>39273</c:v>
                </c:pt>
                <c:pt idx="1652" formatCode="m/d/yyyy">
                  <c:v>39274</c:v>
                </c:pt>
                <c:pt idx="1653" formatCode="m/d/yyyy">
                  <c:v>39275</c:v>
                </c:pt>
                <c:pt idx="1654" formatCode="m/d/yyyy">
                  <c:v>39276</c:v>
                </c:pt>
                <c:pt idx="1655" formatCode="m/d/yyyy">
                  <c:v>39277</c:v>
                </c:pt>
                <c:pt idx="1656" formatCode="m/d/yyyy">
                  <c:v>39278</c:v>
                </c:pt>
                <c:pt idx="1657" formatCode="m/d/yyyy">
                  <c:v>39279</c:v>
                </c:pt>
                <c:pt idx="1658" formatCode="m/d/yyyy">
                  <c:v>39280</c:v>
                </c:pt>
                <c:pt idx="1659" formatCode="m/d/yyyy">
                  <c:v>39281</c:v>
                </c:pt>
                <c:pt idx="1660" formatCode="m/d/yyyy">
                  <c:v>39282</c:v>
                </c:pt>
                <c:pt idx="1661" formatCode="m/d/yyyy">
                  <c:v>39283</c:v>
                </c:pt>
                <c:pt idx="1662" formatCode="m/d/yyyy">
                  <c:v>39284</c:v>
                </c:pt>
                <c:pt idx="1663" formatCode="m/d/yyyy">
                  <c:v>39285</c:v>
                </c:pt>
                <c:pt idx="1664" formatCode="m/d/yyyy">
                  <c:v>39286</c:v>
                </c:pt>
                <c:pt idx="1665" formatCode="m/d/yyyy">
                  <c:v>39287</c:v>
                </c:pt>
                <c:pt idx="1666" formatCode="m/d/yyyy">
                  <c:v>39288</c:v>
                </c:pt>
                <c:pt idx="1667" formatCode="m/d/yyyy">
                  <c:v>39289</c:v>
                </c:pt>
                <c:pt idx="1668" formatCode="m/d/yyyy">
                  <c:v>39290</c:v>
                </c:pt>
                <c:pt idx="1669" formatCode="m/d/yyyy">
                  <c:v>39291</c:v>
                </c:pt>
                <c:pt idx="1670" formatCode="m/d/yyyy">
                  <c:v>39292</c:v>
                </c:pt>
                <c:pt idx="1671" formatCode="m/d/yyyy">
                  <c:v>39293</c:v>
                </c:pt>
                <c:pt idx="1672" formatCode="m/d/yyyy">
                  <c:v>39294</c:v>
                </c:pt>
                <c:pt idx="1673" formatCode="m/d/yyyy">
                  <c:v>39295</c:v>
                </c:pt>
                <c:pt idx="1674" formatCode="m/d/yyyy">
                  <c:v>39296</c:v>
                </c:pt>
                <c:pt idx="1675" formatCode="m/d/yyyy">
                  <c:v>39297</c:v>
                </c:pt>
                <c:pt idx="1676" formatCode="m/d/yyyy">
                  <c:v>39298</c:v>
                </c:pt>
                <c:pt idx="1677" formatCode="m/d/yyyy">
                  <c:v>39299</c:v>
                </c:pt>
                <c:pt idx="1678" formatCode="m/d/yyyy">
                  <c:v>39300</c:v>
                </c:pt>
                <c:pt idx="1679" formatCode="m/d/yyyy">
                  <c:v>39301</c:v>
                </c:pt>
                <c:pt idx="1680" formatCode="m/d/yyyy">
                  <c:v>39302</c:v>
                </c:pt>
                <c:pt idx="1681" formatCode="m/d/yyyy">
                  <c:v>39303</c:v>
                </c:pt>
                <c:pt idx="1682" formatCode="m/d/yyyy">
                  <c:v>39304</c:v>
                </c:pt>
                <c:pt idx="1683" formatCode="m/d/yyyy">
                  <c:v>39305</c:v>
                </c:pt>
                <c:pt idx="1684" formatCode="m/d/yyyy">
                  <c:v>39306</c:v>
                </c:pt>
                <c:pt idx="1685" formatCode="m/d/yyyy">
                  <c:v>39307</c:v>
                </c:pt>
                <c:pt idx="1686" formatCode="m/d/yyyy">
                  <c:v>39308</c:v>
                </c:pt>
                <c:pt idx="1687" formatCode="m/d/yyyy">
                  <c:v>39309</c:v>
                </c:pt>
                <c:pt idx="1688" formatCode="m/d/yyyy">
                  <c:v>39310</c:v>
                </c:pt>
                <c:pt idx="1689" formatCode="m/d/yyyy">
                  <c:v>39311</c:v>
                </c:pt>
                <c:pt idx="1690" formatCode="m/d/yyyy">
                  <c:v>39312</c:v>
                </c:pt>
                <c:pt idx="1691" formatCode="m/d/yyyy">
                  <c:v>39313</c:v>
                </c:pt>
                <c:pt idx="1692" formatCode="m/d/yyyy">
                  <c:v>39314</c:v>
                </c:pt>
                <c:pt idx="1693" formatCode="m/d/yyyy">
                  <c:v>39315</c:v>
                </c:pt>
                <c:pt idx="1694" formatCode="m/d/yyyy">
                  <c:v>39316</c:v>
                </c:pt>
                <c:pt idx="1695" formatCode="m/d/yyyy">
                  <c:v>39317</c:v>
                </c:pt>
                <c:pt idx="1696" formatCode="m/d/yyyy">
                  <c:v>39318</c:v>
                </c:pt>
                <c:pt idx="1697" formatCode="m/d/yyyy">
                  <c:v>39319</c:v>
                </c:pt>
                <c:pt idx="1698" formatCode="m/d/yyyy">
                  <c:v>39320</c:v>
                </c:pt>
                <c:pt idx="1699" formatCode="m/d/yyyy">
                  <c:v>39321</c:v>
                </c:pt>
                <c:pt idx="1700" formatCode="m/d/yyyy">
                  <c:v>39322</c:v>
                </c:pt>
                <c:pt idx="1701" formatCode="m/d/yyyy">
                  <c:v>39323</c:v>
                </c:pt>
                <c:pt idx="1702" formatCode="m/d/yyyy">
                  <c:v>39324</c:v>
                </c:pt>
                <c:pt idx="1703" formatCode="m/d/yyyy">
                  <c:v>39325</c:v>
                </c:pt>
                <c:pt idx="1704" formatCode="m/d/yyyy">
                  <c:v>39326</c:v>
                </c:pt>
                <c:pt idx="1705" formatCode="m/d/yyyy">
                  <c:v>39327</c:v>
                </c:pt>
                <c:pt idx="1706" formatCode="m/d/yyyy">
                  <c:v>39328</c:v>
                </c:pt>
                <c:pt idx="1707" formatCode="m/d/yyyy">
                  <c:v>39329</c:v>
                </c:pt>
                <c:pt idx="1708" formatCode="m/d/yyyy">
                  <c:v>39330</c:v>
                </c:pt>
                <c:pt idx="1709" formatCode="m/d/yyyy">
                  <c:v>39331</c:v>
                </c:pt>
                <c:pt idx="1710" formatCode="m/d/yyyy">
                  <c:v>39332</c:v>
                </c:pt>
                <c:pt idx="1711" formatCode="m/d/yyyy">
                  <c:v>39333</c:v>
                </c:pt>
                <c:pt idx="1712" formatCode="m/d/yyyy">
                  <c:v>39334</c:v>
                </c:pt>
                <c:pt idx="1713" formatCode="m/d/yyyy">
                  <c:v>39335</c:v>
                </c:pt>
                <c:pt idx="1714" formatCode="m/d/yyyy">
                  <c:v>39336</c:v>
                </c:pt>
                <c:pt idx="1715" formatCode="m/d/yyyy">
                  <c:v>39337</c:v>
                </c:pt>
                <c:pt idx="1716" formatCode="m/d/yyyy">
                  <c:v>39338</c:v>
                </c:pt>
                <c:pt idx="1717" formatCode="m/d/yyyy">
                  <c:v>39339</c:v>
                </c:pt>
                <c:pt idx="1718" formatCode="m/d/yyyy">
                  <c:v>39340</c:v>
                </c:pt>
                <c:pt idx="1719" formatCode="m/d/yyyy">
                  <c:v>39341</c:v>
                </c:pt>
                <c:pt idx="1720" formatCode="m/d/yyyy">
                  <c:v>39342</c:v>
                </c:pt>
                <c:pt idx="1721" formatCode="m/d/yyyy">
                  <c:v>39343</c:v>
                </c:pt>
                <c:pt idx="1722" formatCode="m/d/yyyy">
                  <c:v>39344</c:v>
                </c:pt>
                <c:pt idx="1723" formatCode="m/d/yyyy">
                  <c:v>39345</c:v>
                </c:pt>
                <c:pt idx="1724" formatCode="m/d/yyyy">
                  <c:v>39346</c:v>
                </c:pt>
                <c:pt idx="1725" formatCode="m/d/yyyy">
                  <c:v>39347</c:v>
                </c:pt>
                <c:pt idx="1726" formatCode="m/d/yyyy">
                  <c:v>39348</c:v>
                </c:pt>
                <c:pt idx="1727" formatCode="m/d/yyyy">
                  <c:v>39349</c:v>
                </c:pt>
                <c:pt idx="1728" formatCode="m/d/yyyy">
                  <c:v>39350</c:v>
                </c:pt>
                <c:pt idx="1729" formatCode="m/d/yyyy">
                  <c:v>39351</c:v>
                </c:pt>
                <c:pt idx="1730" formatCode="m/d/yyyy">
                  <c:v>39352</c:v>
                </c:pt>
                <c:pt idx="1731" formatCode="m/d/yyyy">
                  <c:v>39353</c:v>
                </c:pt>
                <c:pt idx="1732" formatCode="m/d/yyyy">
                  <c:v>39354</c:v>
                </c:pt>
                <c:pt idx="1733" formatCode="m/d/yyyy">
                  <c:v>39355</c:v>
                </c:pt>
                <c:pt idx="1734" formatCode="m/d/yyyy">
                  <c:v>39356</c:v>
                </c:pt>
                <c:pt idx="1735" formatCode="m/d/yyyy">
                  <c:v>39357</c:v>
                </c:pt>
                <c:pt idx="1736" formatCode="m/d/yyyy">
                  <c:v>39358</c:v>
                </c:pt>
                <c:pt idx="1737" formatCode="m/d/yyyy">
                  <c:v>39359</c:v>
                </c:pt>
                <c:pt idx="1738" formatCode="m/d/yyyy">
                  <c:v>39360</c:v>
                </c:pt>
                <c:pt idx="1739" formatCode="m/d/yyyy">
                  <c:v>39361</c:v>
                </c:pt>
                <c:pt idx="1740" formatCode="m/d/yyyy">
                  <c:v>39362</c:v>
                </c:pt>
                <c:pt idx="1741" formatCode="m/d/yyyy">
                  <c:v>39363</c:v>
                </c:pt>
                <c:pt idx="1742" formatCode="m/d/yyyy">
                  <c:v>39364</c:v>
                </c:pt>
                <c:pt idx="1743" formatCode="m/d/yyyy">
                  <c:v>39365</c:v>
                </c:pt>
                <c:pt idx="1744" formatCode="m/d/yyyy">
                  <c:v>39366</c:v>
                </c:pt>
                <c:pt idx="1745" formatCode="m/d/yyyy">
                  <c:v>39367</c:v>
                </c:pt>
                <c:pt idx="1746" formatCode="m/d/yyyy">
                  <c:v>39368</c:v>
                </c:pt>
                <c:pt idx="1747" formatCode="m/d/yyyy">
                  <c:v>39369</c:v>
                </c:pt>
                <c:pt idx="1748" formatCode="m/d/yyyy">
                  <c:v>39370</c:v>
                </c:pt>
                <c:pt idx="1749" formatCode="m/d/yyyy">
                  <c:v>39371</c:v>
                </c:pt>
                <c:pt idx="1750" formatCode="m/d/yyyy">
                  <c:v>39372</c:v>
                </c:pt>
                <c:pt idx="1751" formatCode="m/d/yyyy">
                  <c:v>39373</c:v>
                </c:pt>
                <c:pt idx="1752" formatCode="m/d/yyyy">
                  <c:v>39374</c:v>
                </c:pt>
                <c:pt idx="1753" formatCode="m/d/yyyy">
                  <c:v>39375</c:v>
                </c:pt>
                <c:pt idx="1754" formatCode="m/d/yyyy">
                  <c:v>39376</c:v>
                </c:pt>
                <c:pt idx="1755" formatCode="m/d/yyyy">
                  <c:v>39377</c:v>
                </c:pt>
                <c:pt idx="1756" formatCode="m/d/yyyy">
                  <c:v>39378</c:v>
                </c:pt>
                <c:pt idx="1757" formatCode="m/d/yyyy">
                  <c:v>39379</c:v>
                </c:pt>
                <c:pt idx="1758" formatCode="m/d/yyyy">
                  <c:v>39380</c:v>
                </c:pt>
                <c:pt idx="1759" formatCode="m/d/yyyy">
                  <c:v>39381</c:v>
                </c:pt>
                <c:pt idx="1760" formatCode="m/d/yyyy">
                  <c:v>39382</c:v>
                </c:pt>
                <c:pt idx="1761" formatCode="m/d/yyyy">
                  <c:v>39383</c:v>
                </c:pt>
                <c:pt idx="1762" formatCode="m/d/yyyy">
                  <c:v>39384</c:v>
                </c:pt>
                <c:pt idx="1763" formatCode="m/d/yyyy">
                  <c:v>39385</c:v>
                </c:pt>
                <c:pt idx="1764" formatCode="m/d/yyyy">
                  <c:v>39386</c:v>
                </c:pt>
                <c:pt idx="1765" formatCode="m/d/yyyy">
                  <c:v>39387</c:v>
                </c:pt>
                <c:pt idx="1766" formatCode="m/d/yyyy">
                  <c:v>39388</c:v>
                </c:pt>
                <c:pt idx="1767" formatCode="m/d/yyyy">
                  <c:v>39389</c:v>
                </c:pt>
                <c:pt idx="1768" formatCode="m/d/yyyy">
                  <c:v>39390</c:v>
                </c:pt>
                <c:pt idx="1769" formatCode="m/d/yyyy">
                  <c:v>39391</c:v>
                </c:pt>
                <c:pt idx="1770" formatCode="m/d/yyyy">
                  <c:v>39392</c:v>
                </c:pt>
                <c:pt idx="1771" formatCode="m/d/yyyy">
                  <c:v>39393</c:v>
                </c:pt>
                <c:pt idx="1772" formatCode="m/d/yyyy">
                  <c:v>39394</c:v>
                </c:pt>
                <c:pt idx="1773" formatCode="m/d/yyyy">
                  <c:v>39395</c:v>
                </c:pt>
                <c:pt idx="1774" formatCode="m/d/yyyy">
                  <c:v>39396</c:v>
                </c:pt>
                <c:pt idx="1775" formatCode="m/d/yyyy">
                  <c:v>39397</c:v>
                </c:pt>
                <c:pt idx="1776" formatCode="m/d/yyyy">
                  <c:v>39398</c:v>
                </c:pt>
                <c:pt idx="1777" formatCode="m/d/yyyy">
                  <c:v>39399</c:v>
                </c:pt>
                <c:pt idx="1778" formatCode="m/d/yyyy">
                  <c:v>39400</c:v>
                </c:pt>
                <c:pt idx="1779" formatCode="m/d/yyyy">
                  <c:v>39401</c:v>
                </c:pt>
                <c:pt idx="1780" formatCode="m/d/yyyy">
                  <c:v>39402</c:v>
                </c:pt>
                <c:pt idx="1781" formatCode="m/d/yyyy">
                  <c:v>39403</c:v>
                </c:pt>
                <c:pt idx="1782" formatCode="m/d/yyyy">
                  <c:v>39404</c:v>
                </c:pt>
                <c:pt idx="1783" formatCode="m/d/yyyy">
                  <c:v>39405</c:v>
                </c:pt>
                <c:pt idx="1784" formatCode="m/d/yyyy">
                  <c:v>39406</c:v>
                </c:pt>
                <c:pt idx="1785" formatCode="m/d/yyyy">
                  <c:v>39407</c:v>
                </c:pt>
                <c:pt idx="1786" formatCode="m/d/yyyy">
                  <c:v>39408</c:v>
                </c:pt>
                <c:pt idx="1787" formatCode="m/d/yyyy">
                  <c:v>39409</c:v>
                </c:pt>
                <c:pt idx="1788" formatCode="m/d/yyyy">
                  <c:v>39410</c:v>
                </c:pt>
                <c:pt idx="1789" formatCode="m/d/yyyy">
                  <c:v>39411</c:v>
                </c:pt>
                <c:pt idx="1790" formatCode="m/d/yyyy">
                  <c:v>39412</c:v>
                </c:pt>
                <c:pt idx="1791" formatCode="m/d/yyyy">
                  <c:v>39413</c:v>
                </c:pt>
                <c:pt idx="1792" formatCode="m/d/yyyy">
                  <c:v>39414</c:v>
                </c:pt>
                <c:pt idx="1793" formatCode="m/d/yyyy">
                  <c:v>39415</c:v>
                </c:pt>
                <c:pt idx="1794" formatCode="m/d/yyyy">
                  <c:v>39416</c:v>
                </c:pt>
                <c:pt idx="1795" formatCode="m/d/yyyy">
                  <c:v>39417</c:v>
                </c:pt>
                <c:pt idx="1796" formatCode="m/d/yyyy">
                  <c:v>39418</c:v>
                </c:pt>
                <c:pt idx="1797" formatCode="m/d/yyyy">
                  <c:v>39419</c:v>
                </c:pt>
                <c:pt idx="1798" formatCode="m/d/yyyy">
                  <c:v>39420</c:v>
                </c:pt>
                <c:pt idx="1799" formatCode="m/d/yyyy">
                  <c:v>39421</c:v>
                </c:pt>
                <c:pt idx="1800" formatCode="m/d/yyyy">
                  <c:v>39422</c:v>
                </c:pt>
                <c:pt idx="1801" formatCode="m/d/yyyy">
                  <c:v>39423</c:v>
                </c:pt>
                <c:pt idx="1802" formatCode="m/d/yyyy">
                  <c:v>39424</c:v>
                </c:pt>
                <c:pt idx="1803" formatCode="m/d/yyyy">
                  <c:v>39425</c:v>
                </c:pt>
                <c:pt idx="1804" formatCode="m/d/yyyy">
                  <c:v>39426</c:v>
                </c:pt>
                <c:pt idx="1805" formatCode="m/d/yyyy">
                  <c:v>39427</c:v>
                </c:pt>
                <c:pt idx="1806" formatCode="m/d/yyyy">
                  <c:v>39428</c:v>
                </c:pt>
                <c:pt idx="1807" formatCode="m/d/yyyy">
                  <c:v>39429</c:v>
                </c:pt>
                <c:pt idx="1808" formatCode="m/d/yyyy">
                  <c:v>39430</c:v>
                </c:pt>
                <c:pt idx="1809" formatCode="m/d/yyyy">
                  <c:v>39431</c:v>
                </c:pt>
                <c:pt idx="1810" formatCode="m/d/yyyy">
                  <c:v>39432</c:v>
                </c:pt>
                <c:pt idx="1811" formatCode="m/d/yyyy">
                  <c:v>39433</c:v>
                </c:pt>
                <c:pt idx="1812" formatCode="m/d/yyyy">
                  <c:v>39434</c:v>
                </c:pt>
                <c:pt idx="1813" formatCode="m/d/yyyy">
                  <c:v>39435</c:v>
                </c:pt>
                <c:pt idx="1814" formatCode="m/d/yyyy">
                  <c:v>39436</c:v>
                </c:pt>
                <c:pt idx="1815" formatCode="m/d/yyyy">
                  <c:v>39437</c:v>
                </c:pt>
                <c:pt idx="1816" formatCode="m/d/yyyy">
                  <c:v>39438</c:v>
                </c:pt>
                <c:pt idx="1817" formatCode="m/d/yyyy">
                  <c:v>39439</c:v>
                </c:pt>
                <c:pt idx="1818" formatCode="m/d/yyyy">
                  <c:v>39440</c:v>
                </c:pt>
                <c:pt idx="1819" formatCode="m/d/yyyy">
                  <c:v>39441</c:v>
                </c:pt>
                <c:pt idx="1820" formatCode="m/d/yyyy">
                  <c:v>39442</c:v>
                </c:pt>
                <c:pt idx="1821" formatCode="m/d/yyyy">
                  <c:v>39443</c:v>
                </c:pt>
                <c:pt idx="1822" formatCode="m/d/yyyy">
                  <c:v>39444</c:v>
                </c:pt>
                <c:pt idx="1823" formatCode="m/d/yyyy">
                  <c:v>39445</c:v>
                </c:pt>
                <c:pt idx="1824" formatCode="m/d/yyyy">
                  <c:v>39446</c:v>
                </c:pt>
                <c:pt idx="1825" formatCode="m/d/yyyy">
                  <c:v>39447</c:v>
                </c:pt>
                <c:pt idx="1826" formatCode="m/d/yyyy">
                  <c:v>39448</c:v>
                </c:pt>
                <c:pt idx="1827" formatCode="m/d/yyyy">
                  <c:v>39449</c:v>
                </c:pt>
                <c:pt idx="1828" formatCode="m/d/yyyy">
                  <c:v>39450</c:v>
                </c:pt>
                <c:pt idx="1829" formatCode="m/d/yyyy">
                  <c:v>39451</c:v>
                </c:pt>
                <c:pt idx="1830" formatCode="m/d/yyyy">
                  <c:v>39452</c:v>
                </c:pt>
                <c:pt idx="1831" formatCode="m/d/yyyy">
                  <c:v>39453</c:v>
                </c:pt>
                <c:pt idx="1832" formatCode="m/d/yyyy">
                  <c:v>39454</c:v>
                </c:pt>
                <c:pt idx="1833" formatCode="m/d/yyyy">
                  <c:v>39455</c:v>
                </c:pt>
                <c:pt idx="1834" formatCode="m/d/yyyy">
                  <c:v>39456</c:v>
                </c:pt>
                <c:pt idx="1835" formatCode="m/d/yyyy">
                  <c:v>39457</c:v>
                </c:pt>
                <c:pt idx="1836" formatCode="m/d/yyyy">
                  <c:v>39458</c:v>
                </c:pt>
                <c:pt idx="1837" formatCode="m/d/yyyy">
                  <c:v>39459</c:v>
                </c:pt>
                <c:pt idx="1838" formatCode="m/d/yyyy">
                  <c:v>39460</c:v>
                </c:pt>
                <c:pt idx="1839" formatCode="m/d/yyyy">
                  <c:v>39461</c:v>
                </c:pt>
                <c:pt idx="1840" formatCode="m/d/yyyy">
                  <c:v>39462</c:v>
                </c:pt>
                <c:pt idx="1841" formatCode="m/d/yyyy">
                  <c:v>39463</c:v>
                </c:pt>
                <c:pt idx="1842" formatCode="m/d/yyyy">
                  <c:v>39464</c:v>
                </c:pt>
                <c:pt idx="1843" formatCode="m/d/yyyy">
                  <c:v>39465</c:v>
                </c:pt>
                <c:pt idx="1844" formatCode="m/d/yyyy">
                  <c:v>39466</c:v>
                </c:pt>
                <c:pt idx="1845" formatCode="m/d/yyyy">
                  <c:v>39467</c:v>
                </c:pt>
                <c:pt idx="1846" formatCode="m/d/yyyy">
                  <c:v>39468</c:v>
                </c:pt>
                <c:pt idx="1847" formatCode="m/d/yyyy">
                  <c:v>39469</c:v>
                </c:pt>
                <c:pt idx="1848" formatCode="m/d/yyyy">
                  <c:v>39470</c:v>
                </c:pt>
                <c:pt idx="1849" formatCode="m/d/yyyy">
                  <c:v>39471</c:v>
                </c:pt>
                <c:pt idx="1850" formatCode="m/d/yyyy">
                  <c:v>39472</c:v>
                </c:pt>
                <c:pt idx="1851" formatCode="m/d/yyyy">
                  <c:v>39473</c:v>
                </c:pt>
                <c:pt idx="1852" formatCode="m/d/yyyy">
                  <c:v>39474</c:v>
                </c:pt>
                <c:pt idx="1853" formatCode="m/d/yyyy">
                  <c:v>39475</c:v>
                </c:pt>
                <c:pt idx="1854" formatCode="m/d/yyyy">
                  <c:v>39476</c:v>
                </c:pt>
                <c:pt idx="1855" formatCode="m/d/yyyy">
                  <c:v>39477</c:v>
                </c:pt>
                <c:pt idx="1856" formatCode="m/d/yyyy">
                  <c:v>39478</c:v>
                </c:pt>
                <c:pt idx="1857" formatCode="m/d/yyyy">
                  <c:v>39479</c:v>
                </c:pt>
                <c:pt idx="1858" formatCode="m/d/yyyy">
                  <c:v>39480</c:v>
                </c:pt>
                <c:pt idx="1859" formatCode="m/d/yyyy">
                  <c:v>39481</c:v>
                </c:pt>
                <c:pt idx="1860" formatCode="m/d/yyyy">
                  <c:v>39482</c:v>
                </c:pt>
                <c:pt idx="1861" formatCode="m/d/yyyy">
                  <c:v>39483</c:v>
                </c:pt>
                <c:pt idx="1862" formatCode="m/d/yyyy">
                  <c:v>39484</c:v>
                </c:pt>
                <c:pt idx="1863" formatCode="m/d/yyyy">
                  <c:v>39485</c:v>
                </c:pt>
                <c:pt idx="1864" formatCode="m/d/yyyy">
                  <c:v>39486</c:v>
                </c:pt>
                <c:pt idx="1865" formatCode="m/d/yyyy">
                  <c:v>39487</c:v>
                </c:pt>
                <c:pt idx="1866" formatCode="m/d/yyyy">
                  <c:v>39488</c:v>
                </c:pt>
                <c:pt idx="1867" formatCode="m/d/yyyy">
                  <c:v>39489</c:v>
                </c:pt>
                <c:pt idx="1868" formatCode="m/d/yyyy">
                  <c:v>39490</c:v>
                </c:pt>
                <c:pt idx="1869" formatCode="m/d/yyyy">
                  <c:v>39491</c:v>
                </c:pt>
                <c:pt idx="1870" formatCode="m/d/yyyy">
                  <c:v>39492</c:v>
                </c:pt>
                <c:pt idx="1871" formatCode="m/d/yyyy">
                  <c:v>39493</c:v>
                </c:pt>
                <c:pt idx="1872" formatCode="m/d/yyyy">
                  <c:v>39494</c:v>
                </c:pt>
                <c:pt idx="1873" formatCode="m/d/yyyy">
                  <c:v>39495</c:v>
                </c:pt>
                <c:pt idx="1874" formatCode="m/d/yyyy">
                  <c:v>39496</c:v>
                </c:pt>
                <c:pt idx="1875" formatCode="m/d/yyyy">
                  <c:v>39497</c:v>
                </c:pt>
                <c:pt idx="1876" formatCode="m/d/yyyy">
                  <c:v>39498</c:v>
                </c:pt>
                <c:pt idx="1877" formatCode="m/d/yyyy">
                  <c:v>39499</c:v>
                </c:pt>
                <c:pt idx="1878" formatCode="m/d/yyyy">
                  <c:v>39500</c:v>
                </c:pt>
                <c:pt idx="1879" formatCode="m/d/yyyy">
                  <c:v>39501</c:v>
                </c:pt>
                <c:pt idx="1880" formatCode="m/d/yyyy">
                  <c:v>39502</c:v>
                </c:pt>
                <c:pt idx="1881" formatCode="m/d/yyyy">
                  <c:v>39503</c:v>
                </c:pt>
                <c:pt idx="1882" formatCode="m/d/yyyy">
                  <c:v>39504</c:v>
                </c:pt>
                <c:pt idx="1883" formatCode="m/d/yyyy">
                  <c:v>39505</c:v>
                </c:pt>
                <c:pt idx="1884" formatCode="m/d/yyyy">
                  <c:v>39506</c:v>
                </c:pt>
                <c:pt idx="1885" formatCode="m/d/yyyy">
                  <c:v>39507</c:v>
                </c:pt>
                <c:pt idx="1886" formatCode="m/d/yyyy">
                  <c:v>39508</c:v>
                </c:pt>
                <c:pt idx="1887" formatCode="m/d/yyyy">
                  <c:v>39509</c:v>
                </c:pt>
                <c:pt idx="1888" formatCode="m/d/yyyy">
                  <c:v>39510</c:v>
                </c:pt>
                <c:pt idx="1889" formatCode="m/d/yyyy">
                  <c:v>39511</c:v>
                </c:pt>
                <c:pt idx="1890" formatCode="m/d/yyyy">
                  <c:v>39512</c:v>
                </c:pt>
                <c:pt idx="1891" formatCode="m/d/yyyy">
                  <c:v>39513</c:v>
                </c:pt>
                <c:pt idx="1892" formatCode="m/d/yyyy">
                  <c:v>39514</c:v>
                </c:pt>
                <c:pt idx="1893" formatCode="m/d/yyyy">
                  <c:v>39515</c:v>
                </c:pt>
                <c:pt idx="1894" formatCode="m/d/yyyy">
                  <c:v>39516</c:v>
                </c:pt>
                <c:pt idx="1895" formatCode="m/d/yyyy">
                  <c:v>39517</c:v>
                </c:pt>
                <c:pt idx="1896" formatCode="m/d/yyyy">
                  <c:v>39518</c:v>
                </c:pt>
                <c:pt idx="1897" formatCode="m/d/yyyy">
                  <c:v>39519</c:v>
                </c:pt>
                <c:pt idx="1898" formatCode="m/d/yyyy">
                  <c:v>39520</c:v>
                </c:pt>
                <c:pt idx="1899" formatCode="m/d/yyyy">
                  <c:v>39521</c:v>
                </c:pt>
                <c:pt idx="1900" formatCode="m/d/yyyy">
                  <c:v>39522</c:v>
                </c:pt>
                <c:pt idx="1901" formatCode="m/d/yyyy">
                  <c:v>39523</c:v>
                </c:pt>
                <c:pt idx="1902" formatCode="m/d/yyyy">
                  <c:v>39524</c:v>
                </c:pt>
                <c:pt idx="1903" formatCode="m/d/yyyy">
                  <c:v>39525</c:v>
                </c:pt>
                <c:pt idx="1904" formatCode="m/d/yyyy">
                  <c:v>39526</c:v>
                </c:pt>
                <c:pt idx="1905" formatCode="m/d/yyyy">
                  <c:v>39527</c:v>
                </c:pt>
                <c:pt idx="1906" formatCode="m/d/yyyy">
                  <c:v>39528</c:v>
                </c:pt>
                <c:pt idx="1907" formatCode="m/d/yyyy">
                  <c:v>39529</c:v>
                </c:pt>
                <c:pt idx="1908" formatCode="m/d/yyyy">
                  <c:v>39530</c:v>
                </c:pt>
                <c:pt idx="1909" formatCode="m/d/yyyy">
                  <c:v>39531</c:v>
                </c:pt>
                <c:pt idx="1910" formatCode="m/d/yyyy">
                  <c:v>39532</c:v>
                </c:pt>
                <c:pt idx="1911" formatCode="m/d/yyyy">
                  <c:v>39533</c:v>
                </c:pt>
                <c:pt idx="1912" formatCode="m/d/yyyy">
                  <c:v>39534</c:v>
                </c:pt>
                <c:pt idx="1913" formatCode="m/d/yyyy">
                  <c:v>39535</c:v>
                </c:pt>
                <c:pt idx="1914" formatCode="m/d/yyyy">
                  <c:v>39536</c:v>
                </c:pt>
                <c:pt idx="1915" formatCode="m/d/yyyy">
                  <c:v>39537</c:v>
                </c:pt>
                <c:pt idx="1916" formatCode="m/d/yyyy">
                  <c:v>39538</c:v>
                </c:pt>
                <c:pt idx="1917" formatCode="m/d/yyyy">
                  <c:v>39539</c:v>
                </c:pt>
                <c:pt idx="1918" formatCode="m/d/yyyy">
                  <c:v>39540</c:v>
                </c:pt>
                <c:pt idx="1919" formatCode="m/d/yyyy">
                  <c:v>39541</c:v>
                </c:pt>
                <c:pt idx="1920" formatCode="m/d/yyyy">
                  <c:v>39542</c:v>
                </c:pt>
                <c:pt idx="1921" formatCode="m/d/yyyy">
                  <c:v>39543</c:v>
                </c:pt>
                <c:pt idx="1922" formatCode="m/d/yyyy">
                  <c:v>39544</c:v>
                </c:pt>
                <c:pt idx="1923" formatCode="m/d/yyyy">
                  <c:v>39545</c:v>
                </c:pt>
                <c:pt idx="1924" formatCode="m/d/yyyy">
                  <c:v>39546</c:v>
                </c:pt>
                <c:pt idx="1925" formatCode="m/d/yyyy">
                  <c:v>39547</c:v>
                </c:pt>
                <c:pt idx="1926" formatCode="m/d/yyyy">
                  <c:v>39548</c:v>
                </c:pt>
                <c:pt idx="1927" formatCode="m/d/yyyy">
                  <c:v>39549</c:v>
                </c:pt>
                <c:pt idx="1928" formatCode="m/d/yyyy">
                  <c:v>39550</c:v>
                </c:pt>
                <c:pt idx="1929" formatCode="m/d/yyyy">
                  <c:v>39551</c:v>
                </c:pt>
                <c:pt idx="1930" formatCode="m/d/yyyy">
                  <c:v>39552</c:v>
                </c:pt>
                <c:pt idx="1931" formatCode="m/d/yyyy">
                  <c:v>39553</c:v>
                </c:pt>
                <c:pt idx="1932" formatCode="m/d/yyyy">
                  <c:v>39554</c:v>
                </c:pt>
                <c:pt idx="1933" formatCode="m/d/yyyy">
                  <c:v>39555</c:v>
                </c:pt>
                <c:pt idx="1934" formatCode="m/d/yyyy">
                  <c:v>39556</c:v>
                </c:pt>
                <c:pt idx="1935" formatCode="m/d/yyyy">
                  <c:v>39557</c:v>
                </c:pt>
                <c:pt idx="1936" formatCode="m/d/yyyy">
                  <c:v>39558</c:v>
                </c:pt>
                <c:pt idx="1937" formatCode="m/d/yyyy">
                  <c:v>39559</c:v>
                </c:pt>
                <c:pt idx="1938" formatCode="m/d/yyyy">
                  <c:v>39560</c:v>
                </c:pt>
                <c:pt idx="1939" formatCode="m/d/yyyy">
                  <c:v>39561</c:v>
                </c:pt>
                <c:pt idx="1940" formatCode="m/d/yyyy">
                  <c:v>39562</c:v>
                </c:pt>
                <c:pt idx="1941" formatCode="m/d/yyyy">
                  <c:v>39563</c:v>
                </c:pt>
                <c:pt idx="1942" formatCode="m/d/yyyy">
                  <c:v>39564</c:v>
                </c:pt>
                <c:pt idx="1943" formatCode="m/d/yyyy">
                  <c:v>39565</c:v>
                </c:pt>
                <c:pt idx="1944" formatCode="m/d/yyyy">
                  <c:v>39566</c:v>
                </c:pt>
                <c:pt idx="1945" formatCode="m/d/yyyy">
                  <c:v>39567</c:v>
                </c:pt>
                <c:pt idx="1946" formatCode="m/d/yyyy">
                  <c:v>39568</c:v>
                </c:pt>
                <c:pt idx="1947" formatCode="m/d/yyyy">
                  <c:v>39569</c:v>
                </c:pt>
                <c:pt idx="1948" formatCode="m/d/yyyy">
                  <c:v>39570</c:v>
                </c:pt>
                <c:pt idx="1949" formatCode="m/d/yyyy">
                  <c:v>39571</c:v>
                </c:pt>
                <c:pt idx="1950" formatCode="m/d/yyyy">
                  <c:v>39572</c:v>
                </c:pt>
                <c:pt idx="1951" formatCode="m/d/yyyy">
                  <c:v>39573</c:v>
                </c:pt>
                <c:pt idx="1952" formatCode="m/d/yyyy">
                  <c:v>39574</c:v>
                </c:pt>
                <c:pt idx="1953" formatCode="m/d/yyyy">
                  <c:v>39575</c:v>
                </c:pt>
                <c:pt idx="1954" formatCode="m/d/yyyy">
                  <c:v>39576</c:v>
                </c:pt>
                <c:pt idx="1955" formatCode="m/d/yyyy">
                  <c:v>39577</c:v>
                </c:pt>
                <c:pt idx="1956" formatCode="m/d/yyyy">
                  <c:v>39578</c:v>
                </c:pt>
                <c:pt idx="1957" formatCode="m/d/yyyy">
                  <c:v>39579</c:v>
                </c:pt>
                <c:pt idx="1958" formatCode="m/d/yyyy">
                  <c:v>39580</c:v>
                </c:pt>
                <c:pt idx="1959" formatCode="m/d/yyyy">
                  <c:v>39581</c:v>
                </c:pt>
                <c:pt idx="1960" formatCode="m/d/yyyy">
                  <c:v>39582</c:v>
                </c:pt>
                <c:pt idx="1961" formatCode="m/d/yyyy">
                  <c:v>39583</c:v>
                </c:pt>
                <c:pt idx="1962" formatCode="m/d/yyyy">
                  <c:v>39584</c:v>
                </c:pt>
                <c:pt idx="1963" formatCode="m/d/yyyy">
                  <c:v>39585</c:v>
                </c:pt>
                <c:pt idx="1964" formatCode="m/d/yyyy">
                  <c:v>39586</c:v>
                </c:pt>
                <c:pt idx="1965" formatCode="m/d/yyyy">
                  <c:v>39587</c:v>
                </c:pt>
                <c:pt idx="1966" formatCode="m/d/yyyy">
                  <c:v>39588</c:v>
                </c:pt>
                <c:pt idx="1967" formatCode="m/d/yyyy">
                  <c:v>39589</c:v>
                </c:pt>
                <c:pt idx="1968" formatCode="m/d/yyyy">
                  <c:v>39590</c:v>
                </c:pt>
                <c:pt idx="1969" formatCode="m/d/yyyy">
                  <c:v>39591</c:v>
                </c:pt>
                <c:pt idx="1970" formatCode="m/d/yyyy">
                  <c:v>39592</c:v>
                </c:pt>
                <c:pt idx="1971" formatCode="m/d/yyyy">
                  <c:v>39593</c:v>
                </c:pt>
                <c:pt idx="1972" formatCode="m/d/yyyy">
                  <c:v>39594</c:v>
                </c:pt>
                <c:pt idx="1973" formatCode="m/d/yyyy">
                  <c:v>39595</c:v>
                </c:pt>
                <c:pt idx="1974" formatCode="m/d/yyyy">
                  <c:v>39596</c:v>
                </c:pt>
                <c:pt idx="1975" formatCode="m/d/yyyy">
                  <c:v>39597</c:v>
                </c:pt>
                <c:pt idx="1976" formatCode="m/d/yyyy">
                  <c:v>39598</c:v>
                </c:pt>
                <c:pt idx="1977" formatCode="m/d/yyyy">
                  <c:v>39599</c:v>
                </c:pt>
                <c:pt idx="1978" formatCode="m/d/yyyy">
                  <c:v>39600</c:v>
                </c:pt>
                <c:pt idx="1979" formatCode="m/d/yyyy">
                  <c:v>39601</c:v>
                </c:pt>
                <c:pt idx="1980" formatCode="m/d/yyyy">
                  <c:v>39602</c:v>
                </c:pt>
                <c:pt idx="1981" formatCode="m/d/yyyy">
                  <c:v>39603</c:v>
                </c:pt>
                <c:pt idx="1982" formatCode="m/d/yyyy">
                  <c:v>39604</c:v>
                </c:pt>
                <c:pt idx="1983" formatCode="m/d/yyyy">
                  <c:v>39605</c:v>
                </c:pt>
                <c:pt idx="1984" formatCode="m/d/yyyy">
                  <c:v>39606</c:v>
                </c:pt>
                <c:pt idx="1985" formatCode="m/d/yyyy">
                  <c:v>39607</c:v>
                </c:pt>
                <c:pt idx="1986" formatCode="m/d/yyyy">
                  <c:v>39608</c:v>
                </c:pt>
                <c:pt idx="1987" formatCode="m/d/yyyy">
                  <c:v>39609</c:v>
                </c:pt>
                <c:pt idx="1988" formatCode="m/d/yyyy">
                  <c:v>39610</c:v>
                </c:pt>
                <c:pt idx="1989" formatCode="m/d/yyyy">
                  <c:v>39611</c:v>
                </c:pt>
                <c:pt idx="1990" formatCode="m/d/yyyy">
                  <c:v>39612</c:v>
                </c:pt>
                <c:pt idx="1991" formatCode="m/d/yyyy">
                  <c:v>39613</c:v>
                </c:pt>
                <c:pt idx="1992" formatCode="m/d/yyyy">
                  <c:v>39614</c:v>
                </c:pt>
                <c:pt idx="1993" formatCode="m/d/yyyy">
                  <c:v>39615</c:v>
                </c:pt>
                <c:pt idx="1994" formatCode="m/d/yyyy">
                  <c:v>39616</c:v>
                </c:pt>
                <c:pt idx="1995" formatCode="m/d/yyyy">
                  <c:v>39617</c:v>
                </c:pt>
                <c:pt idx="1996" formatCode="m/d/yyyy">
                  <c:v>39618</c:v>
                </c:pt>
                <c:pt idx="1997" formatCode="m/d/yyyy">
                  <c:v>39619</c:v>
                </c:pt>
                <c:pt idx="1998" formatCode="m/d/yyyy">
                  <c:v>39620</c:v>
                </c:pt>
                <c:pt idx="1999" formatCode="m/d/yyyy">
                  <c:v>39621</c:v>
                </c:pt>
                <c:pt idx="2000" formatCode="m/d/yyyy">
                  <c:v>39622</c:v>
                </c:pt>
                <c:pt idx="2001" formatCode="m/d/yyyy">
                  <c:v>39623</c:v>
                </c:pt>
                <c:pt idx="2002" formatCode="m/d/yyyy">
                  <c:v>39624</c:v>
                </c:pt>
                <c:pt idx="2003" formatCode="m/d/yyyy">
                  <c:v>39625</c:v>
                </c:pt>
                <c:pt idx="2004" formatCode="m/d/yyyy">
                  <c:v>39626</c:v>
                </c:pt>
                <c:pt idx="2005" formatCode="m/d/yyyy">
                  <c:v>39627</c:v>
                </c:pt>
                <c:pt idx="2006" formatCode="m/d/yyyy">
                  <c:v>39628</c:v>
                </c:pt>
                <c:pt idx="2007" formatCode="m/d/yyyy">
                  <c:v>39629</c:v>
                </c:pt>
                <c:pt idx="2008" formatCode="m/d/yyyy">
                  <c:v>39630</c:v>
                </c:pt>
                <c:pt idx="2009" formatCode="m/d/yyyy">
                  <c:v>39631</c:v>
                </c:pt>
                <c:pt idx="2010" formatCode="m/d/yyyy">
                  <c:v>39632</c:v>
                </c:pt>
                <c:pt idx="2011" formatCode="m/d/yyyy">
                  <c:v>39633</c:v>
                </c:pt>
                <c:pt idx="2012" formatCode="m/d/yyyy">
                  <c:v>39634</c:v>
                </c:pt>
                <c:pt idx="2013" formatCode="m/d/yyyy">
                  <c:v>39635</c:v>
                </c:pt>
                <c:pt idx="2014" formatCode="m/d/yyyy">
                  <c:v>39636</c:v>
                </c:pt>
                <c:pt idx="2015" formatCode="m/d/yyyy">
                  <c:v>39637</c:v>
                </c:pt>
                <c:pt idx="2016" formatCode="m/d/yyyy">
                  <c:v>39638</c:v>
                </c:pt>
                <c:pt idx="2017" formatCode="m/d/yyyy">
                  <c:v>39639</c:v>
                </c:pt>
                <c:pt idx="2018" formatCode="m/d/yyyy">
                  <c:v>39640</c:v>
                </c:pt>
                <c:pt idx="2019" formatCode="m/d/yyyy">
                  <c:v>39641</c:v>
                </c:pt>
                <c:pt idx="2020" formatCode="m/d/yyyy">
                  <c:v>39642</c:v>
                </c:pt>
                <c:pt idx="2021" formatCode="m/d/yyyy">
                  <c:v>39643</c:v>
                </c:pt>
                <c:pt idx="2022" formatCode="m/d/yyyy">
                  <c:v>39644</c:v>
                </c:pt>
                <c:pt idx="2023" formatCode="m/d/yyyy">
                  <c:v>39645</c:v>
                </c:pt>
                <c:pt idx="2024" formatCode="m/d/yyyy">
                  <c:v>39646</c:v>
                </c:pt>
                <c:pt idx="2025" formatCode="m/d/yyyy">
                  <c:v>39647</c:v>
                </c:pt>
                <c:pt idx="2026" formatCode="m/d/yyyy">
                  <c:v>39648</c:v>
                </c:pt>
                <c:pt idx="2027" formatCode="m/d/yyyy">
                  <c:v>39649</c:v>
                </c:pt>
                <c:pt idx="2028" formatCode="m/d/yyyy">
                  <c:v>39650</c:v>
                </c:pt>
                <c:pt idx="2029" formatCode="m/d/yyyy">
                  <c:v>39651</c:v>
                </c:pt>
                <c:pt idx="2030" formatCode="m/d/yyyy">
                  <c:v>39652</c:v>
                </c:pt>
                <c:pt idx="2031" formatCode="m/d/yyyy">
                  <c:v>39653</c:v>
                </c:pt>
                <c:pt idx="2032" formatCode="m/d/yyyy">
                  <c:v>39654</c:v>
                </c:pt>
                <c:pt idx="2033" formatCode="m/d/yyyy">
                  <c:v>39655</c:v>
                </c:pt>
                <c:pt idx="2034" formatCode="m/d/yyyy">
                  <c:v>39656</c:v>
                </c:pt>
                <c:pt idx="2035" formatCode="m/d/yyyy">
                  <c:v>39657</c:v>
                </c:pt>
                <c:pt idx="2036" formatCode="m/d/yyyy">
                  <c:v>39658</c:v>
                </c:pt>
                <c:pt idx="2037" formatCode="m/d/yyyy">
                  <c:v>39659</c:v>
                </c:pt>
                <c:pt idx="2038" formatCode="m/d/yyyy">
                  <c:v>39660</c:v>
                </c:pt>
                <c:pt idx="2039" formatCode="m/d/yyyy">
                  <c:v>39661</c:v>
                </c:pt>
                <c:pt idx="2040" formatCode="m/d/yyyy">
                  <c:v>39662</c:v>
                </c:pt>
                <c:pt idx="2041" formatCode="m/d/yyyy">
                  <c:v>39663</c:v>
                </c:pt>
                <c:pt idx="2042" formatCode="m/d/yyyy">
                  <c:v>39664</c:v>
                </c:pt>
                <c:pt idx="2043" formatCode="m/d/yyyy">
                  <c:v>39665</c:v>
                </c:pt>
                <c:pt idx="2044" formatCode="m/d/yyyy">
                  <c:v>39666</c:v>
                </c:pt>
                <c:pt idx="2045" formatCode="m/d/yyyy">
                  <c:v>39667</c:v>
                </c:pt>
                <c:pt idx="2046" formatCode="m/d/yyyy">
                  <c:v>39668</c:v>
                </c:pt>
                <c:pt idx="2047" formatCode="m/d/yyyy">
                  <c:v>39669</c:v>
                </c:pt>
                <c:pt idx="2048" formatCode="m/d/yyyy">
                  <c:v>39670</c:v>
                </c:pt>
                <c:pt idx="2049" formatCode="m/d/yyyy">
                  <c:v>39671</c:v>
                </c:pt>
                <c:pt idx="2050" formatCode="m/d/yyyy">
                  <c:v>39672</c:v>
                </c:pt>
                <c:pt idx="2051" formatCode="m/d/yyyy">
                  <c:v>39673</c:v>
                </c:pt>
                <c:pt idx="2052" formatCode="m/d/yyyy">
                  <c:v>39674</c:v>
                </c:pt>
                <c:pt idx="2053" formatCode="m/d/yyyy">
                  <c:v>39675</c:v>
                </c:pt>
                <c:pt idx="2054" formatCode="m/d/yyyy">
                  <c:v>39676</c:v>
                </c:pt>
                <c:pt idx="2055" formatCode="m/d/yyyy">
                  <c:v>39677</c:v>
                </c:pt>
                <c:pt idx="2056" formatCode="m/d/yyyy">
                  <c:v>39678</c:v>
                </c:pt>
                <c:pt idx="2057" formatCode="m/d/yyyy">
                  <c:v>39679</c:v>
                </c:pt>
                <c:pt idx="2058" formatCode="m/d/yyyy">
                  <c:v>39680</c:v>
                </c:pt>
                <c:pt idx="2059" formatCode="m/d/yyyy">
                  <c:v>39681</c:v>
                </c:pt>
                <c:pt idx="2060" formatCode="m/d/yyyy">
                  <c:v>39682</c:v>
                </c:pt>
                <c:pt idx="2061" formatCode="m/d/yyyy">
                  <c:v>39683</c:v>
                </c:pt>
                <c:pt idx="2062" formatCode="m/d/yyyy">
                  <c:v>39684</c:v>
                </c:pt>
                <c:pt idx="2063" formatCode="m/d/yyyy">
                  <c:v>39685</c:v>
                </c:pt>
                <c:pt idx="2064" formatCode="m/d/yyyy">
                  <c:v>39686</c:v>
                </c:pt>
                <c:pt idx="2065" formatCode="m/d/yyyy">
                  <c:v>39687</c:v>
                </c:pt>
                <c:pt idx="2066" formatCode="m/d/yyyy">
                  <c:v>39688</c:v>
                </c:pt>
                <c:pt idx="2067" formatCode="m/d/yyyy">
                  <c:v>39689</c:v>
                </c:pt>
                <c:pt idx="2068" formatCode="m/d/yyyy">
                  <c:v>39690</c:v>
                </c:pt>
                <c:pt idx="2069" formatCode="m/d/yyyy">
                  <c:v>39691</c:v>
                </c:pt>
                <c:pt idx="2070" formatCode="m/d/yyyy">
                  <c:v>39692</c:v>
                </c:pt>
                <c:pt idx="2071" formatCode="m/d/yyyy">
                  <c:v>39693</c:v>
                </c:pt>
                <c:pt idx="2072" formatCode="m/d/yyyy">
                  <c:v>39694</c:v>
                </c:pt>
                <c:pt idx="2073" formatCode="m/d/yyyy">
                  <c:v>39695</c:v>
                </c:pt>
                <c:pt idx="2074" formatCode="m/d/yyyy">
                  <c:v>39696</c:v>
                </c:pt>
                <c:pt idx="2075" formatCode="m/d/yyyy">
                  <c:v>39697</c:v>
                </c:pt>
                <c:pt idx="2076" formatCode="m/d/yyyy">
                  <c:v>39698</c:v>
                </c:pt>
                <c:pt idx="2077" formatCode="m/d/yyyy">
                  <c:v>39699</c:v>
                </c:pt>
                <c:pt idx="2078" formatCode="m/d/yyyy">
                  <c:v>39700</c:v>
                </c:pt>
                <c:pt idx="2079" formatCode="m/d/yyyy">
                  <c:v>39701</c:v>
                </c:pt>
                <c:pt idx="2080" formatCode="m/d/yyyy">
                  <c:v>39702</c:v>
                </c:pt>
                <c:pt idx="2081" formatCode="m/d/yyyy">
                  <c:v>39703</c:v>
                </c:pt>
                <c:pt idx="2082" formatCode="m/d/yyyy">
                  <c:v>39704</c:v>
                </c:pt>
                <c:pt idx="2083" formatCode="m/d/yyyy">
                  <c:v>39705</c:v>
                </c:pt>
                <c:pt idx="2084" formatCode="m/d/yyyy">
                  <c:v>39706</c:v>
                </c:pt>
                <c:pt idx="2085" formatCode="m/d/yyyy">
                  <c:v>39707</c:v>
                </c:pt>
                <c:pt idx="2086" formatCode="m/d/yyyy">
                  <c:v>39708</c:v>
                </c:pt>
                <c:pt idx="2087" formatCode="m/d/yyyy">
                  <c:v>39709</c:v>
                </c:pt>
                <c:pt idx="2088" formatCode="m/d/yyyy">
                  <c:v>39710</c:v>
                </c:pt>
                <c:pt idx="2089" formatCode="m/d/yyyy">
                  <c:v>39711</c:v>
                </c:pt>
                <c:pt idx="2090" formatCode="m/d/yyyy">
                  <c:v>39712</c:v>
                </c:pt>
                <c:pt idx="2091" formatCode="m/d/yyyy">
                  <c:v>39713</c:v>
                </c:pt>
                <c:pt idx="2092" formatCode="m/d/yyyy">
                  <c:v>39714</c:v>
                </c:pt>
                <c:pt idx="2093" formatCode="m/d/yyyy">
                  <c:v>39715</c:v>
                </c:pt>
                <c:pt idx="2094" formatCode="m/d/yyyy">
                  <c:v>39716</c:v>
                </c:pt>
                <c:pt idx="2095" formatCode="m/d/yyyy">
                  <c:v>39717</c:v>
                </c:pt>
                <c:pt idx="2096" formatCode="m/d/yyyy">
                  <c:v>39718</c:v>
                </c:pt>
                <c:pt idx="2097" formatCode="m/d/yyyy">
                  <c:v>39719</c:v>
                </c:pt>
                <c:pt idx="2098" formatCode="m/d/yyyy">
                  <c:v>39720</c:v>
                </c:pt>
                <c:pt idx="2099" formatCode="m/d/yyyy">
                  <c:v>39721</c:v>
                </c:pt>
                <c:pt idx="2100" formatCode="m/d/yyyy">
                  <c:v>39722</c:v>
                </c:pt>
                <c:pt idx="2101" formatCode="m/d/yyyy">
                  <c:v>39723</c:v>
                </c:pt>
                <c:pt idx="2102" formatCode="m/d/yyyy">
                  <c:v>39724</c:v>
                </c:pt>
                <c:pt idx="2103" formatCode="m/d/yyyy">
                  <c:v>39725</c:v>
                </c:pt>
                <c:pt idx="2104" formatCode="m/d/yyyy">
                  <c:v>39726</c:v>
                </c:pt>
                <c:pt idx="2105" formatCode="m/d/yyyy">
                  <c:v>39727</c:v>
                </c:pt>
                <c:pt idx="2106" formatCode="m/d/yyyy">
                  <c:v>39728</c:v>
                </c:pt>
                <c:pt idx="2107" formatCode="m/d/yyyy">
                  <c:v>39729</c:v>
                </c:pt>
                <c:pt idx="2108" formatCode="m/d/yyyy">
                  <c:v>39730</c:v>
                </c:pt>
                <c:pt idx="2109" formatCode="m/d/yyyy">
                  <c:v>39731</c:v>
                </c:pt>
                <c:pt idx="2110" formatCode="m/d/yyyy">
                  <c:v>39732</c:v>
                </c:pt>
                <c:pt idx="2111" formatCode="m/d/yyyy">
                  <c:v>39733</c:v>
                </c:pt>
                <c:pt idx="2112" formatCode="m/d/yyyy">
                  <c:v>39734</c:v>
                </c:pt>
                <c:pt idx="2113" formatCode="m/d/yyyy">
                  <c:v>39735</c:v>
                </c:pt>
                <c:pt idx="2114" formatCode="m/d/yyyy">
                  <c:v>39736</c:v>
                </c:pt>
                <c:pt idx="2115" formatCode="m/d/yyyy">
                  <c:v>39737</c:v>
                </c:pt>
                <c:pt idx="2116" formatCode="m/d/yyyy">
                  <c:v>39738</c:v>
                </c:pt>
                <c:pt idx="2117" formatCode="m/d/yyyy">
                  <c:v>39739</c:v>
                </c:pt>
                <c:pt idx="2118" formatCode="m/d/yyyy">
                  <c:v>39740</c:v>
                </c:pt>
                <c:pt idx="2119" formatCode="m/d/yyyy">
                  <c:v>39741</c:v>
                </c:pt>
                <c:pt idx="2120" formatCode="m/d/yyyy">
                  <c:v>39742</c:v>
                </c:pt>
                <c:pt idx="2121" formatCode="m/d/yyyy">
                  <c:v>39743</c:v>
                </c:pt>
                <c:pt idx="2122" formatCode="m/d/yyyy">
                  <c:v>39744</c:v>
                </c:pt>
                <c:pt idx="2123" formatCode="m/d/yyyy">
                  <c:v>39745</c:v>
                </c:pt>
                <c:pt idx="2124" formatCode="m/d/yyyy">
                  <c:v>39746</c:v>
                </c:pt>
                <c:pt idx="2125" formatCode="m/d/yyyy">
                  <c:v>39747</c:v>
                </c:pt>
                <c:pt idx="2126" formatCode="m/d/yyyy">
                  <c:v>39748</c:v>
                </c:pt>
                <c:pt idx="2127" formatCode="m/d/yyyy">
                  <c:v>39749</c:v>
                </c:pt>
                <c:pt idx="2128" formatCode="m/d/yyyy">
                  <c:v>39750</c:v>
                </c:pt>
                <c:pt idx="2129" formatCode="m/d/yyyy">
                  <c:v>39751</c:v>
                </c:pt>
                <c:pt idx="2130" formatCode="m/d/yyyy">
                  <c:v>39752</c:v>
                </c:pt>
                <c:pt idx="2131" formatCode="m/d/yyyy">
                  <c:v>39753</c:v>
                </c:pt>
                <c:pt idx="2132" formatCode="m/d/yyyy">
                  <c:v>39754</c:v>
                </c:pt>
                <c:pt idx="2133" formatCode="m/d/yyyy">
                  <c:v>39755</c:v>
                </c:pt>
                <c:pt idx="2134" formatCode="m/d/yyyy">
                  <c:v>39756</c:v>
                </c:pt>
                <c:pt idx="2135" formatCode="m/d/yyyy">
                  <c:v>39757</c:v>
                </c:pt>
                <c:pt idx="2136" formatCode="m/d/yyyy">
                  <c:v>39758</c:v>
                </c:pt>
                <c:pt idx="2137" formatCode="m/d/yyyy">
                  <c:v>39759</c:v>
                </c:pt>
                <c:pt idx="2138" formatCode="m/d/yyyy">
                  <c:v>39760</c:v>
                </c:pt>
                <c:pt idx="2139" formatCode="m/d/yyyy">
                  <c:v>39761</c:v>
                </c:pt>
                <c:pt idx="2140" formatCode="m/d/yyyy">
                  <c:v>39762</c:v>
                </c:pt>
                <c:pt idx="2141" formatCode="m/d/yyyy">
                  <c:v>39763</c:v>
                </c:pt>
                <c:pt idx="2142" formatCode="m/d/yyyy">
                  <c:v>39764</c:v>
                </c:pt>
                <c:pt idx="2143" formatCode="m/d/yyyy">
                  <c:v>39765</c:v>
                </c:pt>
                <c:pt idx="2144" formatCode="m/d/yyyy">
                  <c:v>39766</c:v>
                </c:pt>
                <c:pt idx="2145" formatCode="m/d/yyyy">
                  <c:v>39767</c:v>
                </c:pt>
                <c:pt idx="2146" formatCode="m/d/yyyy">
                  <c:v>39768</c:v>
                </c:pt>
                <c:pt idx="2147" formatCode="m/d/yyyy">
                  <c:v>39769</c:v>
                </c:pt>
                <c:pt idx="2148" formatCode="m/d/yyyy">
                  <c:v>39770</c:v>
                </c:pt>
                <c:pt idx="2149" formatCode="m/d/yyyy">
                  <c:v>39771</c:v>
                </c:pt>
                <c:pt idx="2150" formatCode="m/d/yyyy">
                  <c:v>39772</c:v>
                </c:pt>
                <c:pt idx="2151" formatCode="m/d/yyyy">
                  <c:v>39773</c:v>
                </c:pt>
                <c:pt idx="2152" formatCode="m/d/yyyy">
                  <c:v>39774</c:v>
                </c:pt>
                <c:pt idx="2153" formatCode="m/d/yyyy">
                  <c:v>39775</c:v>
                </c:pt>
                <c:pt idx="2154" formatCode="m/d/yyyy">
                  <c:v>39776</c:v>
                </c:pt>
                <c:pt idx="2155" formatCode="m/d/yyyy">
                  <c:v>39777</c:v>
                </c:pt>
                <c:pt idx="2156" formatCode="m/d/yyyy">
                  <c:v>39778</c:v>
                </c:pt>
                <c:pt idx="2157" formatCode="m/d/yyyy">
                  <c:v>39779</c:v>
                </c:pt>
                <c:pt idx="2158" formatCode="m/d/yyyy">
                  <c:v>39780</c:v>
                </c:pt>
                <c:pt idx="2159" formatCode="m/d/yyyy">
                  <c:v>39781</c:v>
                </c:pt>
                <c:pt idx="2160" formatCode="m/d/yyyy">
                  <c:v>39782</c:v>
                </c:pt>
                <c:pt idx="2161" formatCode="m/d/yyyy">
                  <c:v>39783</c:v>
                </c:pt>
                <c:pt idx="2162" formatCode="m/d/yyyy">
                  <c:v>39784</c:v>
                </c:pt>
                <c:pt idx="2163" formatCode="m/d/yyyy">
                  <c:v>39785</c:v>
                </c:pt>
                <c:pt idx="2164" formatCode="m/d/yyyy">
                  <c:v>39786</c:v>
                </c:pt>
                <c:pt idx="2165" formatCode="m/d/yyyy">
                  <c:v>39787</c:v>
                </c:pt>
                <c:pt idx="2166" formatCode="m/d/yyyy">
                  <c:v>39788</c:v>
                </c:pt>
                <c:pt idx="2167" formatCode="m/d/yyyy">
                  <c:v>39789</c:v>
                </c:pt>
                <c:pt idx="2168" formatCode="m/d/yyyy">
                  <c:v>39790</c:v>
                </c:pt>
                <c:pt idx="2169" formatCode="m/d/yyyy">
                  <c:v>39791</c:v>
                </c:pt>
                <c:pt idx="2170" formatCode="m/d/yyyy">
                  <c:v>39792</c:v>
                </c:pt>
                <c:pt idx="2171" formatCode="m/d/yyyy">
                  <c:v>39793</c:v>
                </c:pt>
                <c:pt idx="2172" formatCode="m/d/yyyy">
                  <c:v>39794</c:v>
                </c:pt>
                <c:pt idx="2173" formatCode="m/d/yyyy">
                  <c:v>39795</c:v>
                </c:pt>
                <c:pt idx="2174" formatCode="m/d/yyyy">
                  <c:v>39796</c:v>
                </c:pt>
                <c:pt idx="2175" formatCode="m/d/yyyy">
                  <c:v>39797</c:v>
                </c:pt>
                <c:pt idx="2176" formatCode="m/d/yyyy">
                  <c:v>39798</c:v>
                </c:pt>
                <c:pt idx="2177" formatCode="m/d/yyyy">
                  <c:v>39799</c:v>
                </c:pt>
                <c:pt idx="2178" formatCode="m/d/yyyy">
                  <c:v>39800</c:v>
                </c:pt>
                <c:pt idx="2179" formatCode="m/d/yyyy">
                  <c:v>39801</c:v>
                </c:pt>
                <c:pt idx="2180" formatCode="m/d/yyyy">
                  <c:v>39802</c:v>
                </c:pt>
                <c:pt idx="2181" formatCode="m/d/yyyy">
                  <c:v>39803</c:v>
                </c:pt>
                <c:pt idx="2182" formatCode="m/d/yyyy">
                  <c:v>39804</c:v>
                </c:pt>
                <c:pt idx="2183" formatCode="m/d/yyyy">
                  <c:v>39805</c:v>
                </c:pt>
                <c:pt idx="2184" formatCode="m/d/yyyy">
                  <c:v>39806</c:v>
                </c:pt>
                <c:pt idx="2185" formatCode="m/d/yyyy">
                  <c:v>39807</c:v>
                </c:pt>
                <c:pt idx="2186" formatCode="m/d/yyyy">
                  <c:v>39808</c:v>
                </c:pt>
                <c:pt idx="2187" formatCode="m/d/yyyy">
                  <c:v>39809</c:v>
                </c:pt>
                <c:pt idx="2188" formatCode="m/d/yyyy">
                  <c:v>39810</c:v>
                </c:pt>
                <c:pt idx="2189" formatCode="m/d/yyyy">
                  <c:v>39811</c:v>
                </c:pt>
                <c:pt idx="2190" formatCode="m/d/yyyy">
                  <c:v>39812</c:v>
                </c:pt>
                <c:pt idx="2191" formatCode="m/d/yyyy">
                  <c:v>39813</c:v>
                </c:pt>
                <c:pt idx="2192" formatCode="m/d/yyyy">
                  <c:v>39814</c:v>
                </c:pt>
                <c:pt idx="2193" formatCode="m/d/yyyy">
                  <c:v>39815</c:v>
                </c:pt>
                <c:pt idx="2194" formatCode="m/d/yyyy">
                  <c:v>39816</c:v>
                </c:pt>
                <c:pt idx="2195" formatCode="m/d/yyyy">
                  <c:v>39817</c:v>
                </c:pt>
                <c:pt idx="2196" formatCode="m/d/yyyy">
                  <c:v>39818</c:v>
                </c:pt>
                <c:pt idx="2197" formatCode="m/d/yyyy">
                  <c:v>39819</c:v>
                </c:pt>
                <c:pt idx="2198" formatCode="m/d/yyyy">
                  <c:v>39820</c:v>
                </c:pt>
                <c:pt idx="2199" formatCode="m/d/yyyy">
                  <c:v>39821</c:v>
                </c:pt>
                <c:pt idx="2200" formatCode="m/d/yyyy">
                  <c:v>39822</c:v>
                </c:pt>
                <c:pt idx="2201" formatCode="m/d/yyyy">
                  <c:v>39823</c:v>
                </c:pt>
                <c:pt idx="2202" formatCode="m/d/yyyy">
                  <c:v>39824</c:v>
                </c:pt>
                <c:pt idx="2203" formatCode="m/d/yyyy">
                  <c:v>39825</c:v>
                </c:pt>
                <c:pt idx="2204" formatCode="m/d/yyyy">
                  <c:v>39826</c:v>
                </c:pt>
                <c:pt idx="2205" formatCode="m/d/yyyy">
                  <c:v>39827</c:v>
                </c:pt>
                <c:pt idx="2206" formatCode="m/d/yyyy">
                  <c:v>39828</c:v>
                </c:pt>
                <c:pt idx="2207" formatCode="m/d/yyyy">
                  <c:v>39829</c:v>
                </c:pt>
                <c:pt idx="2208" formatCode="m/d/yyyy">
                  <c:v>39830</c:v>
                </c:pt>
                <c:pt idx="2209" formatCode="m/d/yyyy">
                  <c:v>39831</c:v>
                </c:pt>
                <c:pt idx="2210" formatCode="m/d/yyyy">
                  <c:v>39832</c:v>
                </c:pt>
                <c:pt idx="2211" formatCode="m/d/yyyy">
                  <c:v>39833</c:v>
                </c:pt>
                <c:pt idx="2212" formatCode="m/d/yyyy">
                  <c:v>39834</c:v>
                </c:pt>
                <c:pt idx="2213" formatCode="m/d/yyyy">
                  <c:v>39835</c:v>
                </c:pt>
                <c:pt idx="2214" formatCode="m/d/yyyy">
                  <c:v>39836</c:v>
                </c:pt>
                <c:pt idx="2215" formatCode="m/d/yyyy">
                  <c:v>39837</c:v>
                </c:pt>
                <c:pt idx="2216" formatCode="m/d/yyyy">
                  <c:v>39838</c:v>
                </c:pt>
                <c:pt idx="2217" formatCode="m/d/yyyy">
                  <c:v>39839</c:v>
                </c:pt>
                <c:pt idx="2218" formatCode="m/d/yyyy">
                  <c:v>39840</c:v>
                </c:pt>
                <c:pt idx="2219" formatCode="m/d/yyyy">
                  <c:v>39841</c:v>
                </c:pt>
                <c:pt idx="2220" formatCode="m/d/yyyy">
                  <c:v>39842</c:v>
                </c:pt>
                <c:pt idx="2221" formatCode="m/d/yyyy">
                  <c:v>39843</c:v>
                </c:pt>
                <c:pt idx="2222" formatCode="m/d/yyyy">
                  <c:v>39844</c:v>
                </c:pt>
                <c:pt idx="2223" formatCode="m/d/yyyy">
                  <c:v>39845</c:v>
                </c:pt>
                <c:pt idx="2224" formatCode="m/d/yyyy">
                  <c:v>39846</c:v>
                </c:pt>
                <c:pt idx="2225" formatCode="m/d/yyyy">
                  <c:v>39847</c:v>
                </c:pt>
                <c:pt idx="2226" formatCode="m/d/yyyy">
                  <c:v>39848</c:v>
                </c:pt>
                <c:pt idx="2227" formatCode="m/d/yyyy">
                  <c:v>39849</c:v>
                </c:pt>
                <c:pt idx="2228" formatCode="m/d/yyyy">
                  <c:v>39850</c:v>
                </c:pt>
                <c:pt idx="2229" formatCode="m/d/yyyy">
                  <c:v>39851</c:v>
                </c:pt>
                <c:pt idx="2230" formatCode="m/d/yyyy">
                  <c:v>39852</c:v>
                </c:pt>
                <c:pt idx="2231" formatCode="m/d/yyyy">
                  <c:v>39853</c:v>
                </c:pt>
                <c:pt idx="2232" formatCode="m/d/yyyy">
                  <c:v>39854</c:v>
                </c:pt>
                <c:pt idx="2233" formatCode="m/d/yyyy">
                  <c:v>39855</c:v>
                </c:pt>
                <c:pt idx="2234" formatCode="m/d/yyyy">
                  <c:v>39856</c:v>
                </c:pt>
                <c:pt idx="2235" formatCode="m/d/yyyy">
                  <c:v>39857</c:v>
                </c:pt>
                <c:pt idx="2236" formatCode="m/d/yyyy">
                  <c:v>39858</c:v>
                </c:pt>
                <c:pt idx="2237" formatCode="m/d/yyyy">
                  <c:v>39859</c:v>
                </c:pt>
                <c:pt idx="2238" formatCode="m/d/yyyy">
                  <c:v>39860</c:v>
                </c:pt>
                <c:pt idx="2239" formatCode="m/d/yyyy">
                  <c:v>39861</c:v>
                </c:pt>
                <c:pt idx="2240" formatCode="m/d/yyyy">
                  <c:v>39862</c:v>
                </c:pt>
                <c:pt idx="2241" formatCode="m/d/yyyy">
                  <c:v>39863</c:v>
                </c:pt>
                <c:pt idx="2242" formatCode="m/d/yyyy">
                  <c:v>39864</c:v>
                </c:pt>
                <c:pt idx="2243" formatCode="m/d/yyyy">
                  <c:v>39865</c:v>
                </c:pt>
                <c:pt idx="2244" formatCode="m/d/yyyy">
                  <c:v>39866</c:v>
                </c:pt>
                <c:pt idx="2245" formatCode="m/d/yyyy">
                  <c:v>39867</c:v>
                </c:pt>
                <c:pt idx="2246" formatCode="m/d/yyyy">
                  <c:v>39868</c:v>
                </c:pt>
                <c:pt idx="2247" formatCode="m/d/yyyy">
                  <c:v>39869</c:v>
                </c:pt>
                <c:pt idx="2248" formatCode="m/d/yyyy">
                  <c:v>39870</c:v>
                </c:pt>
                <c:pt idx="2249" formatCode="m/d/yyyy">
                  <c:v>39871</c:v>
                </c:pt>
                <c:pt idx="2250" formatCode="m/d/yyyy">
                  <c:v>39872</c:v>
                </c:pt>
                <c:pt idx="2251" formatCode="m/d/yyyy">
                  <c:v>39873</c:v>
                </c:pt>
                <c:pt idx="2252" formatCode="m/d/yyyy">
                  <c:v>39874</c:v>
                </c:pt>
                <c:pt idx="2253" formatCode="m/d/yyyy">
                  <c:v>39875</c:v>
                </c:pt>
                <c:pt idx="2254" formatCode="m/d/yyyy">
                  <c:v>39876</c:v>
                </c:pt>
                <c:pt idx="2255" formatCode="m/d/yyyy">
                  <c:v>39877</c:v>
                </c:pt>
                <c:pt idx="2256" formatCode="m/d/yyyy">
                  <c:v>39878</c:v>
                </c:pt>
                <c:pt idx="2257" formatCode="m/d/yyyy">
                  <c:v>39879</c:v>
                </c:pt>
                <c:pt idx="2258" formatCode="m/d/yyyy">
                  <c:v>39880</c:v>
                </c:pt>
                <c:pt idx="2259" formatCode="m/d/yyyy">
                  <c:v>39881</c:v>
                </c:pt>
                <c:pt idx="2260" formatCode="m/d/yyyy">
                  <c:v>39882</c:v>
                </c:pt>
                <c:pt idx="2261" formatCode="m/d/yyyy">
                  <c:v>39883</c:v>
                </c:pt>
                <c:pt idx="2262" formatCode="m/d/yyyy">
                  <c:v>39884</c:v>
                </c:pt>
                <c:pt idx="2263" formatCode="m/d/yyyy">
                  <c:v>39885</c:v>
                </c:pt>
                <c:pt idx="2264" formatCode="m/d/yyyy">
                  <c:v>39886</c:v>
                </c:pt>
                <c:pt idx="2265" formatCode="m/d/yyyy">
                  <c:v>39887</c:v>
                </c:pt>
                <c:pt idx="2266" formatCode="m/d/yyyy">
                  <c:v>39888</c:v>
                </c:pt>
                <c:pt idx="2267" formatCode="m/d/yyyy">
                  <c:v>39889</c:v>
                </c:pt>
                <c:pt idx="2268" formatCode="m/d/yyyy">
                  <c:v>39890</c:v>
                </c:pt>
                <c:pt idx="2269" formatCode="m/d/yyyy">
                  <c:v>39891</c:v>
                </c:pt>
                <c:pt idx="2270" formatCode="m/d/yyyy">
                  <c:v>39892</c:v>
                </c:pt>
                <c:pt idx="2271" formatCode="m/d/yyyy">
                  <c:v>39893</c:v>
                </c:pt>
                <c:pt idx="2272" formatCode="m/d/yyyy">
                  <c:v>39894</c:v>
                </c:pt>
                <c:pt idx="2273" formatCode="m/d/yyyy">
                  <c:v>39895</c:v>
                </c:pt>
                <c:pt idx="2274" formatCode="m/d/yyyy">
                  <c:v>39896</c:v>
                </c:pt>
                <c:pt idx="2275" formatCode="m/d/yyyy">
                  <c:v>39897</c:v>
                </c:pt>
                <c:pt idx="2276" formatCode="m/d/yyyy">
                  <c:v>39898</c:v>
                </c:pt>
                <c:pt idx="2277" formatCode="m/d/yyyy">
                  <c:v>39899</c:v>
                </c:pt>
                <c:pt idx="2278" formatCode="m/d/yyyy">
                  <c:v>39900</c:v>
                </c:pt>
                <c:pt idx="2279" formatCode="m/d/yyyy">
                  <c:v>39901</c:v>
                </c:pt>
                <c:pt idx="2280" formatCode="m/d/yyyy">
                  <c:v>39902</c:v>
                </c:pt>
                <c:pt idx="2281" formatCode="m/d/yyyy">
                  <c:v>39903</c:v>
                </c:pt>
                <c:pt idx="2282" formatCode="m/d/yyyy">
                  <c:v>39904</c:v>
                </c:pt>
                <c:pt idx="2283" formatCode="m/d/yyyy">
                  <c:v>39905</c:v>
                </c:pt>
                <c:pt idx="2284" formatCode="m/d/yyyy">
                  <c:v>39906</c:v>
                </c:pt>
                <c:pt idx="2285" formatCode="m/d/yyyy">
                  <c:v>39907</c:v>
                </c:pt>
                <c:pt idx="2286" formatCode="m/d/yyyy">
                  <c:v>39908</c:v>
                </c:pt>
                <c:pt idx="2287" formatCode="m/d/yyyy">
                  <c:v>39909</c:v>
                </c:pt>
                <c:pt idx="2288" formatCode="m/d/yyyy">
                  <c:v>39910</c:v>
                </c:pt>
                <c:pt idx="2289" formatCode="m/d/yyyy">
                  <c:v>39911</c:v>
                </c:pt>
                <c:pt idx="2290" formatCode="m/d/yyyy">
                  <c:v>39912</c:v>
                </c:pt>
                <c:pt idx="2291" formatCode="m/d/yyyy">
                  <c:v>39913</c:v>
                </c:pt>
                <c:pt idx="2292" formatCode="m/d/yyyy">
                  <c:v>39914</c:v>
                </c:pt>
                <c:pt idx="2293" formatCode="m/d/yyyy">
                  <c:v>39915</c:v>
                </c:pt>
                <c:pt idx="2294" formatCode="m/d/yyyy">
                  <c:v>39916</c:v>
                </c:pt>
                <c:pt idx="2295" formatCode="m/d/yyyy">
                  <c:v>39917</c:v>
                </c:pt>
                <c:pt idx="2296" formatCode="m/d/yyyy">
                  <c:v>39918</c:v>
                </c:pt>
                <c:pt idx="2297" formatCode="m/d/yyyy">
                  <c:v>39919</c:v>
                </c:pt>
                <c:pt idx="2298" formatCode="m/d/yyyy">
                  <c:v>39920</c:v>
                </c:pt>
                <c:pt idx="2299" formatCode="m/d/yyyy">
                  <c:v>39921</c:v>
                </c:pt>
                <c:pt idx="2300" formatCode="m/d/yyyy">
                  <c:v>39922</c:v>
                </c:pt>
                <c:pt idx="2301" formatCode="m/d/yyyy">
                  <c:v>39923</c:v>
                </c:pt>
                <c:pt idx="2302" formatCode="m/d/yyyy">
                  <c:v>39924</c:v>
                </c:pt>
                <c:pt idx="2303" formatCode="m/d/yyyy">
                  <c:v>39925</c:v>
                </c:pt>
                <c:pt idx="2304" formatCode="m/d/yyyy">
                  <c:v>39926</c:v>
                </c:pt>
                <c:pt idx="2305" formatCode="m/d/yyyy">
                  <c:v>39927</c:v>
                </c:pt>
                <c:pt idx="2306" formatCode="m/d/yyyy">
                  <c:v>39928</c:v>
                </c:pt>
                <c:pt idx="2307" formatCode="m/d/yyyy">
                  <c:v>39929</c:v>
                </c:pt>
                <c:pt idx="2308" formatCode="m/d/yyyy">
                  <c:v>39930</c:v>
                </c:pt>
                <c:pt idx="2309" formatCode="m/d/yyyy">
                  <c:v>39931</c:v>
                </c:pt>
                <c:pt idx="2310" formatCode="m/d/yyyy">
                  <c:v>39932</c:v>
                </c:pt>
                <c:pt idx="2311" formatCode="m/d/yyyy">
                  <c:v>39933</c:v>
                </c:pt>
                <c:pt idx="2312" formatCode="m/d/yyyy">
                  <c:v>39934</c:v>
                </c:pt>
                <c:pt idx="2313" formatCode="m/d/yyyy">
                  <c:v>39935</c:v>
                </c:pt>
                <c:pt idx="2314" formatCode="m/d/yyyy">
                  <c:v>39936</c:v>
                </c:pt>
                <c:pt idx="2315" formatCode="m/d/yyyy">
                  <c:v>39937</c:v>
                </c:pt>
                <c:pt idx="2316" formatCode="m/d/yyyy">
                  <c:v>39938</c:v>
                </c:pt>
                <c:pt idx="2317" formatCode="m/d/yyyy">
                  <c:v>39939</c:v>
                </c:pt>
                <c:pt idx="2318" formatCode="m/d/yyyy">
                  <c:v>39940</c:v>
                </c:pt>
                <c:pt idx="2319" formatCode="m/d/yyyy">
                  <c:v>39941</c:v>
                </c:pt>
                <c:pt idx="2320" formatCode="m/d/yyyy">
                  <c:v>39942</c:v>
                </c:pt>
                <c:pt idx="2321" formatCode="m/d/yyyy">
                  <c:v>39943</c:v>
                </c:pt>
                <c:pt idx="2322" formatCode="m/d/yyyy">
                  <c:v>39944</c:v>
                </c:pt>
                <c:pt idx="2323" formatCode="m/d/yyyy">
                  <c:v>39945</c:v>
                </c:pt>
                <c:pt idx="2324" formatCode="m/d/yyyy">
                  <c:v>39946</c:v>
                </c:pt>
                <c:pt idx="2325" formatCode="m/d/yyyy">
                  <c:v>39947</c:v>
                </c:pt>
                <c:pt idx="2326" formatCode="m/d/yyyy">
                  <c:v>39948</c:v>
                </c:pt>
                <c:pt idx="2327" formatCode="m/d/yyyy">
                  <c:v>39949</c:v>
                </c:pt>
                <c:pt idx="2328" formatCode="m/d/yyyy">
                  <c:v>39950</c:v>
                </c:pt>
                <c:pt idx="2329" formatCode="m/d/yyyy">
                  <c:v>39951</c:v>
                </c:pt>
                <c:pt idx="2330" formatCode="m/d/yyyy">
                  <c:v>39952</c:v>
                </c:pt>
                <c:pt idx="2331" formatCode="m/d/yyyy">
                  <c:v>39953</c:v>
                </c:pt>
                <c:pt idx="2332" formatCode="m/d/yyyy">
                  <c:v>39954</c:v>
                </c:pt>
                <c:pt idx="2333" formatCode="m/d/yyyy">
                  <c:v>39955</c:v>
                </c:pt>
                <c:pt idx="2334" formatCode="m/d/yyyy">
                  <c:v>39956</c:v>
                </c:pt>
                <c:pt idx="2335" formatCode="m/d/yyyy">
                  <c:v>39957</c:v>
                </c:pt>
                <c:pt idx="2336" formatCode="m/d/yyyy">
                  <c:v>39958</c:v>
                </c:pt>
                <c:pt idx="2337" formatCode="m/d/yyyy">
                  <c:v>39959</c:v>
                </c:pt>
                <c:pt idx="2338" formatCode="m/d/yyyy">
                  <c:v>39960</c:v>
                </c:pt>
                <c:pt idx="2339" formatCode="m/d/yyyy">
                  <c:v>39961</c:v>
                </c:pt>
                <c:pt idx="2340" formatCode="m/d/yyyy">
                  <c:v>39962</c:v>
                </c:pt>
                <c:pt idx="2341" formatCode="m/d/yyyy">
                  <c:v>39963</c:v>
                </c:pt>
                <c:pt idx="2342" formatCode="m/d/yyyy">
                  <c:v>39964</c:v>
                </c:pt>
                <c:pt idx="2343" formatCode="m/d/yyyy">
                  <c:v>39965</c:v>
                </c:pt>
                <c:pt idx="2344" formatCode="m/d/yyyy">
                  <c:v>39966</c:v>
                </c:pt>
                <c:pt idx="2345" formatCode="m/d/yyyy">
                  <c:v>39967</c:v>
                </c:pt>
                <c:pt idx="2346" formatCode="m/d/yyyy">
                  <c:v>39968</c:v>
                </c:pt>
                <c:pt idx="2347" formatCode="m/d/yyyy">
                  <c:v>39969</c:v>
                </c:pt>
                <c:pt idx="2348" formatCode="m/d/yyyy">
                  <c:v>39970</c:v>
                </c:pt>
                <c:pt idx="2349" formatCode="m/d/yyyy">
                  <c:v>39971</c:v>
                </c:pt>
                <c:pt idx="2350" formatCode="m/d/yyyy">
                  <c:v>39972</c:v>
                </c:pt>
                <c:pt idx="2351" formatCode="m/d/yyyy">
                  <c:v>39973</c:v>
                </c:pt>
                <c:pt idx="2352" formatCode="m/d/yyyy">
                  <c:v>39974</c:v>
                </c:pt>
                <c:pt idx="2353" formatCode="m/d/yyyy">
                  <c:v>39975</c:v>
                </c:pt>
                <c:pt idx="2354" formatCode="m/d/yyyy">
                  <c:v>39976</c:v>
                </c:pt>
                <c:pt idx="2355" formatCode="m/d/yyyy">
                  <c:v>39977</c:v>
                </c:pt>
                <c:pt idx="2356" formatCode="m/d/yyyy">
                  <c:v>39978</c:v>
                </c:pt>
                <c:pt idx="2357" formatCode="m/d/yyyy">
                  <c:v>39979</c:v>
                </c:pt>
                <c:pt idx="2358" formatCode="m/d/yyyy">
                  <c:v>39980</c:v>
                </c:pt>
                <c:pt idx="2359" formatCode="m/d/yyyy">
                  <c:v>39981</c:v>
                </c:pt>
                <c:pt idx="2360" formatCode="m/d/yyyy">
                  <c:v>39982</c:v>
                </c:pt>
                <c:pt idx="2361" formatCode="m/d/yyyy">
                  <c:v>39983</c:v>
                </c:pt>
                <c:pt idx="2362" formatCode="m/d/yyyy">
                  <c:v>39984</c:v>
                </c:pt>
                <c:pt idx="2363" formatCode="m/d/yyyy">
                  <c:v>39985</c:v>
                </c:pt>
                <c:pt idx="2364" formatCode="m/d/yyyy">
                  <c:v>39986</c:v>
                </c:pt>
                <c:pt idx="2365" formatCode="m/d/yyyy">
                  <c:v>39987</c:v>
                </c:pt>
                <c:pt idx="2366" formatCode="m/d/yyyy">
                  <c:v>39988</c:v>
                </c:pt>
                <c:pt idx="2367" formatCode="m/d/yyyy">
                  <c:v>39989</c:v>
                </c:pt>
                <c:pt idx="2368" formatCode="m/d/yyyy">
                  <c:v>39990</c:v>
                </c:pt>
                <c:pt idx="2369" formatCode="m/d/yyyy">
                  <c:v>39991</c:v>
                </c:pt>
                <c:pt idx="2370" formatCode="m/d/yyyy">
                  <c:v>39992</c:v>
                </c:pt>
                <c:pt idx="2371" formatCode="m/d/yyyy">
                  <c:v>39993</c:v>
                </c:pt>
                <c:pt idx="2372" formatCode="m/d/yyyy">
                  <c:v>39994</c:v>
                </c:pt>
                <c:pt idx="2373" formatCode="m/d/yyyy">
                  <c:v>39995</c:v>
                </c:pt>
                <c:pt idx="2374" formatCode="m/d/yyyy">
                  <c:v>39996</c:v>
                </c:pt>
                <c:pt idx="2375" formatCode="m/d/yyyy">
                  <c:v>39997</c:v>
                </c:pt>
                <c:pt idx="2376" formatCode="m/d/yyyy">
                  <c:v>39998</c:v>
                </c:pt>
                <c:pt idx="2377" formatCode="m/d/yyyy">
                  <c:v>39999</c:v>
                </c:pt>
                <c:pt idx="2378" formatCode="m/d/yyyy">
                  <c:v>40000</c:v>
                </c:pt>
                <c:pt idx="2379" formatCode="m/d/yyyy">
                  <c:v>40001</c:v>
                </c:pt>
                <c:pt idx="2380" formatCode="m/d/yyyy">
                  <c:v>40002</c:v>
                </c:pt>
                <c:pt idx="2381" formatCode="m/d/yyyy">
                  <c:v>40003</c:v>
                </c:pt>
                <c:pt idx="2382" formatCode="m/d/yyyy">
                  <c:v>40004</c:v>
                </c:pt>
                <c:pt idx="2383" formatCode="m/d/yyyy">
                  <c:v>40005</c:v>
                </c:pt>
                <c:pt idx="2384" formatCode="m/d/yyyy">
                  <c:v>40006</c:v>
                </c:pt>
                <c:pt idx="2385" formatCode="m/d/yyyy">
                  <c:v>40007</c:v>
                </c:pt>
                <c:pt idx="2386" formatCode="m/d/yyyy">
                  <c:v>40008</c:v>
                </c:pt>
                <c:pt idx="2387" formatCode="m/d/yyyy">
                  <c:v>40009</c:v>
                </c:pt>
                <c:pt idx="2388" formatCode="m/d/yyyy">
                  <c:v>40010</c:v>
                </c:pt>
                <c:pt idx="2389" formatCode="m/d/yyyy">
                  <c:v>40011</c:v>
                </c:pt>
                <c:pt idx="2390" formatCode="m/d/yyyy">
                  <c:v>40012</c:v>
                </c:pt>
                <c:pt idx="2391" formatCode="m/d/yyyy">
                  <c:v>40013</c:v>
                </c:pt>
                <c:pt idx="2392" formatCode="m/d/yyyy">
                  <c:v>40014</c:v>
                </c:pt>
                <c:pt idx="2393" formatCode="m/d/yyyy">
                  <c:v>40015</c:v>
                </c:pt>
                <c:pt idx="2394" formatCode="m/d/yyyy">
                  <c:v>40016</c:v>
                </c:pt>
                <c:pt idx="2395" formatCode="m/d/yyyy">
                  <c:v>40017</c:v>
                </c:pt>
                <c:pt idx="2396" formatCode="m/d/yyyy">
                  <c:v>40018</c:v>
                </c:pt>
                <c:pt idx="2397" formatCode="m/d/yyyy">
                  <c:v>40019</c:v>
                </c:pt>
                <c:pt idx="2398" formatCode="m/d/yyyy">
                  <c:v>40020</c:v>
                </c:pt>
                <c:pt idx="2399" formatCode="m/d/yyyy">
                  <c:v>40021</c:v>
                </c:pt>
                <c:pt idx="2400" formatCode="m/d/yyyy">
                  <c:v>40022</c:v>
                </c:pt>
                <c:pt idx="2401" formatCode="m/d/yyyy">
                  <c:v>40023</c:v>
                </c:pt>
                <c:pt idx="2402" formatCode="m/d/yyyy">
                  <c:v>40024</c:v>
                </c:pt>
                <c:pt idx="2403" formatCode="m/d/yyyy">
                  <c:v>40025</c:v>
                </c:pt>
                <c:pt idx="2404" formatCode="m/d/yyyy">
                  <c:v>40026</c:v>
                </c:pt>
                <c:pt idx="2405" formatCode="m/d/yyyy">
                  <c:v>40027</c:v>
                </c:pt>
                <c:pt idx="2406" formatCode="m/d/yyyy">
                  <c:v>40028</c:v>
                </c:pt>
                <c:pt idx="2407" formatCode="m/d/yyyy">
                  <c:v>40029</c:v>
                </c:pt>
                <c:pt idx="2408" formatCode="m/d/yyyy">
                  <c:v>40030</c:v>
                </c:pt>
                <c:pt idx="2409" formatCode="m/d/yyyy">
                  <c:v>40031</c:v>
                </c:pt>
                <c:pt idx="2410" formatCode="m/d/yyyy">
                  <c:v>40032</c:v>
                </c:pt>
                <c:pt idx="2411" formatCode="m/d/yyyy">
                  <c:v>40033</c:v>
                </c:pt>
                <c:pt idx="2412" formatCode="m/d/yyyy">
                  <c:v>40034</c:v>
                </c:pt>
                <c:pt idx="2413" formatCode="m/d/yyyy">
                  <c:v>40035</c:v>
                </c:pt>
                <c:pt idx="2414" formatCode="m/d/yyyy">
                  <c:v>40036</c:v>
                </c:pt>
                <c:pt idx="2415" formatCode="m/d/yyyy">
                  <c:v>40037</c:v>
                </c:pt>
                <c:pt idx="2416" formatCode="m/d/yyyy">
                  <c:v>40038</c:v>
                </c:pt>
                <c:pt idx="2417" formatCode="m/d/yyyy">
                  <c:v>40039</c:v>
                </c:pt>
                <c:pt idx="2418" formatCode="m/d/yyyy">
                  <c:v>40040</c:v>
                </c:pt>
                <c:pt idx="2419" formatCode="m/d/yyyy">
                  <c:v>40041</c:v>
                </c:pt>
                <c:pt idx="2420" formatCode="m/d/yyyy">
                  <c:v>40042</c:v>
                </c:pt>
                <c:pt idx="2421" formatCode="m/d/yyyy">
                  <c:v>40043</c:v>
                </c:pt>
                <c:pt idx="2422" formatCode="m/d/yyyy">
                  <c:v>40044</c:v>
                </c:pt>
                <c:pt idx="2423" formatCode="m/d/yyyy">
                  <c:v>40045</c:v>
                </c:pt>
                <c:pt idx="2424" formatCode="m/d/yyyy">
                  <c:v>40046</c:v>
                </c:pt>
                <c:pt idx="2425" formatCode="m/d/yyyy">
                  <c:v>40047</c:v>
                </c:pt>
                <c:pt idx="2426" formatCode="m/d/yyyy">
                  <c:v>40048</c:v>
                </c:pt>
                <c:pt idx="2427" formatCode="m/d/yyyy">
                  <c:v>40049</c:v>
                </c:pt>
                <c:pt idx="2428" formatCode="m/d/yyyy">
                  <c:v>40050</c:v>
                </c:pt>
                <c:pt idx="2429" formatCode="m/d/yyyy">
                  <c:v>40051</c:v>
                </c:pt>
                <c:pt idx="2430" formatCode="m/d/yyyy">
                  <c:v>40052</c:v>
                </c:pt>
                <c:pt idx="2431" formatCode="m/d/yyyy">
                  <c:v>40053</c:v>
                </c:pt>
                <c:pt idx="2432" formatCode="m/d/yyyy">
                  <c:v>40054</c:v>
                </c:pt>
                <c:pt idx="2433" formatCode="m/d/yyyy">
                  <c:v>40055</c:v>
                </c:pt>
                <c:pt idx="2434" formatCode="m/d/yyyy">
                  <c:v>40056</c:v>
                </c:pt>
                <c:pt idx="2435" formatCode="m/d/yyyy">
                  <c:v>40057</c:v>
                </c:pt>
                <c:pt idx="2436" formatCode="m/d/yyyy">
                  <c:v>40058</c:v>
                </c:pt>
                <c:pt idx="2437" formatCode="m/d/yyyy">
                  <c:v>40059</c:v>
                </c:pt>
                <c:pt idx="2438" formatCode="m/d/yyyy">
                  <c:v>40060</c:v>
                </c:pt>
                <c:pt idx="2439" formatCode="m/d/yyyy">
                  <c:v>40061</c:v>
                </c:pt>
                <c:pt idx="2440" formatCode="m/d/yyyy">
                  <c:v>40062</c:v>
                </c:pt>
                <c:pt idx="2441" formatCode="m/d/yyyy">
                  <c:v>40063</c:v>
                </c:pt>
                <c:pt idx="2442" formatCode="m/d/yyyy">
                  <c:v>40064</c:v>
                </c:pt>
                <c:pt idx="2443" formatCode="m/d/yyyy">
                  <c:v>40065</c:v>
                </c:pt>
                <c:pt idx="2444" formatCode="m/d/yyyy">
                  <c:v>40066</c:v>
                </c:pt>
                <c:pt idx="2445" formatCode="m/d/yyyy">
                  <c:v>40067</c:v>
                </c:pt>
                <c:pt idx="2446" formatCode="m/d/yyyy">
                  <c:v>40068</c:v>
                </c:pt>
                <c:pt idx="2447" formatCode="m/d/yyyy">
                  <c:v>40069</c:v>
                </c:pt>
                <c:pt idx="2448" formatCode="m/d/yyyy">
                  <c:v>40070</c:v>
                </c:pt>
                <c:pt idx="2449" formatCode="m/d/yyyy">
                  <c:v>40071</c:v>
                </c:pt>
                <c:pt idx="2450" formatCode="m/d/yyyy">
                  <c:v>40072</c:v>
                </c:pt>
                <c:pt idx="2451" formatCode="m/d/yyyy">
                  <c:v>40073</c:v>
                </c:pt>
                <c:pt idx="2452" formatCode="m/d/yyyy">
                  <c:v>40074</c:v>
                </c:pt>
                <c:pt idx="2453" formatCode="m/d/yyyy">
                  <c:v>40075</c:v>
                </c:pt>
                <c:pt idx="2454" formatCode="m/d/yyyy">
                  <c:v>40076</c:v>
                </c:pt>
                <c:pt idx="2455" formatCode="m/d/yyyy">
                  <c:v>40077</c:v>
                </c:pt>
                <c:pt idx="2456" formatCode="m/d/yyyy">
                  <c:v>40078</c:v>
                </c:pt>
                <c:pt idx="2457" formatCode="m/d/yyyy">
                  <c:v>40079</c:v>
                </c:pt>
                <c:pt idx="2458" formatCode="m/d/yyyy">
                  <c:v>40080</c:v>
                </c:pt>
                <c:pt idx="2459" formatCode="m/d/yyyy">
                  <c:v>40081</c:v>
                </c:pt>
                <c:pt idx="2460" formatCode="m/d/yyyy">
                  <c:v>40082</c:v>
                </c:pt>
                <c:pt idx="2461" formatCode="m/d/yyyy">
                  <c:v>40083</c:v>
                </c:pt>
                <c:pt idx="2462" formatCode="m/d/yyyy">
                  <c:v>40084</c:v>
                </c:pt>
                <c:pt idx="2463" formatCode="m/d/yyyy">
                  <c:v>40085</c:v>
                </c:pt>
                <c:pt idx="2464" formatCode="m/d/yyyy">
                  <c:v>40086</c:v>
                </c:pt>
                <c:pt idx="2465" formatCode="m/d/yyyy">
                  <c:v>40087</c:v>
                </c:pt>
                <c:pt idx="2466" formatCode="m/d/yyyy">
                  <c:v>40088</c:v>
                </c:pt>
                <c:pt idx="2467" formatCode="m/d/yyyy">
                  <c:v>40089</c:v>
                </c:pt>
                <c:pt idx="2468" formatCode="m/d/yyyy">
                  <c:v>40090</c:v>
                </c:pt>
                <c:pt idx="2469" formatCode="m/d/yyyy">
                  <c:v>40091</c:v>
                </c:pt>
                <c:pt idx="2470" formatCode="m/d/yyyy">
                  <c:v>40092</c:v>
                </c:pt>
                <c:pt idx="2471" formatCode="m/d/yyyy">
                  <c:v>40093</c:v>
                </c:pt>
                <c:pt idx="2472" formatCode="m/d/yyyy">
                  <c:v>40094</c:v>
                </c:pt>
                <c:pt idx="2473" formatCode="m/d/yyyy">
                  <c:v>40095</c:v>
                </c:pt>
                <c:pt idx="2474" formatCode="m/d/yyyy">
                  <c:v>40096</c:v>
                </c:pt>
                <c:pt idx="2475" formatCode="m/d/yyyy">
                  <c:v>40097</c:v>
                </c:pt>
                <c:pt idx="2476" formatCode="m/d/yyyy">
                  <c:v>40098</c:v>
                </c:pt>
                <c:pt idx="2477" formatCode="m/d/yyyy">
                  <c:v>40099</c:v>
                </c:pt>
                <c:pt idx="2478" formatCode="m/d/yyyy">
                  <c:v>40100</c:v>
                </c:pt>
                <c:pt idx="2479" formatCode="m/d/yyyy">
                  <c:v>40101</c:v>
                </c:pt>
                <c:pt idx="2480" formatCode="m/d/yyyy">
                  <c:v>40102</c:v>
                </c:pt>
                <c:pt idx="2481" formatCode="m/d/yyyy">
                  <c:v>40103</c:v>
                </c:pt>
                <c:pt idx="2482" formatCode="m/d/yyyy">
                  <c:v>40104</c:v>
                </c:pt>
                <c:pt idx="2483" formatCode="m/d/yyyy">
                  <c:v>40105</c:v>
                </c:pt>
                <c:pt idx="2484" formatCode="m/d/yyyy">
                  <c:v>40106</c:v>
                </c:pt>
                <c:pt idx="2485" formatCode="m/d/yyyy">
                  <c:v>40107</c:v>
                </c:pt>
                <c:pt idx="2486" formatCode="m/d/yyyy">
                  <c:v>40108</c:v>
                </c:pt>
                <c:pt idx="2487" formatCode="m/d/yyyy">
                  <c:v>40109</c:v>
                </c:pt>
                <c:pt idx="2488" formatCode="m/d/yyyy">
                  <c:v>40110</c:v>
                </c:pt>
                <c:pt idx="2489" formatCode="m/d/yyyy">
                  <c:v>40111</c:v>
                </c:pt>
                <c:pt idx="2490" formatCode="m/d/yyyy">
                  <c:v>40112</c:v>
                </c:pt>
                <c:pt idx="2491" formatCode="m/d/yyyy">
                  <c:v>40113</c:v>
                </c:pt>
                <c:pt idx="2492" formatCode="m/d/yyyy">
                  <c:v>40114</c:v>
                </c:pt>
                <c:pt idx="2493" formatCode="m/d/yyyy">
                  <c:v>40115</c:v>
                </c:pt>
                <c:pt idx="2494" formatCode="m/d/yyyy">
                  <c:v>40116</c:v>
                </c:pt>
                <c:pt idx="2495" formatCode="m/d/yyyy">
                  <c:v>40117</c:v>
                </c:pt>
                <c:pt idx="2496" formatCode="m/d/yyyy">
                  <c:v>40118</c:v>
                </c:pt>
                <c:pt idx="2497" formatCode="m/d/yyyy">
                  <c:v>40119</c:v>
                </c:pt>
                <c:pt idx="2498" formatCode="m/d/yyyy">
                  <c:v>40120</c:v>
                </c:pt>
                <c:pt idx="2499" formatCode="m/d/yyyy">
                  <c:v>40121</c:v>
                </c:pt>
                <c:pt idx="2500" formatCode="m/d/yyyy">
                  <c:v>40122</c:v>
                </c:pt>
                <c:pt idx="2501" formatCode="m/d/yyyy">
                  <c:v>40123</c:v>
                </c:pt>
                <c:pt idx="2502" formatCode="m/d/yyyy">
                  <c:v>40124</c:v>
                </c:pt>
                <c:pt idx="2503" formatCode="m/d/yyyy">
                  <c:v>40125</c:v>
                </c:pt>
                <c:pt idx="2504" formatCode="m/d/yyyy">
                  <c:v>40126</c:v>
                </c:pt>
                <c:pt idx="2505" formatCode="m/d/yyyy">
                  <c:v>40127</c:v>
                </c:pt>
                <c:pt idx="2506" formatCode="m/d/yyyy">
                  <c:v>40128</c:v>
                </c:pt>
                <c:pt idx="2507" formatCode="m/d/yyyy">
                  <c:v>40129</c:v>
                </c:pt>
                <c:pt idx="2508" formatCode="m/d/yyyy">
                  <c:v>40130</c:v>
                </c:pt>
                <c:pt idx="2509" formatCode="m/d/yyyy">
                  <c:v>40131</c:v>
                </c:pt>
                <c:pt idx="2510" formatCode="m/d/yyyy">
                  <c:v>40132</c:v>
                </c:pt>
                <c:pt idx="2511" formatCode="m/d/yyyy">
                  <c:v>40133</c:v>
                </c:pt>
                <c:pt idx="2512" formatCode="m/d/yyyy">
                  <c:v>40134</c:v>
                </c:pt>
                <c:pt idx="2513" formatCode="m/d/yyyy">
                  <c:v>40135</c:v>
                </c:pt>
                <c:pt idx="2514" formatCode="m/d/yyyy">
                  <c:v>40136</c:v>
                </c:pt>
                <c:pt idx="2515" formatCode="m/d/yyyy">
                  <c:v>40137</c:v>
                </c:pt>
                <c:pt idx="2516" formatCode="m/d/yyyy">
                  <c:v>40138</c:v>
                </c:pt>
                <c:pt idx="2517" formatCode="m/d/yyyy">
                  <c:v>40139</c:v>
                </c:pt>
                <c:pt idx="2518" formatCode="m/d/yyyy">
                  <c:v>40140</c:v>
                </c:pt>
                <c:pt idx="2519" formatCode="m/d/yyyy">
                  <c:v>40141</c:v>
                </c:pt>
                <c:pt idx="2520" formatCode="m/d/yyyy">
                  <c:v>40142</c:v>
                </c:pt>
                <c:pt idx="2521" formatCode="m/d/yyyy">
                  <c:v>40143</c:v>
                </c:pt>
                <c:pt idx="2522" formatCode="m/d/yyyy">
                  <c:v>40144</c:v>
                </c:pt>
                <c:pt idx="2523" formatCode="m/d/yyyy">
                  <c:v>40145</c:v>
                </c:pt>
                <c:pt idx="2524" formatCode="m/d/yyyy">
                  <c:v>40146</c:v>
                </c:pt>
                <c:pt idx="2525" formatCode="m/d/yyyy">
                  <c:v>40147</c:v>
                </c:pt>
                <c:pt idx="2526" formatCode="m/d/yyyy">
                  <c:v>40148</c:v>
                </c:pt>
                <c:pt idx="2527" formatCode="m/d/yyyy">
                  <c:v>40149</c:v>
                </c:pt>
                <c:pt idx="2528" formatCode="m/d/yyyy">
                  <c:v>40150</c:v>
                </c:pt>
                <c:pt idx="2529" formatCode="m/d/yyyy">
                  <c:v>40151</c:v>
                </c:pt>
                <c:pt idx="2530" formatCode="m/d/yyyy">
                  <c:v>40152</c:v>
                </c:pt>
                <c:pt idx="2531" formatCode="m/d/yyyy">
                  <c:v>40153</c:v>
                </c:pt>
                <c:pt idx="2532" formatCode="m/d/yyyy">
                  <c:v>40154</c:v>
                </c:pt>
                <c:pt idx="2533" formatCode="m/d/yyyy">
                  <c:v>40155</c:v>
                </c:pt>
                <c:pt idx="2534" formatCode="m/d/yyyy">
                  <c:v>40156</c:v>
                </c:pt>
                <c:pt idx="2535" formatCode="m/d/yyyy">
                  <c:v>40157</c:v>
                </c:pt>
                <c:pt idx="2536" formatCode="m/d/yyyy">
                  <c:v>40158</c:v>
                </c:pt>
                <c:pt idx="2537" formatCode="m/d/yyyy">
                  <c:v>40159</c:v>
                </c:pt>
                <c:pt idx="2538" formatCode="m/d/yyyy">
                  <c:v>40160</c:v>
                </c:pt>
                <c:pt idx="2539" formatCode="m/d/yyyy">
                  <c:v>40161</c:v>
                </c:pt>
                <c:pt idx="2540" formatCode="m/d/yyyy">
                  <c:v>40162</c:v>
                </c:pt>
                <c:pt idx="2541" formatCode="m/d/yyyy">
                  <c:v>40163</c:v>
                </c:pt>
                <c:pt idx="2542" formatCode="m/d/yyyy">
                  <c:v>40164</c:v>
                </c:pt>
                <c:pt idx="2543" formatCode="m/d/yyyy">
                  <c:v>40165</c:v>
                </c:pt>
                <c:pt idx="2544" formatCode="m/d/yyyy">
                  <c:v>40166</c:v>
                </c:pt>
                <c:pt idx="2545" formatCode="m/d/yyyy">
                  <c:v>40167</c:v>
                </c:pt>
                <c:pt idx="2546" formatCode="m/d/yyyy">
                  <c:v>40168</c:v>
                </c:pt>
                <c:pt idx="2547" formatCode="m/d/yyyy">
                  <c:v>40169</c:v>
                </c:pt>
                <c:pt idx="2548" formatCode="m/d/yyyy">
                  <c:v>40170</c:v>
                </c:pt>
                <c:pt idx="2549" formatCode="m/d/yyyy">
                  <c:v>40171</c:v>
                </c:pt>
                <c:pt idx="2550" formatCode="m/d/yyyy">
                  <c:v>40172</c:v>
                </c:pt>
                <c:pt idx="2551" formatCode="m/d/yyyy">
                  <c:v>40173</c:v>
                </c:pt>
                <c:pt idx="2552" formatCode="m/d/yyyy">
                  <c:v>40174</c:v>
                </c:pt>
                <c:pt idx="2553" formatCode="m/d/yyyy">
                  <c:v>40175</c:v>
                </c:pt>
                <c:pt idx="2554" formatCode="m/d/yyyy">
                  <c:v>40176</c:v>
                </c:pt>
                <c:pt idx="2555" formatCode="m/d/yyyy">
                  <c:v>40177</c:v>
                </c:pt>
                <c:pt idx="2556" formatCode="m/d/yyyy">
                  <c:v>40178</c:v>
                </c:pt>
                <c:pt idx="2557" formatCode="m/d/yyyy">
                  <c:v>40179</c:v>
                </c:pt>
                <c:pt idx="2558" formatCode="m/d/yyyy">
                  <c:v>40180</c:v>
                </c:pt>
                <c:pt idx="2559" formatCode="m/d/yyyy">
                  <c:v>40181</c:v>
                </c:pt>
                <c:pt idx="2560" formatCode="m/d/yyyy">
                  <c:v>40182</c:v>
                </c:pt>
                <c:pt idx="2561" formatCode="m/d/yyyy">
                  <c:v>40183</c:v>
                </c:pt>
                <c:pt idx="2562" formatCode="m/d/yyyy">
                  <c:v>40184</c:v>
                </c:pt>
                <c:pt idx="2563" formatCode="m/d/yyyy">
                  <c:v>40185</c:v>
                </c:pt>
                <c:pt idx="2564" formatCode="m/d/yyyy">
                  <c:v>40186</c:v>
                </c:pt>
                <c:pt idx="2565" formatCode="m/d/yyyy">
                  <c:v>40187</c:v>
                </c:pt>
                <c:pt idx="2566" formatCode="m/d/yyyy">
                  <c:v>40188</c:v>
                </c:pt>
                <c:pt idx="2567" formatCode="m/d/yyyy">
                  <c:v>40189</c:v>
                </c:pt>
                <c:pt idx="2568" formatCode="m/d/yyyy">
                  <c:v>40190</c:v>
                </c:pt>
                <c:pt idx="2569" formatCode="m/d/yyyy">
                  <c:v>40191</c:v>
                </c:pt>
                <c:pt idx="2570" formatCode="m/d/yyyy">
                  <c:v>40192</c:v>
                </c:pt>
                <c:pt idx="2571" formatCode="m/d/yyyy">
                  <c:v>40193</c:v>
                </c:pt>
                <c:pt idx="2572" formatCode="m/d/yyyy">
                  <c:v>40194</c:v>
                </c:pt>
                <c:pt idx="2573" formatCode="m/d/yyyy">
                  <c:v>40195</c:v>
                </c:pt>
                <c:pt idx="2574" formatCode="m/d/yyyy">
                  <c:v>40196</c:v>
                </c:pt>
                <c:pt idx="2575" formatCode="m/d/yyyy">
                  <c:v>40197</c:v>
                </c:pt>
                <c:pt idx="2576" formatCode="m/d/yyyy">
                  <c:v>40198</c:v>
                </c:pt>
                <c:pt idx="2577" formatCode="m/d/yyyy">
                  <c:v>40199</c:v>
                </c:pt>
                <c:pt idx="2578" formatCode="m/d/yyyy">
                  <c:v>40200</c:v>
                </c:pt>
                <c:pt idx="2579" formatCode="m/d/yyyy">
                  <c:v>40201</c:v>
                </c:pt>
                <c:pt idx="2580" formatCode="m/d/yyyy">
                  <c:v>40202</c:v>
                </c:pt>
                <c:pt idx="2581" formatCode="m/d/yyyy">
                  <c:v>40203</c:v>
                </c:pt>
                <c:pt idx="2582" formatCode="m/d/yyyy">
                  <c:v>40204</c:v>
                </c:pt>
                <c:pt idx="2583" formatCode="m/d/yyyy">
                  <c:v>40205</c:v>
                </c:pt>
                <c:pt idx="2584" formatCode="m/d/yyyy">
                  <c:v>40206</c:v>
                </c:pt>
                <c:pt idx="2585" formatCode="m/d/yyyy">
                  <c:v>40207</c:v>
                </c:pt>
                <c:pt idx="2586" formatCode="m/d/yyyy">
                  <c:v>40208</c:v>
                </c:pt>
                <c:pt idx="2587" formatCode="m/d/yyyy">
                  <c:v>40209</c:v>
                </c:pt>
                <c:pt idx="2588" formatCode="m/d/yyyy">
                  <c:v>40210</c:v>
                </c:pt>
                <c:pt idx="2589" formatCode="m/d/yyyy">
                  <c:v>40211</c:v>
                </c:pt>
                <c:pt idx="2590" formatCode="m/d/yyyy">
                  <c:v>40212</c:v>
                </c:pt>
                <c:pt idx="2591" formatCode="m/d/yyyy">
                  <c:v>40213</c:v>
                </c:pt>
                <c:pt idx="2592" formatCode="m/d/yyyy">
                  <c:v>40214</c:v>
                </c:pt>
                <c:pt idx="2593" formatCode="m/d/yyyy">
                  <c:v>40215</c:v>
                </c:pt>
                <c:pt idx="2594" formatCode="m/d/yyyy">
                  <c:v>40216</c:v>
                </c:pt>
                <c:pt idx="2595" formatCode="m/d/yyyy">
                  <c:v>40217</c:v>
                </c:pt>
                <c:pt idx="2596" formatCode="m/d/yyyy">
                  <c:v>40218</c:v>
                </c:pt>
                <c:pt idx="2597" formatCode="m/d/yyyy">
                  <c:v>40219</c:v>
                </c:pt>
                <c:pt idx="2598" formatCode="m/d/yyyy">
                  <c:v>40220</c:v>
                </c:pt>
                <c:pt idx="2599" formatCode="m/d/yyyy">
                  <c:v>40221</c:v>
                </c:pt>
                <c:pt idx="2600" formatCode="m/d/yyyy">
                  <c:v>40222</c:v>
                </c:pt>
                <c:pt idx="2601" formatCode="m/d/yyyy">
                  <c:v>40223</c:v>
                </c:pt>
                <c:pt idx="2602" formatCode="m/d/yyyy">
                  <c:v>40224</c:v>
                </c:pt>
                <c:pt idx="2603" formatCode="m/d/yyyy">
                  <c:v>40225</c:v>
                </c:pt>
                <c:pt idx="2604" formatCode="m/d/yyyy">
                  <c:v>40226</c:v>
                </c:pt>
                <c:pt idx="2605" formatCode="m/d/yyyy">
                  <c:v>40227</c:v>
                </c:pt>
                <c:pt idx="2606" formatCode="m/d/yyyy">
                  <c:v>40228</c:v>
                </c:pt>
                <c:pt idx="2607" formatCode="m/d/yyyy">
                  <c:v>40229</c:v>
                </c:pt>
                <c:pt idx="2608" formatCode="m/d/yyyy">
                  <c:v>40230</c:v>
                </c:pt>
                <c:pt idx="2609" formatCode="m/d/yyyy">
                  <c:v>40231</c:v>
                </c:pt>
                <c:pt idx="2610" formatCode="m/d/yyyy">
                  <c:v>40232</c:v>
                </c:pt>
                <c:pt idx="2611" formatCode="m/d/yyyy">
                  <c:v>40233</c:v>
                </c:pt>
                <c:pt idx="2612" formatCode="m/d/yyyy">
                  <c:v>40234</c:v>
                </c:pt>
                <c:pt idx="2613" formatCode="m/d/yyyy">
                  <c:v>40235</c:v>
                </c:pt>
                <c:pt idx="2614" formatCode="m/d/yyyy">
                  <c:v>40236</c:v>
                </c:pt>
                <c:pt idx="2615" formatCode="m/d/yyyy">
                  <c:v>40237</c:v>
                </c:pt>
                <c:pt idx="2616" formatCode="m/d/yyyy">
                  <c:v>40238</c:v>
                </c:pt>
                <c:pt idx="2617" formatCode="m/d/yyyy">
                  <c:v>40239</c:v>
                </c:pt>
                <c:pt idx="2618" formatCode="m/d/yyyy">
                  <c:v>40240</c:v>
                </c:pt>
                <c:pt idx="2619" formatCode="m/d/yyyy">
                  <c:v>40241</c:v>
                </c:pt>
                <c:pt idx="2620" formatCode="m/d/yyyy">
                  <c:v>40242</c:v>
                </c:pt>
                <c:pt idx="2621" formatCode="m/d/yyyy">
                  <c:v>40243</c:v>
                </c:pt>
                <c:pt idx="2622" formatCode="m/d/yyyy">
                  <c:v>40244</c:v>
                </c:pt>
                <c:pt idx="2623" formatCode="m/d/yyyy">
                  <c:v>40245</c:v>
                </c:pt>
                <c:pt idx="2624" formatCode="m/d/yyyy">
                  <c:v>40246</c:v>
                </c:pt>
                <c:pt idx="2625" formatCode="m/d/yyyy">
                  <c:v>40247</c:v>
                </c:pt>
                <c:pt idx="2626" formatCode="m/d/yyyy">
                  <c:v>40248</c:v>
                </c:pt>
                <c:pt idx="2627" formatCode="m/d/yyyy">
                  <c:v>40249</c:v>
                </c:pt>
                <c:pt idx="2628" formatCode="m/d/yyyy">
                  <c:v>40250</c:v>
                </c:pt>
                <c:pt idx="2629" formatCode="m/d/yyyy">
                  <c:v>40251</c:v>
                </c:pt>
                <c:pt idx="2630" formatCode="m/d/yyyy">
                  <c:v>40252</c:v>
                </c:pt>
                <c:pt idx="2631" formatCode="m/d/yyyy">
                  <c:v>40253</c:v>
                </c:pt>
                <c:pt idx="2632" formatCode="m/d/yyyy">
                  <c:v>40254</c:v>
                </c:pt>
                <c:pt idx="2633" formatCode="m/d/yyyy">
                  <c:v>40255</c:v>
                </c:pt>
                <c:pt idx="2634" formatCode="m/d/yyyy">
                  <c:v>40256</c:v>
                </c:pt>
                <c:pt idx="2635" formatCode="m/d/yyyy">
                  <c:v>40257</c:v>
                </c:pt>
                <c:pt idx="2636" formatCode="m/d/yyyy">
                  <c:v>40258</c:v>
                </c:pt>
                <c:pt idx="2637" formatCode="m/d/yyyy">
                  <c:v>40259</c:v>
                </c:pt>
                <c:pt idx="2638" formatCode="m/d/yyyy">
                  <c:v>40260</c:v>
                </c:pt>
                <c:pt idx="2639" formatCode="m/d/yyyy">
                  <c:v>40261</c:v>
                </c:pt>
                <c:pt idx="2640" formatCode="m/d/yyyy">
                  <c:v>40262</c:v>
                </c:pt>
                <c:pt idx="2641" formatCode="m/d/yyyy">
                  <c:v>40263</c:v>
                </c:pt>
                <c:pt idx="2642" formatCode="m/d/yyyy">
                  <c:v>40264</c:v>
                </c:pt>
                <c:pt idx="2643" formatCode="m/d/yyyy">
                  <c:v>40265</c:v>
                </c:pt>
                <c:pt idx="2644" formatCode="m/d/yyyy">
                  <c:v>40266</c:v>
                </c:pt>
                <c:pt idx="2645" formatCode="m/d/yyyy">
                  <c:v>40267</c:v>
                </c:pt>
                <c:pt idx="2646" formatCode="m/d/yyyy">
                  <c:v>40268</c:v>
                </c:pt>
                <c:pt idx="2647" formatCode="m/d/yyyy">
                  <c:v>40269</c:v>
                </c:pt>
                <c:pt idx="2648" formatCode="m/d/yyyy">
                  <c:v>40270</c:v>
                </c:pt>
                <c:pt idx="2649" formatCode="m/d/yyyy">
                  <c:v>40271</c:v>
                </c:pt>
                <c:pt idx="2650" formatCode="m/d/yyyy">
                  <c:v>40272</c:v>
                </c:pt>
                <c:pt idx="2651" formatCode="m/d/yyyy">
                  <c:v>40273</c:v>
                </c:pt>
                <c:pt idx="2652" formatCode="m/d/yyyy">
                  <c:v>40274</c:v>
                </c:pt>
                <c:pt idx="2653" formatCode="m/d/yyyy">
                  <c:v>40275</c:v>
                </c:pt>
                <c:pt idx="2654" formatCode="m/d/yyyy">
                  <c:v>40276</c:v>
                </c:pt>
                <c:pt idx="2655" formatCode="m/d/yyyy">
                  <c:v>40277</c:v>
                </c:pt>
                <c:pt idx="2656" formatCode="m/d/yyyy">
                  <c:v>40278</c:v>
                </c:pt>
                <c:pt idx="2657" formatCode="m/d/yyyy">
                  <c:v>40279</c:v>
                </c:pt>
                <c:pt idx="2658" formatCode="m/d/yyyy">
                  <c:v>40280</c:v>
                </c:pt>
                <c:pt idx="2659" formatCode="m/d/yyyy">
                  <c:v>40281</c:v>
                </c:pt>
                <c:pt idx="2660" formatCode="m/d/yyyy">
                  <c:v>40282</c:v>
                </c:pt>
                <c:pt idx="2661" formatCode="m/d/yyyy">
                  <c:v>40283</c:v>
                </c:pt>
                <c:pt idx="2662" formatCode="m/d/yyyy">
                  <c:v>40284</c:v>
                </c:pt>
                <c:pt idx="2663" formatCode="m/d/yyyy">
                  <c:v>40285</c:v>
                </c:pt>
                <c:pt idx="2664" formatCode="m/d/yyyy">
                  <c:v>40286</c:v>
                </c:pt>
                <c:pt idx="2665" formatCode="m/d/yyyy">
                  <c:v>40287</c:v>
                </c:pt>
                <c:pt idx="2666" formatCode="m/d/yyyy">
                  <c:v>40288</c:v>
                </c:pt>
                <c:pt idx="2667" formatCode="m/d/yyyy">
                  <c:v>40289</c:v>
                </c:pt>
                <c:pt idx="2668" formatCode="m/d/yyyy">
                  <c:v>40290</c:v>
                </c:pt>
                <c:pt idx="2669" formatCode="m/d/yyyy">
                  <c:v>40291</c:v>
                </c:pt>
                <c:pt idx="2670" formatCode="m/d/yyyy">
                  <c:v>40292</c:v>
                </c:pt>
                <c:pt idx="2671" formatCode="m/d/yyyy">
                  <c:v>40293</c:v>
                </c:pt>
                <c:pt idx="2672" formatCode="m/d/yyyy">
                  <c:v>40294</c:v>
                </c:pt>
                <c:pt idx="2673" formatCode="m/d/yyyy">
                  <c:v>40295</c:v>
                </c:pt>
                <c:pt idx="2674" formatCode="m/d/yyyy">
                  <c:v>40296</c:v>
                </c:pt>
                <c:pt idx="2675" formatCode="m/d/yyyy">
                  <c:v>40297</c:v>
                </c:pt>
                <c:pt idx="2676" formatCode="m/d/yyyy">
                  <c:v>40298</c:v>
                </c:pt>
                <c:pt idx="2677" formatCode="m/d/yyyy">
                  <c:v>40299</c:v>
                </c:pt>
                <c:pt idx="2678" formatCode="m/d/yyyy">
                  <c:v>40300</c:v>
                </c:pt>
                <c:pt idx="2679" formatCode="m/d/yyyy">
                  <c:v>40301</c:v>
                </c:pt>
                <c:pt idx="2680" formatCode="m/d/yyyy">
                  <c:v>40302</c:v>
                </c:pt>
                <c:pt idx="2681" formatCode="m/d/yyyy">
                  <c:v>40303</c:v>
                </c:pt>
                <c:pt idx="2682" formatCode="m/d/yyyy">
                  <c:v>40304</c:v>
                </c:pt>
                <c:pt idx="2683" formatCode="m/d/yyyy">
                  <c:v>40305</c:v>
                </c:pt>
                <c:pt idx="2684" formatCode="m/d/yyyy">
                  <c:v>40306</c:v>
                </c:pt>
                <c:pt idx="2685" formatCode="m/d/yyyy">
                  <c:v>40307</c:v>
                </c:pt>
                <c:pt idx="2686" formatCode="m/d/yyyy">
                  <c:v>40308</c:v>
                </c:pt>
                <c:pt idx="2687" formatCode="m/d/yyyy">
                  <c:v>40309</c:v>
                </c:pt>
                <c:pt idx="2688" formatCode="m/d/yyyy">
                  <c:v>40310</c:v>
                </c:pt>
                <c:pt idx="2689" formatCode="m/d/yyyy">
                  <c:v>40311</c:v>
                </c:pt>
                <c:pt idx="2690" formatCode="m/d/yyyy">
                  <c:v>40312</c:v>
                </c:pt>
                <c:pt idx="2691" formatCode="m/d/yyyy">
                  <c:v>40313</c:v>
                </c:pt>
                <c:pt idx="2692" formatCode="m/d/yyyy">
                  <c:v>40314</c:v>
                </c:pt>
                <c:pt idx="2693" formatCode="m/d/yyyy">
                  <c:v>40315</c:v>
                </c:pt>
                <c:pt idx="2694" formatCode="m/d/yyyy">
                  <c:v>40316</c:v>
                </c:pt>
                <c:pt idx="2695" formatCode="m/d/yyyy">
                  <c:v>40317</c:v>
                </c:pt>
                <c:pt idx="2696" formatCode="m/d/yyyy">
                  <c:v>40318</c:v>
                </c:pt>
                <c:pt idx="2697" formatCode="m/d/yyyy">
                  <c:v>40319</c:v>
                </c:pt>
                <c:pt idx="2698" formatCode="m/d/yyyy">
                  <c:v>40320</c:v>
                </c:pt>
                <c:pt idx="2699" formatCode="m/d/yyyy">
                  <c:v>40321</c:v>
                </c:pt>
                <c:pt idx="2700" formatCode="m/d/yyyy">
                  <c:v>40322</c:v>
                </c:pt>
                <c:pt idx="2701" formatCode="m/d/yyyy">
                  <c:v>40323</c:v>
                </c:pt>
                <c:pt idx="2702" formatCode="m/d/yyyy">
                  <c:v>40324</c:v>
                </c:pt>
                <c:pt idx="2703" formatCode="m/d/yyyy">
                  <c:v>40325</c:v>
                </c:pt>
                <c:pt idx="2704" formatCode="m/d/yyyy">
                  <c:v>40326</c:v>
                </c:pt>
                <c:pt idx="2705" formatCode="m/d/yyyy">
                  <c:v>40327</c:v>
                </c:pt>
                <c:pt idx="2706" formatCode="m/d/yyyy">
                  <c:v>40328</c:v>
                </c:pt>
                <c:pt idx="2707" formatCode="m/d/yyyy">
                  <c:v>40329</c:v>
                </c:pt>
                <c:pt idx="2708" formatCode="m/d/yyyy">
                  <c:v>40330</c:v>
                </c:pt>
                <c:pt idx="2709" formatCode="m/d/yyyy">
                  <c:v>40331</c:v>
                </c:pt>
                <c:pt idx="2710" formatCode="m/d/yyyy">
                  <c:v>40332</c:v>
                </c:pt>
                <c:pt idx="2711" formatCode="m/d/yyyy">
                  <c:v>40333</c:v>
                </c:pt>
                <c:pt idx="2712" formatCode="m/d/yyyy">
                  <c:v>40334</c:v>
                </c:pt>
                <c:pt idx="2713" formatCode="m/d/yyyy">
                  <c:v>40335</c:v>
                </c:pt>
                <c:pt idx="2714" formatCode="m/d/yyyy">
                  <c:v>40336</c:v>
                </c:pt>
                <c:pt idx="2715" formatCode="m/d/yyyy">
                  <c:v>40337</c:v>
                </c:pt>
                <c:pt idx="2716" formatCode="m/d/yyyy">
                  <c:v>40338</c:v>
                </c:pt>
                <c:pt idx="2717" formatCode="m/d/yyyy">
                  <c:v>40339</c:v>
                </c:pt>
                <c:pt idx="2718" formatCode="m/d/yyyy">
                  <c:v>40340</c:v>
                </c:pt>
                <c:pt idx="2719" formatCode="m/d/yyyy">
                  <c:v>40341</c:v>
                </c:pt>
                <c:pt idx="2720" formatCode="m/d/yyyy">
                  <c:v>40342</c:v>
                </c:pt>
                <c:pt idx="2721" formatCode="m/d/yyyy">
                  <c:v>40343</c:v>
                </c:pt>
                <c:pt idx="2722" formatCode="m/d/yyyy">
                  <c:v>40344</c:v>
                </c:pt>
                <c:pt idx="2723" formatCode="m/d/yyyy">
                  <c:v>40345</c:v>
                </c:pt>
                <c:pt idx="2724" formatCode="m/d/yyyy">
                  <c:v>40346</c:v>
                </c:pt>
                <c:pt idx="2725" formatCode="m/d/yyyy">
                  <c:v>40347</c:v>
                </c:pt>
                <c:pt idx="2726" formatCode="m/d/yyyy">
                  <c:v>40348</c:v>
                </c:pt>
                <c:pt idx="2727" formatCode="m/d/yyyy">
                  <c:v>40349</c:v>
                </c:pt>
                <c:pt idx="2728" formatCode="m/d/yyyy">
                  <c:v>40350</c:v>
                </c:pt>
                <c:pt idx="2729" formatCode="m/d/yyyy">
                  <c:v>40351</c:v>
                </c:pt>
                <c:pt idx="2730" formatCode="m/d/yyyy">
                  <c:v>40352</c:v>
                </c:pt>
                <c:pt idx="2731" formatCode="m/d/yyyy">
                  <c:v>40353</c:v>
                </c:pt>
                <c:pt idx="2732" formatCode="m/d/yyyy">
                  <c:v>40354</c:v>
                </c:pt>
                <c:pt idx="2733" formatCode="m/d/yyyy">
                  <c:v>40355</c:v>
                </c:pt>
                <c:pt idx="2734" formatCode="m/d/yyyy">
                  <c:v>40356</c:v>
                </c:pt>
                <c:pt idx="2735" formatCode="m/d/yyyy">
                  <c:v>40357</c:v>
                </c:pt>
                <c:pt idx="2736" formatCode="m/d/yyyy">
                  <c:v>40358</c:v>
                </c:pt>
                <c:pt idx="2737" formatCode="m/d/yyyy">
                  <c:v>40359</c:v>
                </c:pt>
                <c:pt idx="2738" formatCode="m/d/yyyy">
                  <c:v>40360</c:v>
                </c:pt>
                <c:pt idx="2739" formatCode="m/d/yyyy">
                  <c:v>40361</c:v>
                </c:pt>
                <c:pt idx="2740" formatCode="m/d/yyyy">
                  <c:v>40362</c:v>
                </c:pt>
                <c:pt idx="2741" formatCode="m/d/yyyy">
                  <c:v>40363</c:v>
                </c:pt>
                <c:pt idx="2742" formatCode="m/d/yyyy">
                  <c:v>40364</c:v>
                </c:pt>
                <c:pt idx="2743" formatCode="m/d/yyyy">
                  <c:v>40365</c:v>
                </c:pt>
                <c:pt idx="2744" formatCode="m/d/yyyy">
                  <c:v>40366</c:v>
                </c:pt>
                <c:pt idx="2745" formatCode="m/d/yyyy">
                  <c:v>40367</c:v>
                </c:pt>
                <c:pt idx="2746" formatCode="m/d/yyyy">
                  <c:v>40368</c:v>
                </c:pt>
                <c:pt idx="2747" formatCode="m/d/yyyy">
                  <c:v>40369</c:v>
                </c:pt>
                <c:pt idx="2748" formatCode="m/d/yyyy">
                  <c:v>40370</c:v>
                </c:pt>
                <c:pt idx="2749" formatCode="m/d/yyyy">
                  <c:v>40371</c:v>
                </c:pt>
                <c:pt idx="2750" formatCode="m/d/yyyy">
                  <c:v>40372</c:v>
                </c:pt>
                <c:pt idx="2751" formatCode="m/d/yyyy">
                  <c:v>40373</c:v>
                </c:pt>
                <c:pt idx="2752" formatCode="m/d/yyyy">
                  <c:v>40374</c:v>
                </c:pt>
                <c:pt idx="2753" formatCode="m/d/yyyy">
                  <c:v>40375</c:v>
                </c:pt>
                <c:pt idx="2754" formatCode="m/d/yyyy">
                  <c:v>40376</c:v>
                </c:pt>
                <c:pt idx="2755" formatCode="m/d/yyyy">
                  <c:v>40377</c:v>
                </c:pt>
                <c:pt idx="2756" formatCode="m/d/yyyy">
                  <c:v>40378</c:v>
                </c:pt>
                <c:pt idx="2757" formatCode="m/d/yyyy">
                  <c:v>40379</c:v>
                </c:pt>
                <c:pt idx="2758" formatCode="m/d/yyyy">
                  <c:v>40380</c:v>
                </c:pt>
                <c:pt idx="2759" formatCode="m/d/yyyy">
                  <c:v>40381</c:v>
                </c:pt>
                <c:pt idx="2760" formatCode="m/d/yyyy">
                  <c:v>40382</c:v>
                </c:pt>
                <c:pt idx="2761" formatCode="m/d/yyyy">
                  <c:v>40383</c:v>
                </c:pt>
                <c:pt idx="2762" formatCode="m/d/yyyy">
                  <c:v>40384</c:v>
                </c:pt>
                <c:pt idx="2763" formatCode="m/d/yyyy">
                  <c:v>40385</c:v>
                </c:pt>
                <c:pt idx="2764" formatCode="m/d/yyyy">
                  <c:v>40386</c:v>
                </c:pt>
                <c:pt idx="2765" formatCode="m/d/yyyy">
                  <c:v>40387</c:v>
                </c:pt>
                <c:pt idx="2766" formatCode="m/d/yyyy">
                  <c:v>40388</c:v>
                </c:pt>
                <c:pt idx="2767" formatCode="m/d/yyyy">
                  <c:v>40389</c:v>
                </c:pt>
                <c:pt idx="2768" formatCode="m/d/yyyy">
                  <c:v>40390</c:v>
                </c:pt>
                <c:pt idx="2769" formatCode="m/d/yyyy">
                  <c:v>40391</c:v>
                </c:pt>
                <c:pt idx="2770" formatCode="m/d/yyyy">
                  <c:v>40392</c:v>
                </c:pt>
                <c:pt idx="2771" formatCode="m/d/yyyy">
                  <c:v>40393</c:v>
                </c:pt>
                <c:pt idx="2772" formatCode="m/d/yyyy">
                  <c:v>40394</c:v>
                </c:pt>
                <c:pt idx="2773" formatCode="m/d/yyyy">
                  <c:v>40395</c:v>
                </c:pt>
                <c:pt idx="2774" formatCode="m/d/yyyy">
                  <c:v>40396</c:v>
                </c:pt>
                <c:pt idx="2775" formatCode="m/d/yyyy">
                  <c:v>40397</c:v>
                </c:pt>
                <c:pt idx="2776" formatCode="m/d/yyyy">
                  <c:v>40398</c:v>
                </c:pt>
                <c:pt idx="2777" formatCode="m/d/yyyy">
                  <c:v>40399</c:v>
                </c:pt>
                <c:pt idx="2778" formatCode="m/d/yyyy">
                  <c:v>40400</c:v>
                </c:pt>
                <c:pt idx="2779" formatCode="m/d/yyyy">
                  <c:v>40401</c:v>
                </c:pt>
                <c:pt idx="2780" formatCode="m/d/yyyy">
                  <c:v>40402</c:v>
                </c:pt>
                <c:pt idx="2781" formatCode="m/d/yyyy">
                  <c:v>40403</c:v>
                </c:pt>
                <c:pt idx="2782" formatCode="m/d/yyyy">
                  <c:v>40404</c:v>
                </c:pt>
                <c:pt idx="2783" formatCode="m/d/yyyy">
                  <c:v>40405</c:v>
                </c:pt>
                <c:pt idx="2784" formatCode="m/d/yyyy">
                  <c:v>40406</c:v>
                </c:pt>
                <c:pt idx="2785" formatCode="m/d/yyyy">
                  <c:v>40407</c:v>
                </c:pt>
                <c:pt idx="2786" formatCode="m/d/yyyy">
                  <c:v>40408</c:v>
                </c:pt>
                <c:pt idx="2787" formatCode="m/d/yyyy">
                  <c:v>40409</c:v>
                </c:pt>
                <c:pt idx="2788" formatCode="m/d/yyyy">
                  <c:v>40410</c:v>
                </c:pt>
                <c:pt idx="2789" formatCode="m/d/yyyy">
                  <c:v>40411</c:v>
                </c:pt>
                <c:pt idx="2790" formatCode="m/d/yyyy">
                  <c:v>40412</c:v>
                </c:pt>
                <c:pt idx="2791" formatCode="m/d/yyyy">
                  <c:v>40413</c:v>
                </c:pt>
                <c:pt idx="2792" formatCode="m/d/yyyy">
                  <c:v>40414</c:v>
                </c:pt>
                <c:pt idx="2793" formatCode="m/d/yyyy">
                  <c:v>40415</c:v>
                </c:pt>
                <c:pt idx="2794" formatCode="m/d/yyyy">
                  <c:v>40416</c:v>
                </c:pt>
                <c:pt idx="2795" formatCode="m/d/yyyy">
                  <c:v>40417</c:v>
                </c:pt>
                <c:pt idx="2796" formatCode="m/d/yyyy">
                  <c:v>40418</c:v>
                </c:pt>
                <c:pt idx="2797" formatCode="m/d/yyyy">
                  <c:v>40419</c:v>
                </c:pt>
                <c:pt idx="2798" formatCode="m/d/yyyy">
                  <c:v>40420</c:v>
                </c:pt>
                <c:pt idx="2799" formatCode="m/d/yyyy">
                  <c:v>40421</c:v>
                </c:pt>
                <c:pt idx="2800" formatCode="m/d/yyyy">
                  <c:v>40422</c:v>
                </c:pt>
                <c:pt idx="2801" formatCode="m/d/yyyy">
                  <c:v>40423</c:v>
                </c:pt>
                <c:pt idx="2802" formatCode="m/d/yyyy">
                  <c:v>40424</c:v>
                </c:pt>
                <c:pt idx="2803" formatCode="m/d/yyyy">
                  <c:v>40425</c:v>
                </c:pt>
                <c:pt idx="2804" formatCode="m/d/yyyy">
                  <c:v>40426</c:v>
                </c:pt>
                <c:pt idx="2805" formatCode="m/d/yyyy">
                  <c:v>40427</c:v>
                </c:pt>
                <c:pt idx="2806" formatCode="m/d/yyyy">
                  <c:v>40428</c:v>
                </c:pt>
                <c:pt idx="2807" formatCode="m/d/yyyy">
                  <c:v>40429</c:v>
                </c:pt>
                <c:pt idx="2808" formatCode="m/d/yyyy">
                  <c:v>40430</c:v>
                </c:pt>
                <c:pt idx="2809" formatCode="m/d/yyyy">
                  <c:v>40431</c:v>
                </c:pt>
                <c:pt idx="2810" formatCode="m/d/yyyy">
                  <c:v>40432</c:v>
                </c:pt>
                <c:pt idx="2811" formatCode="m/d/yyyy">
                  <c:v>40433</c:v>
                </c:pt>
                <c:pt idx="2812" formatCode="m/d/yyyy">
                  <c:v>40434</c:v>
                </c:pt>
                <c:pt idx="2813" formatCode="m/d/yyyy">
                  <c:v>40435</c:v>
                </c:pt>
                <c:pt idx="2814" formatCode="m/d/yyyy">
                  <c:v>40436</c:v>
                </c:pt>
                <c:pt idx="2815" formatCode="m/d/yyyy">
                  <c:v>40437</c:v>
                </c:pt>
                <c:pt idx="2816" formatCode="m/d/yyyy">
                  <c:v>40438</c:v>
                </c:pt>
                <c:pt idx="2817" formatCode="m/d/yyyy">
                  <c:v>40439</c:v>
                </c:pt>
                <c:pt idx="2818" formatCode="m/d/yyyy">
                  <c:v>40440</c:v>
                </c:pt>
                <c:pt idx="2819" formatCode="m/d/yyyy">
                  <c:v>40441</c:v>
                </c:pt>
                <c:pt idx="2820" formatCode="m/d/yyyy">
                  <c:v>40442</c:v>
                </c:pt>
                <c:pt idx="2821" formatCode="m/d/yyyy">
                  <c:v>40443</c:v>
                </c:pt>
                <c:pt idx="2822" formatCode="m/d/yyyy">
                  <c:v>40444</c:v>
                </c:pt>
                <c:pt idx="2823" formatCode="m/d/yyyy">
                  <c:v>40445</c:v>
                </c:pt>
                <c:pt idx="2824" formatCode="m/d/yyyy">
                  <c:v>40446</c:v>
                </c:pt>
                <c:pt idx="2825" formatCode="m/d/yyyy">
                  <c:v>40447</c:v>
                </c:pt>
                <c:pt idx="2826" formatCode="m/d/yyyy">
                  <c:v>40448</c:v>
                </c:pt>
                <c:pt idx="2827" formatCode="m/d/yyyy">
                  <c:v>40449</c:v>
                </c:pt>
                <c:pt idx="2828" formatCode="m/d/yyyy">
                  <c:v>40450</c:v>
                </c:pt>
                <c:pt idx="2829" formatCode="m/d/yyyy">
                  <c:v>40451</c:v>
                </c:pt>
                <c:pt idx="2830" formatCode="m/d/yyyy">
                  <c:v>40452</c:v>
                </c:pt>
                <c:pt idx="2831" formatCode="m/d/yyyy">
                  <c:v>40453</c:v>
                </c:pt>
                <c:pt idx="2832" formatCode="m/d/yyyy">
                  <c:v>40454</c:v>
                </c:pt>
                <c:pt idx="2833" formatCode="m/d/yyyy">
                  <c:v>40455</c:v>
                </c:pt>
                <c:pt idx="2834" formatCode="m/d/yyyy">
                  <c:v>40456</c:v>
                </c:pt>
                <c:pt idx="2835" formatCode="m/d/yyyy">
                  <c:v>40457</c:v>
                </c:pt>
                <c:pt idx="2836" formatCode="m/d/yyyy">
                  <c:v>40458</c:v>
                </c:pt>
                <c:pt idx="2837" formatCode="m/d/yyyy">
                  <c:v>40459</c:v>
                </c:pt>
                <c:pt idx="2838" formatCode="m/d/yyyy">
                  <c:v>40460</c:v>
                </c:pt>
                <c:pt idx="2839" formatCode="m/d/yyyy">
                  <c:v>40461</c:v>
                </c:pt>
                <c:pt idx="2840" formatCode="m/d/yyyy">
                  <c:v>40462</c:v>
                </c:pt>
                <c:pt idx="2841" formatCode="m/d/yyyy">
                  <c:v>40463</c:v>
                </c:pt>
                <c:pt idx="2842" formatCode="m/d/yyyy">
                  <c:v>40464</c:v>
                </c:pt>
                <c:pt idx="2843" formatCode="m/d/yyyy">
                  <c:v>40465</c:v>
                </c:pt>
                <c:pt idx="2844" formatCode="m/d/yyyy">
                  <c:v>40466</c:v>
                </c:pt>
                <c:pt idx="2845" formatCode="m/d/yyyy">
                  <c:v>40467</c:v>
                </c:pt>
                <c:pt idx="2846" formatCode="m/d/yyyy">
                  <c:v>40468</c:v>
                </c:pt>
                <c:pt idx="2847" formatCode="m/d/yyyy">
                  <c:v>40469</c:v>
                </c:pt>
                <c:pt idx="2848" formatCode="m/d/yyyy">
                  <c:v>40470</c:v>
                </c:pt>
                <c:pt idx="2849" formatCode="m/d/yyyy">
                  <c:v>40471</c:v>
                </c:pt>
                <c:pt idx="2850" formatCode="m/d/yyyy">
                  <c:v>40472</c:v>
                </c:pt>
                <c:pt idx="2851" formatCode="m/d/yyyy">
                  <c:v>40473</c:v>
                </c:pt>
                <c:pt idx="2852" formatCode="m/d/yyyy">
                  <c:v>40474</c:v>
                </c:pt>
                <c:pt idx="2853" formatCode="m/d/yyyy">
                  <c:v>40475</c:v>
                </c:pt>
                <c:pt idx="2854" formatCode="m/d/yyyy">
                  <c:v>40476</c:v>
                </c:pt>
                <c:pt idx="2855" formatCode="m/d/yyyy">
                  <c:v>40477</c:v>
                </c:pt>
                <c:pt idx="2856" formatCode="m/d/yyyy">
                  <c:v>40478</c:v>
                </c:pt>
                <c:pt idx="2857" formatCode="m/d/yyyy">
                  <c:v>40479</c:v>
                </c:pt>
                <c:pt idx="2858" formatCode="m/d/yyyy">
                  <c:v>40480</c:v>
                </c:pt>
                <c:pt idx="2859" formatCode="m/d/yyyy">
                  <c:v>40481</c:v>
                </c:pt>
                <c:pt idx="2860" formatCode="m/d/yyyy">
                  <c:v>40482</c:v>
                </c:pt>
                <c:pt idx="2861" formatCode="m/d/yyyy">
                  <c:v>40483</c:v>
                </c:pt>
                <c:pt idx="2862" formatCode="m/d/yyyy">
                  <c:v>40484</c:v>
                </c:pt>
                <c:pt idx="2863" formatCode="m/d/yyyy">
                  <c:v>40485</c:v>
                </c:pt>
                <c:pt idx="2864" formatCode="m/d/yyyy">
                  <c:v>40486</c:v>
                </c:pt>
                <c:pt idx="2865" formatCode="m/d/yyyy">
                  <c:v>40487</c:v>
                </c:pt>
                <c:pt idx="2866" formatCode="m/d/yyyy">
                  <c:v>40488</c:v>
                </c:pt>
                <c:pt idx="2867" formatCode="m/d/yyyy">
                  <c:v>40489</c:v>
                </c:pt>
                <c:pt idx="2868" formatCode="m/d/yyyy">
                  <c:v>40490</c:v>
                </c:pt>
                <c:pt idx="2869" formatCode="m/d/yyyy">
                  <c:v>40491</c:v>
                </c:pt>
                <c:pt idx="2870" formatCode="m/d/yyyy">
                  <c:v>40492</c:v>
                </c:pt>
                <c:pt idx="2871" formatCode="m/d/yyyy">
                  <c:v>40493</c:v>
                </c:pt>
                <c:pt idx="2872" formatCode="m/d/yyyy">
                  <c:v>40494</c:v>
                </c:pt>
                <c:pt idx="2873" formatCode="m/d/yyyy">
                  <c:v>40495</c:v>
                </c:pt>
                <c:pt idx="2874" formatCode="m/d/yyyy">
                  <c:v>40496</c:v>
                </c:pt>
                <c:pt idx="2875" formatCode="m/d/yyyy">
                  <c:v>40497</c:v>
                </c:pt>
                <c:pt idx="2876" formatCode="m/d/yyyy">
                  <c:v>40498</c:v>
                </c:pt>
                <c:pt idx="2877" formatCode="m/d/yyyy">
                  <c:v>40499</c:v>
                </c:pt>
                <c:pt idx="2878" formatCode="m/d/yyyy">
                  <c:v>40500</c:v>
                </c:pt>
                <c:pt idx="2879" formatCode="m/d/yyyy">
                  <c:v>40501</c:v>
                </c:pt>
                <c:pt idx="2880" formatCode="m/d/yyyy">
                  <c:v>40502</c:v>
                </c:pt>
                <c:pt idx="2881" formatCode="m/d/yyyy">
                  <c:v>40503</c:v>
                </c:pt>
                <c:pt idx="2882" formatCode="m/d/yyyy">
                  <c:v>40504</c:v>
                </c:pt>
                <c:pt idx="2883" formatCode="m/d/yyyy">
                  <c:v>40505</c:v>
                </c:pt>
                <c:pt idx="2884" formatCode="m/d/yyyy">
                  <c:v>40506</c:v>
                </c:pt>
                <c:pt idx="2885" formatCode="m/d/yyyy">
                  <c:v>40507</c:v>
                </c:pt>
                <c:pt idx="2886" formatCode="m/d/yyyy">
                  <c:v>40508</c:v>
                </c:pt>
                <c:pt idx="2887" formatCode="m/d/yyyy">
                  <c:v>40509</c:v>
                </c:pt>
                <c:pt idx="2888" formatCode="m/d/yyyy">
                  <c:v>40510</c:v>
                </c:pt>
                <c:pt idx="2889" formatCode="m/d/yyyy">
                  <c:v>40511</c:v>
                </c:pt>
                <c:pt idx="2890" formatCode="m/d/yyyy">
                  <c:v>40512</c:v>
                </c:pt>
                <c:pt idx="2891" formatCode="m/d/yyyy">
                  <c:v>40513</c:v>
                </c:pt>
                <c:pt idx="2892" formatCode="m/d/yyyy">
                  <c:v>40514</c:v>
                </c:pt>
                <c:pt idx="2893" formatCode="m/d/yyyy">
                  <c:v>40515</c:v>
                </c:pt>
                <c:pt idx="2894" formatCode="m/d/yyyy">
                  <c:v>40516</c:v>
                </c:pt>
                <c:pt idx="2895" formatCode="m/d/yyyy">
                  <c:v>40517</c:v>
                </c:pt>
                <c:pt idx="2896" formatCode="m/d/yyyy">
                  <c:v>40518</c:v>
                </c:pt>
                <c:pt idx="2897" formatCode="m/d/yyyy">
                  <c:v>40519</c:v>
                </c:pt>
                <c:pt idx="2898" formatCode="m/d/yyyy">
                  <c:v>40520</c:v>
                </c:pt>
                <c:pt idx="2899" formatCode="m/d/yyyy">
                  <c:v>40521</c:v>
                </c:pt>
                <c:pt idx="2900" formatCode="m/d/yyyy">
                  <c:v>40522</c:v>
                </c:pt>
                <c:pt idx="2901" formatCode="m/d/yyyy">
                  <c:v>40523</c:v>
                </c:pt>
                <c:pt idx="2902" formatCode="m/d/yyyy">
                  <c:v>40524</c:v>
                </c:pt>
                <c:pt idx="2903" formatCode="m/d/yyyy">
                  <c:v>40525</c:v>
                </c:pt>
                <c:pt idx="2904" formatCode="m/d/yyyy">
                  <c:v>40526</c:v>
                </c:pt>
                <c:pt idx="2905" formatCode="m/d/yyyy">
                  <c:v>40527</c:v>
                </c:pt>
                <c:pt idx="2906" formatCode="m/d/yyyy">
                  <c:v>40528</c:v>
                </c:pt>
                <c:pt idx="2907" formatCode="m/d/yyyy">
                  <c:v>40529</c:v>
                </c:pt>
                <c:pt idx="2908" formatCode="m/d/yyyy">
                  <c:v>40530</c:v>
                </c:pt>
                <c:pt idx="2909" formatCode="m/d/yyyy">
                  <c:v>40531</c:v>
                </c:pt>
                <c:pt idx="2910" formatCode="m/d/yyyy">
                  <c:v>40532</c:v>
                </c:pt>
                <c:pt idx="2911" formatCode="m/d/yyyy">
                  <c:v>40533</c:v>
                </c:pt>
                <c:pt idx="2912" formatCode="m/d/yyyy">
                  <c:v>40534</c:v>
                </c:pt>
                <c:pt idx="2913" formatCode="m/d/yyyy">
                  <c:v>40535</c:v>
                </c:pt>
                <c:pt idx="2914" formatCode="m/d/yyyy">
                  <c:v>40536</c:v>
                </c:pt>
                <c:pt idx="2915" formatCode="m/d/yyyy">
                  <c:v>40537</c:v>
                </c:pt>
                <c:pt idx="2916" formatCode="m/d/yyyy">
                  <c:v>40538</c:v>
                </c:pt>
                <c:pt idx="2917" formatCode="m/d/yyyy">
                  <c:v>40539</c:v>
                </c:pt>
                <c:pt idx="2918" formatCode="m/d/yyyy">
                  <c:v>40540</c:v>
                </c:pt>
                <c:pt idx="2919" formatCode="m/d/yyyy">
                  <c:v>40541</c:v>
                </c:pt>
                <c:pt idx="2920" formatCode="m/d/yyyy">
                  <c:v>40542</c:v>
                </c:pt>
                <c:pt idx="2921" formatCode="m/d/yyyy">
                  <c:v>40543</c:v>
                </c:pt>
                <c:pt idx="2922" formatCode="m/d/yyyy">
                  <c:v>40544</c:v>
                </c:pt>
                <c:pt idx="2923" formatCode="m/d/yyyy">
                  <c:v>40545</c:v>
                </c:pt>
                <c:pt idx="2924" formatCode="m/d/yyyy">
                  <c:v>40546</c:v>
                </c:pt>
                <c:pt idx="2925" formatCode="m/d/yyyy">
                  <c:v>40547</c:v>
                </c:pt>
                <c:pt idx="2926" formatCode="m/d/yyyy">
                  <c:v>40548</c:v>
                </c:pt>
                <c:pt idx="2927" formatCode="m/d/yyyy">
                  <c:v>40549</c:v>
                </c:pt>
                <c:pt idx="2928" formatCode="m/d/yyyy">
                  <c:v>40550</c:v>
                </c:pt>
                <c:pt idx="2929" formatCode="m/d/yyyy">
                  <c:v>40551</c:v>
                </c:pt>
                <c:pt idx="2930" formatCode="m/d/yyyy">
                  <c:v>40552</c:v>
                </c:pt>
                <c:pt idx="2931" formatCode="m/d/yyyy">
                  <c:v>40553</c:v>
                </c:pt>
                <c:pt idx="2932" formatCode="m/d/yyyy">
                  <c:v>40554</c:v>
                </c:pt>
                <c:pt idx="2933" formatCode="m/d/yyyy">
                  <c:v>40555</c:v>
                </c:pt>
                <c:pt idx="2934" formatCode="m/d/yyyy">
                  <c:v>40556</c:v>
                </c:pt>
                <c:pt idx="2935" formatCode="m/d/yyyy">
                  <c:v>40557</c:v>
                </c:pt>
                <c:pt idx="2936" formatCode="m/d/yyyy">
                  <c:v>40558</c:v>
                </c:pt>
                <c:pt idx="2937" formatCode="m/d/yyyy">
                  <c:v>40559</c:v>
                </c:pt>
                <c:pt idx="2938" formatCode="m/d/yyyy">
                  <c:v>40560</c:v>
                </c:pt>
                <c:pt idx="2939" formatCode="m/d/yyyy">
                  <c:v>40561</c:v>
                </c:pt>
                <c:pt idx="2940" formatCode="m/d/yyyy">
                  <c:v>40562</c:v>
                </c:pt>
                <c:pt idx="2941" formatCode="m/d/yyyy">
                  <c:v>40563</c:v>
                </c:pt>
                <c:pt idx="2942" formatCode="m/d/yyyy">
                  <c:v>40564</c:v>
                </c:pt>
                <c:pt idx="2943" formatCode="m/d/yyyy">
                  <c:v>40565</c:v>
                </c:pt>
                <c:pt idx="2944" formatCode="m/d/yyyy">
                  <c:v>40566</c:v>
                </c:pt>
                <c:pt idx="2945" formatCode="m/d/yyyy">
                  <c:v>40567</c:v>
                </c:pt>
                <c:pt idx="2946" formatCode="m/d/yyyy">
                  <c:v>40568</c:v>
                </c:pt>
                <c:pt idx="2947" formatCode="m/d/yyyy">
                  <c:v>40569</c:v>
                </c:pt>
                <c:pt idx="2948" formatCode="m/d/yyyy">
                  <c:v>40570</c:v>
                </c:pt>
                <c:pt idx="2949" formatCode="m/d/yyyy">
                  <c:v>40571</c:v>
                </c:pt>
                <c:pt idx="2950" formatCode="m/d/yyyy">
                  <c:v>40572</c:v>
                </c:pt>
                <c:pt idx="2951" formatCode="m/d/yyyy">
                  <c:v>40573</c:v>
                </c:pt>
                <c:pt idx="2952" formatCode="m/d/yyyy">
                  <c:v>40574</c:v>
                </c:pt>
                <c:pt idx="2953" formatCode="m/d/yyyy">
                  <c:v>40575</c:v>
                </c:pt>
                <c:pt idx="2954" formatCode="m/d/yyyy">
                  <c:v>40576</c:v>
                </c:pt>
                <c:pt idx="2955" formatCode="m/d/yyyy">
                  <c:v>40577</c:v>
                </c:pt>
                <c:pt idx="2956" formatCode="m/d/yyyy">
                  <c:v>40578</c:v>
                </c:pt>
                <c:pt idx="2957" formatCode="m/d/yyyy">
                  <c:v>40579</c:v>
                </c:pt>
                <c:pt idx="2958" formatCode="m/d/yyyy">
                  <c:v>40580</c:v>
                </c:pt>
                <c:pt idx="2959" formatCode="m/d/yyyy">
                  <c:v>40581</c:v>
                </c:pt>
                <c:pt idx="2960" formatCode="m/d/yyyy">
                  <c:v>40582</c:v>
                </c:pt>
                <c:pt idx="2961" formatCode="m/d/yyyy">
                  <c:v>40583</c:v>
                </c:pt>
                <c:pt idx="2962" formatCode="m/d/yyyy">
                  <c:v>40584</c:v>
                </c:pt>
                <c:pt idx="2963" formatCode="m/d/yyyy">
                  <c:v>40585</c:v>
                </c:pt>
                <c:pt idx="2964" formatCode="m/d/yyyy">
                  <c:v>40586</c:v>
                </c:pt>
                <c:pt idx="2965" formatCode="m/d/yyyy">
                  <c:v>40587</c:v>
                </c:pt>
                <c:pt idx="2966" formatCode="m/d/yyyy">
                  <c:v>40588</c:v>
                </c:pt>
                <c:pt idx="2967" formatCode="m/d/yyyy">
                  <c:v>40589</c:v>
                </c:pt>
                <c:pt idx="2968" formatCode="m/d/yyyy">
                  <c:v>40590</c:v>
                </c:pt>
                <c:pt idx="2969" formatCode="m/d/yyyy">
                  <c:v>40591</c:v>
                </c:pt>
                <c:pt idx="2970" formatCode="m/d/yyyy">
                  <c:v>40592</c:v>
                </c:pt>
                <c:pt idx="2971" formatCode="m/d/yyyy">
                  <c:v>40593</c:v>
                </c:pt>
                <c:pt idx="2972" formatCode="m/d/yyyy">
                  <c:v>40594</c:v>
                </c:pt>
                <c:pt idx="2973" formatCode="m/d/yyyy">
                  <c:v>40595</c:v>
                </c:pt>
                <c:pt idx="2974" formatCode="m/d/yyyy">
                  <c:v>40596</c:v>
                </c:pt>
                <c:pt idx="2975" formatCode="m/d/yyyy">
                  <c:v>40597</c:v>
                </c:pt>
                <c:pt idx="2976" formatCode="m/d/yyyy">
                  <c:v>40598</c:v>
                </c:pt>
                <c:pt idx="2977" formatCode="m/d/yyyy">
                  <c:v>40599</c:v>
                </c:pt>
                <c:pt idx="2978" formatCode="m/d/yyyy">
                  <c:v>40600</c:v>
                </c:pt>
                <c:pt idx="2979" formatCode="m/d/yyyy">
                  <c:v>40601</c:v>
                </c:pt>
                <c:pt idx="2980" formatCode="m/d/yyyy">
                  <c:v>40602</c:v>
                </c:pt>
                <c:pt idx="2981" formatCode="m/d/yyyy">
                  <c:v>40603</c:v>
                </c:pt>
                <c:pt idx="2982" formatCode="m/d/yyyy">
                  <c:v>40604</c:v>
                </c:pt>
                <c:pt idx="2983" formatCode="m/d/yyyy">
                  <c:v>40605</c:v>
                </c:pt>
                <c:pt idx="2984" formatCode="m/d/yyyy">
                  <c:v>40606</c:v>
                </c:pt>
                <c:pt idx="2985" formatCode="m/d/yyyy">
                  <c:v>40607</c:v>
                </c:pt>
                <c:pt idx="2986" formatCode="m/d/yyyy">
                  <c:v>40608</c:v>
                </c:pt>
                <c:pt idx="2987" formatCode="m/d/yyyy">
                  <c:v>40609</c:v>
                </c:pt>
                <c:pt idx="2988" formatCode="m/d/yyyy">
                  <c:v>40610</c:v>
                </c:pt>
                <c:pt idx="2989" formatCode="m/d/yyyy">
                  <c:v>40611</c:v>
                </c:pt>
                <c:pt idx="2990" formatCode="m/d/yyyy">
                  <c:v>40612</c:v>
                </c:pt>
                <c:pt idx="2991" formatCode="m/d/yyyy">
                  <c:v>40613</c:v>
                </c:pt>
                <c:pt idx="2992" formatCode="m/d/yyyy">
                  <c:v>40614</c:v>
                </c:pt>
                <c:pt idx="2993" formatCode="m/d/yyyy">
                  <c:v>40615</c:v>
                </c:pt>
                <c:pt idx="2994" formatCode="m/d/yyyy">
                  <c:v>40616</c:v>
                </c:pt>
                <c:pt idx="2995" formatCode="m/d/yyyy">
                  <c:v>40617</c:v>
                </c:pt>
                <c:pt idx="2996" formatCode="m/d/yyyy">
                  <c:v>40618</c:v>
                </c:pt>
                <c:pt idx="2997" formatCode="m/d/yyyy">
                  <c:v>40619</c:v>
                </c:pt>
                <c:pt idx="2998" formatCode="m/d/yyyy">
                  <c:v>40620</c:v>
                </c:pt>
                <c:pt idx="2999" formatCode="m/d/yyyy">
                  <c:v>40621</c:v>
                </c:pt>
                <c:pt idx="3000" formatCode="m/d/yyyy">
                  <c:v>40622</c:v>
                </c:pt>
                <c:pt idx="3001" formatCode="m/d/yyyy">
                  <c:v>40623</c:v>
                </c:pt>
                <c:pt idx="3002" formatCode="m/d/yyyy">
                  <c:v>40624</c:v>
                </c:pt>
                <c:pt idx="3003" formatCode="m/d/yyyy">
                  <c:v>40625</c:v>
                </c:pt>
                <c:pt idx="3004" formatCode="m/d/yyyy">
                  <c:v>40626</c:v>
                </c:pt>
                <c:pt idx="3005" formatCode="m/d/yyyy">
                  <c:v>40627</c:v>
                </c:pt>
                <c:pt idx="3006" formatCode="m/d/yyyy">
                  <c:v>40628</c:v>
                </c:pt>
                <c:pt idx="3007" formatCode="m/d/yyyy">
                  <c:v>40629</c:v>
                </c:pt>
                <c:pt idx="3008" formatCode="m/d/yyyy">
                  <c:v>40630</c:v>
                </c:pt>
                <c:pt idx="3009" formatCode="m/d/yyyy">
                  <c:v>40631</c:v>
                </c:pt>
                <c:pt idx="3010" formatCode="m/d/yyyy">
                  <c:v>40632</c:v>
                </c:pt>
                <c:pt idx="3011" formatCode="m/d/yyyy">
                  <c:v>40633</c:v>
                </c:pt>
                <c:pt idx="3012" formatCode="m/d/yyyy">
                  <c:v>40634</c:v>
                </c:pt>
                <c:pt idx="3013" formatCode="m/d/yyyy">
                  <c:v>40635</c:v>
                </c:pt>
                <c:pt idx="3014" formatCode="m/d/yyyy">
                  <c:v>40636</c:v>
                </c:pt>
                <c:pt idx="3015" formatCode="m/d/yyyy">
                  <c:v>40637</c:v>
                </c:pt>
                <c:pt idx="3016" formatCode="m/d/yyyy">
                  <c:v>40638</c:v>
                </c:pt>
                <c:pt idx="3017" formatCode="m/d/yyyy">
                  <c:v>40639</c:v>
                </c:pt>
                <c:pt idx="3018" formatCode="m/d/yyyy">
                  <c:v>40640</c:v>
                </c:pt>
                <c:pt idx="3019" formatCode="m/d/yyyy">
                  <c:v>40641</c:v>
                </c:pt>
                <c:pt idx="3020" formatCode="m/d/yyyy">
                  <c:v>40642</c:v>
                </c:pt>
                <c:pt idx="3021" formatCode="m/d/yyyy">
                  <c:v>40643</c:v>
                </c:pt>
                <c:pt idx="3022" formatCode="m/d/yyyy">
                  <c:v>40644</c:v>
                </c:pt>
                <c:pt idx="3023" formatCode="m/d/yyyy">
                  <c:v>40645</c:v>
                </c:pt>
                <c:pt idx="3024" formatCode="m/d/yyyy">
                  <c:v>40646</c:v>
                </c:pt>
                <c:pt idx="3025" formatCode="m/d/yyyy">
                  <c:v>40647</c:v>
                </c:pt>
                <c:pt idx="3026" formatCode="m/d/yyyy">
                  <c:v>40648</c:v>
                </c:pt>
                <c:pt idx="3027" formatCode="m/d/yyyy">
                  <c:v>40649</c:v>
                </c:pt>
                <c:pt idx="3028" formatCode="m/d/yyyy">
                  <c:v>40650</c:v>
                </c:pt>
                <c:pt idx="3029" formatCode="m/d/yyyy">
                  <c:v>40651</c:v>
                </c:pt>
                <c:pt idx="3030" formatCode="m/d/yyyy">
                  <c:v>40652</c:v>
                </c:pt>
                <c:pt idx="3031" formatCode="m/d/yyyy">
                  <c:v>40653</c:v>
                </c:pt>
                <c:pt idx="3032" formatCode="m/d/yyyy">
                  <c:v>40654</c:v>
                </c:pt>
                <c:pt idx="3033" formatCode="m/d/yyyy">
                  <c:v>40655</c:v>
                </c:pt>
                <c:pt idx="3034" formatCode="m/d/yyyy">
                  <c:v>40656</c:v>
                </c:pt>
                <c:pt idx="3035" formatCode="m/d/yyyy">
                  <c:v>40657</c:v>
                </c:pt>
                <c:pt idx="3036" formatCode="m/d/yyyy">
                  <c:v>40658</c:v>
                </c:pt>
                <c:pt idx="3037" formatCode="m/d/yyyy">
                  <c:v>40659</c:v>
                </c:pt>
                <c:pt idx="3038" formatCode="m/d/yyyy">
                  <c:v>40660</c:v>
                </c:pt>
                <c:pt idx="3039" formatCode="m/d/yyyy">
                  <c:v>40661</c:v>
                </c:pt>
                <c:pt idx="3040" formatCode="m/d/yyyy">
                  <c:v>40662</c:v>
                </c:pt>
                <c:pt idx="3041" formatCode="m/d/yyyy">
                  <c:v>40663</c:v>
                </c:pt>
                <c:pt idx="3042" formatCode="m/d/yyyy">
                  <c:v>40664</c:v>
                </c:pt>
                <c:pt idx="3043" formatCode="m/d/yyyy">
                  <c:v>40665</c:v>
                </c:pt>
                <c:pt idx="3044" formatCode="m/d/yyyy">
                  <c:v>40666</c:v>
                </c:pt>
                <c:pt idx="3045" formatCode="m/d/yyyy">
                  <c:v>40667</c:v>
                </c:pt>
                <c:pt idx="3046" formatCode="m/d/yyyy">
                  <c:v>40668</c:v>
                </c:pt>
                <c:pt idx="3047" formatCode="m/d/yyyy">
                  <c:v>40669</c:v>
                </c:pt>
                <c:pt idx="3048" formatCode="m/d/yyyy">
                  <c:v>40670</c:v>
                </c:pt>
                <c:pt idx="3049" formatCode="m/d/yyyy">
                  <c:v>40671</c:v>
                </c:pt>
                <c:pt idx="3050" formatCode="m/d/yyyy">
                  <c:v>40672</c:v>
                </c:pt>
                <c:pt idx="3051" formatCode="m/d/yyyy">
                  <c:v>40673</c:v>
                </c:pt>
                <c:pt idx="3052" formatCode="m/d/yyyy">
                  <c:v>40674</c:v>
                </c:pt>
                <c:pt idx="3053" formatCode="m/d/yyyy">
                  <c:v>40675</c:v>
                </c:pt>
                <c:pt idx="3054" formatCode="m/d/yyyy">
                  <c:v>40676</c:v>
                </c:pt>
                <c:pt idx="3055" formatCode="m/d/yyyy">
                  <c:v>40677</c:v>
                </c:pt>
                <c:pt idx="3056" formatCode="m/d/yyyy">
                  <c:v>40678</c:v>
                </c:pt>
                <c:pt idx="3057" formatCode="m/d/yyyy">
                  <c:v>40679</c:v>
                </c:pt>
                <c:pt idx="3058" formatCode="m/d/yyyy">
                  <c:v>40680</c:v>
                </c:pt>
                <c:pt idx="3059" formatCode="m/d/yyyy">
                  <c:v>40681</c:v>
                </c:pt>
                <c:pt idx="3060" formatCode="m/d/yyyy">
                  <c:v>40682</c:v>
                </c:pt>
                <c:pt idx="3061" formatCode="m/d/yyyy">
                  <c:v>40683</c:v>
                </c:pt>
                <c:pt idx="3062" formatCode="m/d/yyyy">
                  <c:v>40684</c:v>
                </c:pt>
                <c:pt idx="3063" formatCode="m/d/yyyy">
                  <c:v>40685</c:v>
                </c:pt>
                <c:pt idx="3064" formatCode="m/d/yyyy">
                  <c:v>40686</c:v>
                </c:pt>
                <c:pt idx="3065" formatCode="m/d/yyyy">
                  <c:v>40687</c:v>
                </c:pt>
                <c:pt idx="3066" formatCode="m/d/yyyy">
                  <c:v>40688</c:v>
                </c:pt>
                <c:pt idx="3067" formatCode="m/d/yyyy">
                  <c:v>40689</c:v>
                </c:pt>
                <c:pt idx="3068" formatCode="m/d/yyyy">
                  <c:v>40690</c:v>
                </c:pt>
                <c:pt idx="3069" formatCode="m/d/yyyy">
                  <c:v>40691</c:v>
                </c:pt>
                <c:pt idx="3070" formatCode="m/d/yyyy">
                  <c:v>40692</c:v>
                </c:pt>
                <c:pt idx="3071" formatCode="m/d/yyyy">
                  <c:v>40693</c:v>
                </c:pt>
                <c:pt idx="3072" formatCode="m/d/yyyy">
                  <c:v>40694</c:v>
                </c:pt>
                <c:pt idx="3073" formatCode="m/d/yyyy">
                  <c:v>40695</c:v>
                </c:pt>
                <c:pt idx="3074" formatCode="m/d/yyyy">
                  <c:v>40696</c:v>
                </c:pt>
                <c:pt idx="3075" formatCode="m/d/yyyy">
                  <c:v>40697</c:v>
                </c:pt>
                <c:pt idx="3076" formatCode="m/d/yyyy">
                  <c:v>40698</c:v>
                </c:pt>
                <c:pt idx="3077" formatCode="m/d/yyyy">
                  <c:v>40699</c:v>
                </c:pt>
                <c:pt idx="3078" formatCode="m/d/yyyy">
                  <c:v>40700</c:v>
                </c:pt>
                <c:pt idx="3079" formatCode="m/d/yyyy">
                  <c:v>40701</c:v>
                </c:pt>
                <c:pt idx="3080" formatCode="m/d/yyyy">
                  <c:v>40702</c:v>
                </c:pt>
                <c:pt idx="3081" formatCode="m/d/yyyy">
                  <c:v>40703</c:v>
                </c:pt>
                <c:pt idx="3082" formatCode="m/d/yyyy">
                  <c:v>40704</c:v>
                </c:pt>
                <c:pt idx="3083" formatCode="m/d/yyyy">
                  <c:v>40705</c:v>
                </c:pt>
                <c:pt idx="3084" formatCode="m/d/yyyy">
                  <c:v>40706</c:v>
                </c:pt>
                <c:pt idx="3085" formatCode="m/d/yyyy">
                  <c:v>40707</c:v>
                </c:pt>
                <c:pt idx="3086" formatCode="m/d/yyyy">
                  <c:v>40708</c:v>
                </c:pt>
                <c:pt idx="3087" formatCode="m/d/yyyy">
                  <c:v>40709</c:v>
                </c:pt>
                <c:pt idx="3088" formatCode="m/d/yyyy">
                  <c:v>40710</c:v>
                </c:pt>
                <c:pt idx="3089" formatCode="m/d/yyyy">
                  <c:v>40711</c:v>
                </c:pt>
                <c:pt idx="3090" formatCode="m/d/yyyy">
                  <c:v>40712</c:v>
                </c:pt>
                <c:pt idx="3091" formatCode="m/d/yyyy">
                  <c:v>40713</c:v>
                </c:pt>
                <c:pt idx="3092" formatCode="m/d/yyyy">
                  <c:v>40714</c:v>
                </c:pt>
                <c:pt idx="3093" formatCode="m/d/yyyy">
                  <c:v>40715</c:v>
                </c:pt>
                <c:pt idx="3094" formatCode="m/d/yyyy">
                  <c:v>40716</c:v>
                </c:pt>
                <c:pt idx="3095" formatCode="m/d/yyyy">
                  <c:v>40717</c:v>
                </c:pt>
                <c:pt idx="3096" formatCode="m/d/yyyy">
                  <c:v>40718</c:v>
                </c:pt>
                <c:pt idx="3097" formatCode="m/d/yyyy">
                  <c:v>40719</c:v>
                </c:pt>
                <c:pt idx="3098" formatCode="m/d/yyyy">
                  <c:v>40720</c:v>
                </c:pt>
                <c:pt idx="3099" formatCode="m/d/yyyy">
                  <c:v>40721</c:v>
                </c:pt>
                <c:pt idx="3100" formatCode="m/d/yyyy">
                  <c:v>40722</c:v>
                </c:pt>
                <c:pt idx="3101" formatCode="m/d/yyyy">
                  <c:v>40723</c:v>
                </c:pt>
                <c:pt idx="3102" formatCode="m/d/yyyy">
                  <c:v>40724</c:v>
                </c:pt>
                <c:pt idx="3103" formatCode="m/d/yyyy">
                  <c:v>40725</c:v>
                </c:pt>
                <c:pt idx="3104" formatCode="m/d/yyyy">
                  <c:v>40726</c:v>
                </c:pt>
                <c:pt idx="3105" formatCode="m/d/yyyy">
                  <c:v>40727</c:v>
                </c:pt>
                <c:pt idx="3106" formatCode="m/d/yyyy">
                  <c:v>40728</c:v>
                </c:pt>
                <c:pt idx="3107" formatCode="m/d/yyyy">
                  <c:v>40729</c:v>
                </c:pt>
                <c:pt idx="3108" formatCode="m/d/yyyy">
                  <c:v>40730</c:v>
                </c:pt>
                <c:pt idx="3109" formatCode="m/d/yyyy">
                  <c:v>40731</c:v>
                </c:pt>
                <c:pt idx="3110" formatCode="m/d/yyyy">
                  <c:v>40732</c:v>
                </c:pt>
                <c:pt idx="3111" formatCode="m/d/yyyy">
                  <c:v>40733</c:v>
                </c:pt>
                <c:pt idx="3112" formatCode="m/d/yyyy">
                  <c:v>40734</c:v>
                </c:pt>
                <c:pt idx="3113" formatCode="m/d/yyyy">
                  <c:v>40735</c:v>
                </c:pt>
                <c:pt idx="3114" formatCode="m/d/yyyy">
                  <c:v>40736</c:v>
                </c:pt>
                <c:pt idx="3115" formatCode="m/d/yyyy">
                  <c:v>40737</c:v>
                </c:pt>
                <c:pt idx="3116" formatCode="m/d/yyyy">
                  <c:v>40738</c:v>
                </c:pt>
                <c:pt idx="3117" formatCode="m/d/yyyy">
                  <c:v>40739</c:v>
                </c:pt>
                <c:pt idx="3118" formatCode="m/d/yyyy">
                  <c:v>40740</c:v>
                </c:pt>
                <c:pt idx="3119" formatCode="m/d/yyyy">
                  <c:v>40741</c:v>
                </c:pt>
                <c:pt idx="3120" formatCode="m/d/yyyy">
                  <c:v>40742</c:v>
                </c:pt>
                <c:pt idx="3121" formatCode="m/d/yyyy">
                  <c:v>40743</c:v>
                </c:pt>
                <c:pt idx="3122" formatCode="m/d/yyyy">
                  <c:v>40744</c:v>
                </c:pt>
                <c:pt idx="3123" formatCode="m/d/yyyy">
                  <c:v>40745</c:v>
                </c:pt>
                <c:pt idx="3124" formatCode="m/d/yyyy">
                  <c:v>40746</c:v>
                </c:pt>
                <c:pt idx="3125" formatCode="m/d/yyyy">
                  <c:v>40747</c:v>
                </c:pt>
                <c:pt idx="3126" formatCode="m/d/yyyy">
                  <c:v>40748</c:v>
                </c:pt>
                <c:pt idx="3127" formatCode="m/d/yyyy">
                  <c:v>40749</c:v>
                </c:pt>
                <c:pt idx="3128" formatCode="m/d/yyyy">
                  <c:v>40750</c:v>
                </c:pt>
                <c:pt idx="3129" formatCode="m/d/yyyy">
                  <c:v>40751</c:v>
                </c:pt>
                <c:pt idx="3130" formatCode="m/d/yyyy">
                  <c:v>40752</c:v>
                </c:pt>
                <c:pt idx="3131" formatCode="m/d/yyyy">
                  <c:v>40753</c:v>
                </c:pt>
                <c:pt idx="3132" formatCode="m/d/yyyy">
                  <c:v>40754</c:v>
                </c:pt>
                <c:pt idx="3133" formatCode="m/d/yyyy">
                  <c:v>40755</c:v>
                </c:pt>
                <c:pt idx="3134" formatCode="m/d/yyyy">
                  <c:v>40756</c:v>
                </c:pt>
                <c:pt idx="3135" formatCode="m/d/yyyy">
                  <c:v>40757</c:v>
                </c:pt>
                <c:pt idx="3136" formatCode="m/d/yyyy">
                  <c:v>40758</c:v>
                </c:pt>
                <c:pt idx="3137" formatCode="m/d/yyyy">
                  <c:v>40759</c:v>
                </c:pt>
                <c:pt idx="3138" formatCode="m/d/yyyy">
                  <c:v>40760</c:v>
                </c:pt>
                <c:pt idx="3139" formatCode="m/d/yyyy">
                  <c:v>40761</c:v>
                </c:pt>
                <c:pt idx="3140" formatCode="m/d/yyyy">
                  <c:v>40762</c:v>
                </c:pt>
                <c:pt idx="3141" formatCode="m/d/yyyy">
                  <c:v>40763</c:v>
                </c:pt>
                <c:pt idx="3142" formatCode="m/d/yyyy">
                  <c:v>40764</c:v>
                </c:pt>
                <c:pt idx="3143" formatCode="m/d/yyyy">
                  <c:v>40765</c:v>
                </c:pt>
                <c:pt idx="3144" formatCode="m/d/yyyy">
                  <c:v>40766</c:v>
                </c:pt>
                <c:pt idx="3145" formatCode="m/d/yyyy">
                  <c:v>40767</c:v>
                </c:pt>
                <c:pt idx="3146" formatCode="m/d/yyyy">
                  <c:v>40768</c:v>
                </c:pt>
                <c:pt idx="3147" formatCode="m/d/yyyy">
                  <c:v>40769</c:v>
                </c:pt>
                <c:pt idx="3148" formatCode="m/d/yyyy">
                  <c:v>40770</c:v>
                </c:pt>
                <c:pt idx="3149" formatCode="m/d/yyyy">
                  <c:v>40771</c:v>
                </c:pt>
                <c:pt idx="3150" formatCode="m/d/yyyy">
                  <c:v>40772</c:v>
                </c:pt>
                <c:pt idx="3151" formatCode="m/d/yyyy">
                  <c:v>40773</c:v>
                </c:pt>
                <c:pt idx="3152" formatCode="m/d/yyyy">
                  <c:v>40774</c:v>
                </c:pt>
                <c:pt idx="3153" formatCode="m/d/yyyy">
                  <c:v>40775</c:v>
                </c:pt>
                <c:pt idx="3154" formatCode="m/d/yyyy">
                  <c:v>40776</c:v>
                </c:pt>
                <c:pt idx="3155" formatCode="m/d/yyyy">
                  <c:v>40777</c:v>
                </c:pt>
                <c:pt idx="3156" formatCode="m/d/yyyy">
                  <c:v>40778</c:v>
                </c:pt>
                <c:pt idx="3157" formatCode="m/d/yyyy">
                  <c:v>40779</c:v>
                </c:pt>
                <c:pt idx="3158" formatCode="m/d/yyyy">
                  <c:v>40780</c:v>
                </c:pt>
                <c:pt idx="3159" formatCode="m/d/yyyy">
                  <c:v>40781</c:v>
                </c:pt>
                <c:pt idx="3160" formatCode="m/d/yyyy">
                  <c:v>40782</c:v>
                </c:pt>
                <c:pt idx="3161" formatCode="m/d/yyyy">
                  <c:v>40783</c:v>
                </c:pt>
                <c:pt idx="3162" formatCode="m/d/yyyy">
                  <c:v>40784</c:v>
                </c:pt>
                <c:pt idx="3163" formatCode="m/d/yyyy">
                  <c:v>40785</c:v>
                </c:pt>
                <c:pt idx="3164" formatCode="m/d/yyyy">
                  <c:v>40786</c:v>
                </c:pt>
                <c:pt idx="3165" formatCode="m/d/yyyy">
                  <c:v>40787</c:v>
                </c:pt>
                <c:pt idx="3166" formatCode="m/d/yyyy">
                  <c:v>40788</c:v>
                </c:pt>
                <c:pt idx="3167" formatCode="m/d/yyyy">
                  <c:v>40789</c:v>
                </c:pt>
                <c:pt idx="3168" formatCode="m/d/yyyy">
                  <c:v>40790</c:v>
                </c:pt>
                <c:pt idx="3169" formatCode="m/d/yyyy">
                  <c:v>40791</c:v>
                </c:pt>
                <c:pt idx="3170" formatCode="m/d/yyyy">
                  <c:v>40792</c:v>
                </c:pt>
                <c:pt idx="3171" formatCode="m/d/yyyy">
                  <c:v>40793</c:v>
                </c:pt>
                <c:pt idx="3172" formatCode="m/d/yyyy">
                  <c:v>40794</c:v>
                </c:pt>
                <c:pt idx="3173" formatCode="m/d/yyyy">
                  <c:v>40795</c:v>
                </c:pt>
                <c:pt idx="3174" formatCode="m/d/yyyy">
                  <c:v>40796</c:v>
                </c:pt>
                <c:pt idx="3175" formatCode="m/d/yyyy">
                  <c:v>40797</c:v>
                </c:pt>
                <c:pt idx="3176" formatCode="m/d/yyyy">
                  <c:v>40798</c:v>
                </c:pt>
                <c:pt idx="3177" formatCode="m/d/yyyy">
                  <c:v>40799</c:v>
                </c:pt>
                <c:pt idx="3178" formatCode="m/d/yyyy">
                  <c:v>40800</c:v>
                </c:pt>
                <c:pt idx="3179" formatCode="m/d/yyyy">
                  <c:v>40801</c:v>
                </c:pt>
                <c:pt idx="3180" formatCode="m/d/yyyy">
                  <c:v>40802</c:v>
                </c:pt>
                <c:pt idx="3181" formatCode="m/d/yyyy">
                  <c:v>40803</c:v>
                </c:pt>
                <c:pt idx="3182" formatCode="m/d/yyyy">
                  <c:v>40804</c:v>
                </c:pt>
                <c:pt idx="3183" formatCode="m/d/yyyy">
                  <c:v>40805</c:v>
                </c:pt>
                <c:pt idx="3184" formatCode="m/d/yyyy">
                  <c:v>40806</c:v>
                </c:pt>
                <c:pt idx="3185" formatCode="m/d/yyyy">
                  <c:v>40807</c:v>
                </c:pt>
                <c:pt idx="3186" formatCode="m/d/yyyy">
                  <c:v>40808</c:v>
                </c:pt>
                <c:pt idx="3187" formatCode="m/d/yyyy">
                  <c:v>40809</c:v>
                </c:pt>
                <c:pt idx="3188" formatCode="m/d/yyyy">
                  <c:v>40810</c:v>
                </c:pt>
                <c:pt idx="3189" formatCode="m/d/yyyy">
                  <c:v>40811</c:v>
                </c:pt>
                <c:pt idx="3190" formatCode="m/d/yyyy">
                  <c:v>40812</c:v>
                </c:pt>
                <c:pt idx="3191" formatCode="m/d/yyyy">
                  <c:v>40813</c:v>
                </c:pt>
                <c:pt idx="3192" formatCode="m/d/yyyy">
                  <c:v>40814</c:v>
                </c:pt>
                <c:pt idx="3193" formatCode="m/d/yyyy">
                  <c:v>40815</c:v>
                </c:pt>
                <c:pt idx="3194" formatCode="m/d/yyyy">
                  <c:v>40816</c:v>
                </c:pt>
                <c:pt idx="3195" formatCode="m/d/yyyy">
                  <c:v>40817</c:v>
                </c:pt>
                <c:pt idx="3196" formatCode="m/d/yyyy">
                  <c:v>40818</c:v>
                </c:pt>
                <c:pt idx="3197" formatCode="m/d/yyyy">
                  <c:v>40819</c:v>
                </c:pt>
                <c:pt idx="3198" formatCode="m/d/yyyy">
                  <c:v>40820</c:v>
                </c:pt>
                <c:pt idx="3199" formatCode="m/d/yyyy">
                  <c:v>40821</c:v>
                </c:pt>
                <c:pt idx="3200" formatCode="m/d/yyyy">
                  <c:v>40822</c:v>
                </c:pt>
                <c:pt idx="3201" formatCode="m/d/yyyy">
                  <c:v>40823</c:v>
                </c:pt>
                <c:pt idx="3202" formatCode="m/d/yyyy">
                  <c:v>40824</c:v>
                </c:pt>
                <c:pt idx="3203" formatCode="m/d/yyyy">
                  <c:v>40825</c:v>
                </c:pt>
                <c:pt idx="3204" formatCode="m/d/yyyy">
                  <c:v>40826</c:v>
                </c:pt>
                <c:pt idx="3205" formatCode="m/d/yyyy">
                  <c:v>40827</c:v>
                </c:pt>
                <c:pt idx="3206" formatCode="m/d/yyyy">
                  <c:v>40828</c:v>
                </c:pt>
                <c:pt idx="3207" formatCode="m/d/yyyy">
                  <c:v>40829</c:v>
                </c:pt>
                <c:pt idx="3208" formatCode="m/d/yyyy">
                  <c:v>40830</c:v>
                </c:pt>
                <c:pt idx="3209" formatCode="m/d/yyyy">
                  <c:v>40831</c:v>
                </c:pt>
                <c:pt idx="3210" formatCode="m/d/yyyy">
                  <c:v>40832</c:v>
                </c:pt>
                <c:pt idx="3211" formatCode="m/d/yyyy">
                  <c:v>40833</c:v>
                </c:pt>
                <c:pt idx="3212" formatCode="m/d/yyyy">
                  <c:v>40834</c:v>
                </c:pt>
                <c:pt idx="3213" formatCode="m/d/yyyy">
                  <c:v>40835</c:v>
                </c:pt>
                <c:pt idx="3214" formatCode="m/d/yyyy">
                  <c:v>40836</c:v>
                </c:pt>
                <c:pt idx="3215" formatCode="m/d/yyyy">
                  <c:v>40837</c:v>
                </c:pt>
                <c:pt idx="3216" formatCode="m/d/yyyy">
                  <c:v>40838</c:v>
                </c:pt>
                <c:pt idx="3217" formatCode="m/d/yyyy">
                  <c:v>40839</c:v>
                </c:pt>
                <c:pt idx="3218" formatCode="m/d/yyyy">
                  <c:v>40840</c:v>
                </c:pt>
                <c:pt idx="3219" formatCode="m/d/yyyy">
                  <c:v>40841</c:v>
                </c:pt>
                <c:pt idx="3220" formatCode="m/d/yyyy">
                  <c:v>40842</c:v>
                </c:pt>
                <c:pt idx="3221" formatCode="m/d/yyyy">
                  <c:v>40843</c:v>
                </c:pt>
                <c:pt idx="3222" formatCode="m/d/yyyy">
                  <c:v>40844</c:v>
                </c:pt>
                <c:pt idx="3223" formatCode="m/d/yyyy">
                  <c:v>40845</c:v>
                </c:pt>
                <c:pt idx="3224" formatCode="m/d/yyyy">
                  <c:v>40846</c:v>
                </c:pt>
                <c:pt idx="3225" formatCode="m/d/yyyy">
                  <c:v>40847</c:v>
                </c:pt>
                <c:pt idx="3226" formatCode="m/d/yyyy">
                  <c:v>40848</c:v>
                </c:pt>
                <c:pt idx="3227" formatCode="m/d/yyyy">
                  <c:v>40849</c:v>
                </c:pt>
                <c:pt idx="3228" formatCode="m/d/yyyy">
                  <c:v>40850</c:v>
                </c:pt>
                <c:pt idx="3229" formatCode="m/d/yyyy">
                  <c:v>40851</c:v>
                </c:pt>
                <c:pt idx="3230" formatCode="m/d/yyyy">
                  <c:v>40852</c:v>
                </c:pt>
                <c:pt idx="3231" formatCode="m/d/yyyy">
                  <c:v>40853</c:v>
                </c:pt>
                <c:pt idx="3232" formatCode="m/d/yyyy">
                  <c:v>40854</c:v>
                </c:pt>
                <c:pt idx="3233" formatCode="m/d/yyyy">
                  <c:v>40855</c:v>
                </c:pt>
                <c:pt idx="3234" formatCode="m/d/yyyy">
                  <c:v>40856</c:v>
                </c:pt>
                <c:pt idx="3235" formatCode="m/d/yyyy">
                  <c:v>40857</c:v>
                </c:pt>
                <c:pt idx="3236" formatCode="m/d/yyyy">
                  <c:v>40858</c:v>
                </c:pt>
                <c:pt idx="3237" formatCode="m/d/yyyy">
                  <c:v>40859</c:v>
                </c:pt>
                <c:pt idx="3238" formatCode="m/d/yyyy">
                  <c:v>40860</c:v>
                </c:pt>
                <c:pt idx="3239" formatCode="m/d/yyyy">
                  <c:v>40861</c:v>
                </c:pt>
                <c:pt idx="3240" formatCode="m/d/yyyy">
                  <c:v>40862</c:v>
                </c:pt>
                <c:pt idx="3241" formatCode="m/d/yyyy">
                  <c:v>40863</c:v>
                </c:pt>
                <c:pt idx="3242" formatCode="m/d/yyyy">
                  <c:v>40864</c:v>
                </c:pt>
                <c:pt idx="3243" formatCode="m/d/yyyy">
                  <c:v>40865</c:v>
                </c:pt>
                <c:pt idx="3244" formatCode="m/d/yyyy">
                  <c:v>40866</c:v>
                </c:pt>
                <c:pt idx="3245" formatCode="m/d/yyyy">
                  <c:v>40867</c:v>
                </c:pt>
                <c:pt idx="3246" formatCode="m/d/yyyy">
                  <c:v>40868</c:v>
                </c:pt>
                <c:pt idx="3247" formatCode="m/d/yyyy">
                  <c:v>40869</c:v>
                </c:pt>
                <c:pt idx="3248" formatCode="m/d/yyyy">
                  <c:v>40870</c:v>
                </c:pt>
                <c:pt idx="3249" formatCode="m/d/yyyy">
                  <c:v>40871</c:v>
                </c:pt>
                <c:pt idx="3250" formatCode="m/d/yyyy">
                  <c:v>40872</c:v>
                </c:pt>
                <c:pt idx="3251" formatCode="m/d/yyyy">
                  <c:v>40873</c:v>
                </c:pt>
                <c:pt idx="3252" formatCode="m/d/yyyy">
                  <c:v>40874</c:v>
                </c:pt>
                <c:pt idx="3253" formatCode="m/d/yyyy">
                  <c:v>40875</c:v>
                </c:pt>
                <c:pt idx="3254" formatCode="m/d/yyyy">
                  <c:v>40876</c:v>
                </c:pt>
                <c:pt idx="3255" formatCode="m/d/yyyy">
                  <c:v>40877</c:v>
                </c:pt>
                <c:pt idx="3256" formatCode="m/d/yyyy">
                  <c:v>40878</c:v>
                </c:pt>
                <c:pt idx="3257" formatCode="m/d/yyyy">
                  <c:v>40879</c:v>
                </c:pt>
                <c:pt idx="3258" formatCode="m/d/yyyy">
                  <c:v>40880</c:v>
                </c:pt>
                <c:pt idx="3259" formatCode="m/d/yyyy">
                  <c:v>40881</c:v>
                </c:pt>
                <c:pt idx="3260" formatCode="m/d/yyyy">
                  <c:v>40882</c:v>
                </c:pt>
                <c:pt idx="3261" formatCode="m/d/yyyy">
                  <c:v>40883</c:v>
                </c:pt>
                <c:pt idx="3262" formatCode="m/d/yyyy">
                  <c:v>40884</c:v>
                </c:pt>
                <c:pt idx="3263" formatCode="m/d/yyyy">
                  <c:v>40885</c:v>
                </c:pt>
                <c:pt idx="3264" formatCode="m/d/yyyy">
                  <c:v>40886</c:v>
                </c:pt>
                <c:pt idx="3265" formatCode="m/d/yyyy">
                  <c:v>40887</c:v>
                </c:pt>
                <c:pt idx="3266" formatCode="m/d/yyyy">
                  <c:v>40888</c:v>
                </c:pt>
                <c:pt idx="3267" formatCode="m/d/yyyy">
                  <c:v>40889</c:v>
                </c:pt>
                <c:pt idx="3268" formatCode="m/d/yyyy">
                  <c:v>40890</c:v>
                </c:pt>
                <c:pt idx="3269" formatCode="m/d/yyyy">
                  <c:v>40891</c:v>
                </c:pt>
                <c:pt idx="3270" formatCode="m/d/yyyy">
                  <c:v>40892</c:v>
                </c:pt>
                <c:pt idx="3271" formatCode="m/d/yyyy">
                  <c:v>40893</c:v>
                </c:pt>
                <c:pt idx="3272" formatCode="m/d/yyyy">
                  <c:v>40894</c:v>
                </c:pt>
                <c:pt idx="3273" formatCode="m/d/yyyy">
                  <c:v>40895</c:v>
                </c:pt>
                <c:pt idx="3274" formatCode="m/d/yyyy">
                  <c:v>40896</c:v>
                </c:pt>
                <c:pt idx="3275" formatCode="m/d/yyyy">
                  <c:v>40897</c:v>
                </c:pt>
                <c:pt idx="3276" formatCode="m/d/yyyy">
                  <c:v>40898</c:v>
                </c:pt>
                <c:pt idx="3277" formatCode="m/d/yyyy">
                  <c:v>40899</c:v>
                </c:pt>
                <c:pt idx="3278" formatCode="m/d/yyyy">
                  <c:v>40900</c:v>
                </c:pt>
                <c:pt idx="3279" formatCode="m/d/yyyy">
                  <c:v>40901</c:v>
                </c:pt>
                <c:pt idx="3280" formatCode="m/d/yyyy">
                  <c:v>40902</c:v>
                </c:pt>
                <c:pt idx="3281" formatCode="m/d/yyyy">
                  <c:v>40903</c:v>
                </c:pt>
                <c:pt idx="3282" formatCode="m/d/yyyy">
                  <c:v>40904</c:v>
                </c:pt>
                <c:pt idx="3283" formatCode="m/d/yyyy">
                  <c:v>40905</c:v>
                </c:pt>
                <c:pt idx="3284" formatCode="m/d/yyyy">
                  <c:v>40906</c:v>
                </c:pt>
                <c:pt idx="3285" formatCode="m/d/yyyy">
                  <c:v>40907</c:v>
                </c:pt>
                <c:pt idx="3286" formatCode="m/d/yyyy">
                  <c:v>40908</c:v>
                </c:pt>
                <c:pt idx="3287" formatCode="m/d/yyyy">
                  <c:v>40909</c:v>
                </c:pt>
                <c:pt idx="3288" formatCode="m/d/yyyy">
                  <c:v>40910</c:v>
                </c:pt>
                <c:pt idx="3289" formatCode="m/d/yyyy">
                  <c:v>40911</c:v>
                </c:pt>
                <c:pt idx="3290" formatCode="m/d/yyyy">
                  <c:v>40912</c:v>
                </c:pt>
                <c:pt idx="3291" formatCode="m/d/yyyy">
                  <c:v>40913</c:v>
                </c:pt>
                <c:pt idx="3292" formatCode="m/d/yyyy">
                  <c:v>40914</c:v>
                </c:pt>
                <c:pt idx="3293" formatCode="m/d/yyyy">
                  <c:v>40915</c:v>
                </c:pt>
                <c:pt idx="3294" formatCode="m/d/yyyy">
                  <c:v>40916</c:v>
                </c:pt>
                <c:pt idx="3295" formatCode="m/d/yyyy">
                  <c:v>40917</c:v>
                </c:pt>
                <c:pt idx="3296" formatCode="m/d/yyyy">
                  <c:v>40918</c:v>
                </c:pt>
                <c:pt idx="3297" formatCode="m/d/yyyy">
                  <c:v>40919</c:v>
                </c:pt>
                <c:pt idx="3298" formatCode="m/d/yyyy">
                  <c:v>40920</c:v>
                </c:pt>
                <c:pt idx="3299" formatCode="m/d/yyyy">
                  <c:v>40921</c:v>
                </c:pt>
                <c:pt idx="3300" formatCode="m/d/yyyy">
                  <c:v>40922</c:v>
                </c:pt>
                <c:pt idx="3301" formatCode="m/d/yyyy">
                  <c:v>40923</c:v>
                </c:pt>
                <c:pt idx="3302" formatCode="m/d/yyyy">
                  <c:v>40924</c:v>
                </c:pt>
                <c:pt idx="3303" formatCode="m/d/yyyy">
                  <c:v>40925</c:v>
                </c:pt>
                <c:pt idx="3304" formatCode="m/d/yyyy">
                  <c:v>40926</c:v>
                </c:pt>
                <c:pt idx="3305" formatCode="m/d/yyyy">
                  <c:v>40927</c:v>
                </c:pt>
                <c:pt idx="3306" formatCode="m/d/yyyy">
                  <c:v>40928</c:v>
                </c:pt>
                <c:pt idx="3307" formatCode="m/d/yyyy">
                  <c:v>40929</c:v>
                </c:pt>
                <c:pt idx="3308" formatCode="m/d/yyyy">
                  <c:v>40930</c:v>
                </c:pt>
                <c:pt idx="3309" formatCode="m/d/yyyy">
                  <c:v>40931</c:v>
                </c:pt>
                <c:pt idx="3310" formatCode="m/d/yyyy">
                  <c:v>40932</c:v>
                </c:pt>
                <c:pt idx="3311" formatCode="m/d/yyyy">
                  <c:v>40933</c:v>
                </c:pt>
                <c:pt idx="3312" formatCode="m/d/yyyy">
                  <c:v>40934</c:v>
                </c:pt>
                <c:pt idx="3313" formatCode="m/d/yyyy">
                  <c:v>40935</c:v>
                </c:pt>
                <c:pt idx="3314" formatCode="m/d/yyyy">
                  <c:v>40936</c:v>
                </c:pt>
                <c:pt idx="3315" formatCode="m/d/yyyy">
                  <c:v>40937</c:v>
                </c:pt>
                <c:pt idx="3316" formatCode="m/d/yyyy">
                  <c:v>40938</c:v>
                </c:pt>
                <c:pt idx="3317" formatCode="m/d/yyyy">
                  <c:v>40939</c:v>
                </c:pt>
                <c:pt idx="3318" formatCode="m/d/yyyy">
                  <c:v>40940</c:v>
                </c:pt>
                <c:pt idx="3319" formatCode="m/d/yyyy">
                  <c:v>40941</c:v>
                </c:pt>
                <c:pt idx="3320" formatCode="m/d/yyyy">
                  <c:v>40942</c:v>
                </c:pt>
                <c:pt idx="3321" formatCode="m/d/yyyy">
                  <c:v>40943</c:v>
                </c:pt>
                <c:pt idx="3322" formatCode="m/d/yyyy">
                  <c:v>40944</c:v>
                </c:pt>
                <c:pt idx="3323" formatCode="m/d/yyyy">
                  <c:v>40945</c:v>
                </c:pt>
                <c:pt idx="3324" formatCode="m/d/yyyy">
                  <c:v>40946</c:v>
                </c:pt>
                <c:pt idx="3325" formatCode="m/d/yyyy">
                  <c:v>40947</c:v>
                </c:pt>
                <c:pt idx="3326" formatCode="m/d/yyyy">
                  <c:v>40948</c:v>
                </c:pt>
                <c:pt idx="3327" formatCode="m/d/yyyy">
                  <c:v>40949</c:v>
                </c:pt>
                <c:pt idx="3328" formatCode="m/d/yyyy">
                  <c:v>40950</c:v>
                </c:pt>
                <c:pt idx="3329" formatCode="m/d/yyyy">
                  <c:v>40951</c:v>
                </c:pt>
                <c:pt idx="3330" formatCode="m/d/yyyy">
                  <c:v>40952</c:v>
                </c:pt>
                <c:pt idx="3331" formatCode="m/d/yyyy">
                  <c:v>40953</c:v>
                </c:pt>
                <c:pt idx="3332" formatCode="m/d/yyyy">
                  <c:v>40954</c:v>
                </c:pt>
                <c:pt idx="3333" formatCode="m/d/yyyy">
                  <c:v>40955</c:v>
                </c:pt>
                <c:pt idx="3334" formatCode="m/d/yyyy">
                  <c:v>40956</c:v>
                </c:pt>
                <c:pt idx="3335" formatCode="m/d/yyyy">
                  <c:v>40957</c:v>
                </c:pt>
                <c:pt idx="3336" formatCode="m/d/yyyy">
                  <c:v>40958</c:v>
                </c:pt>
                <c:pt idx="3337" formatCode="m/d/yyyy">
                  <c:v>40959</c:v>
                </c:pt>
                <c:pt idx="3338" formatCode="m/d/yyyy">
                  <c:v>40960</c:v>
                </c:pt>
                <c:pt idx="3339" formatCode="m/d/yyyy">
                  <c:v>40961</c:v>
                </c:pt>
                <c:pt idx="3340" formatCode="m/d/yyyy">
                  <c:v>40962</c:v>
                </c:pt>
                <c:pt idx="3341" formatCode="m/d/yyyy">
                  <c:v>40963</c:v>
                </c:pt>
                <c:pt idx="3342" formatCode="m/d/yyyy">
                  <c:v>40964</c:v>
                </c:pt>
                <c:pt idx="3343" formatCode="m/d/yyyy">
                  <c:v>40965</c:v>
                </c:pt>
                <c:pt idx="3344" formatCode="m/d/yyyy">
                  <c:v>40966</c:v>
                </c:pt>
                <c:pt idx="3345" formatCode="m/d/yyyy">
                  <c:v>40967</c:v>
                </c:pt>
                <c:pt idx="3346" formatCode="m/d/yyyy">
                  <c:v>40968</c:v>
                </c:pt>
                <c:pt idx="3347" formatCode="m/d/yyyy">
                  <c:v>40969</c:v>
                </c:pt>
                <c:pt idx="3348" formatCode="m/d/yyyy">
                  <c:v>40970</c:v>
                </c:pt>
                <c:pt idx="3349" formatCode="m/d/yyyy">
                  <c:v>40971</c:v>
                </c:pt>
                <c:pt idx="3350" formatCode="m/d/yyyy">
                  <c:v>40972</c:v>
                </c:pt>
                <c:pt idx="3351" formatCode="m/d/yyyy">
                  <c:v>40973</c:v>
                </c:pt>
                <c:pt idx="3352" formatCode="m/d/yyyy">
                  <c:v>40974</c:v>
                </c:pt>
                <c:pt idx="3353" formatCode="m/d/yyyy">
                  <c:v>40975</c:v>
                </c:pt>
                <c:pt idx="3354" formatCode="m/d/yyyy">
                  <c:v>40976</c:v>
                </c:pt>
                <c:pt idx="3355" formatCode="m/d/yyyy">
                  <c:v>40977</c:v>
                </c:pt>
                <c:pt idx="3356" formatCode="m/d/yyyy">
                  <c:v>40978</c:v>
                </c:pt>
                <c:pt idx="3357" formatCode="m/d/yyyy">
                  <c:v>40979</c:v>
                </c:pt>
                <c:pt idx="3358" formatCode="m/d/yyyy">
                  <c:v>40980</c:v>
                </c:pt>
                <c:pt idx="3359" formatCode="m/d/yyyy">
                  <c:v>40981</c:v>
                </c:pt>
                <c:pt idx="3360" formatCode="m/d/yyyy">
                  <c:v>40982</c:v>
                </c:pt>
                <c:pt idx="3361" formatCode="m/d/yyyy">
                  <c:v>40983</c:v>
                </c:pt>
                <c:pt idx="3362" formatCode="m/d/yyyy">
                  <c:v>40984</c:v>
                </c:pt>
                <c:pt idx="3363" formatCode="m/d/yyyy">
                  <c:v>40985</c:v>
                </c:pt>
                <c:pt idx="3364" formatCode="m/d/yyyy">
                  <c:v>40986</c:v>
                </c:pt>
                <c:pt idx="3365" formatCode="m/d/yyyy">
                  <c:v>40987</c:v>
                </c:pt>
                <c:pt idx="3366" formatCode="m/d/yyyy">
                  <c:v>40988</c:v>
                </c:pt>
                <c:pt idx="3367" formatCode="m/d/yyyy">
                  <c:v>40989</c:v>
                </c:pt>
                <c:pt idx="3368" formatCode="m/d/yyyy">
                  <c:v>40990</c:v>
                </c:pt>
                <c:pt idx="3369" formatCode="m/d/yyyy">
                  <c:v>40991</c:v>
                </c:pt>
                <c:pt idx="3370" formatCode="m/d/yyyy">
                  <c:v>40992</c:v>
                </c:pt>
                <c:pt idx="3371" formatCode="m/d/yyyy">
                  <c:v>40993</c:v>
                </c:pt>
                <c:pt idx="3372" formatCode="m/d/yyyy">
                  <c:v>40994</c:v>
                </c:pt>
                <c:pt idx="3373" formatCode="m/d/yyyy">
                  <c:v>40995</c:v>
                </c:pt>
                <c:pt idx="3374" formatCode="m/d/yyyy">
                  <c:v>40996</c:v>
                </c:pt>
                <c:pt idx="3375" formatCode="m/d/yyyy">
                  <c:v>40997</c:v>
                </c:pt>
                <c:pt idx="3376" formatCode="m/d/yyyy">
                  <c:v>40998</c:v>
                </c:pt>
                <c:pt idx="3377" formatCode="m/d/yyyy">
                  <c:v>40999</c:v>
                </c:pt>
                <c:pt idx="3378" formatCode="m/d/yyyy">
                  <c:v>41000</c:v>
                </c:pt>
                <c:pt idx="3379" formatCode="m/d/yyyy">
                  <c:v>41001</c:v>
                </c:pt>
                <c:pt idx="3380" formatCode="m/d/yyyy">
                  <c:v>41002</c:v>
                </c:pt>
                <c:pt idx="3381" formatCode="m/d/yyyy">
                  <c:v>41003</c:v>
                </c:pt>
                <c:pt idx="3382" formatCode="m/d/yyyy">
                  <c:v>41004</c:v>
                </c:pt>
                <c:pt idx="3383" formatCode="m/d/yyyy">
                  <c:v>41005</c:v>
                </c:pt>
                <c:pt idx="3384" formatCode="m/d/yyyy">
                  <c:v>41006</c:v>
                </c:pt>
                <c:pt idx="3385" formatCode="m/d/yyyy">
                  <c:v>41007</c:v>
                </c:pt>
                <c:pt idx="3386" formatCode="m/d/yyyy">
                  <c:v>41008</c:v>
                </c:pt>
                <c:pt idx="3387" formatCode="m/d/yyyy">
                  <c:v>41009</c:v>
                </c:pt>
                <c:pt idx="3388" formatCode="m/d/yyyy">
                  <c:v>41010</c:v>
                </c:pt>
                <c:pt idx="3389" formatCode="m/d/yyyy">
                  <c:v>41011</c:v>
                </c:pt>
                <c:pt idx="3390" formatCode="m/d/yyyy">
                  <c:v>41012</c:v>
                </c:pt>
                <c:pt idx="3391" formatCode="m/d/yyyy">
                  <c:v>41013</c:v>
                </c:pt>
                <c:pt idx="3392" formatCode="m/d/yyyy">
                  <c:v>41014</c:v>
                </c:pt>
                <c:pt idx="3393" formatCode="m/d/yyyy">
                  <c:v>41015</c:v>
                </c:pt>
                <c:pt idx="3394" formatCode="m/d/yyyy">
                  <c:v>41016</c:v>
                </c:pt>
                <c:pt idx="3395" formatCode="m/d/yyyy">
                  <c:v>41017</c:v>
                </c:pt>
                <c:pt idx="3396" formatCode="m/d/yyyy">
                  <c:v>41018</c:v>
                </c:pt>
                <c:pt idx="3397" formatCode="m/d/yyyy">
                  <c:v>41019</c:v>
                </c:pt>
                <c:pt idx="3398" formatCode="m/d/yyyy">
                  <c:v>41020</c:v>
                </c:pt>
                <c:pt idx="3399" formatCode="m/d/yyyy">
                  <c:v>41021</c:v>
                </c:pt>
                <c:pt idx="3400" formatCode="m/d/yyyy">
                  <c:v>41022</c:v>
                </c:pt>
                <c:pt idx="3401" formatCode="m/d/yyyy">
                  <c:v>41023</c:v>
                </c:pt>
                <c:pt idx="3402" formatCode="m/d/yyyy">
                  <c:v>41024</c:v>
                </c:pt>
                <c:pt idx="3403" formatCode="m/d/yyyy">
                  <c:v>41025</c:v>
                </c:pt>
                <c:pt idx="3404" formatCode="m/d/yyyy">
                  <c:v>41026</c:v>
                </c:pt>
                <c:pt idx="3405" formatCode="m/d/yyyy">
                  <c:v>41027</c:v>
                </c:pt>
                <c:pt idx="3406" formatCode="m/d/yyyy">
                  <c:v>41028</c:v>
                </c:pt>
                <c:pt idx="3407" formatCode="m/d/yyyy">
                  <c:v>41029</c:v>
                </c:pt>
                <c:pt idx="3408" formatCode="m/d/yyyy">
                  <c:v>41030</c:v>
                </c:pt>
                <c:pt idx="3409" formatCode="m/d/yyyy">
                  <c:v>41031</c:v>
                </c:pt>
                <c:pt idx="3410" formatCode="m/d/yyyy">
                  <c:v>41032</c:v>
                </c:pt>
                <c:pt idx="3411" formatCode="m/d/yyyy">
                  <c:v>41033</c:v>
                </c:pt>
                <c:pt idx="3412" formatCode="m/d/yyyy">
                  <c:v>41034</c:v>
                </c:pt>
                <c:pt idx="3413" formatCode="m/d/yyyy">
                  <c:v>41035</c:v>
                </c:pt>
                <c:pt idx="3414" formatCode="m/d/yyyy">
                  <c:v>41036</c:v>
                </c:pt>
                <c:pt idx="3415" formatCode="m/d/yyyy">
                  <c:v>41037</c:v>
                </c:pt>
                <c:pt idx="3416" formatCode="m/d/yyyy">
                  <c:v>41038</c:v>
                </c:pt>
                <c:pt idx="3417" formatCode="m/d/yyyy">
                  <c:v>41039</c:v>
                </c:pt>
                <c:pt idx="3418" formatCode="m/d/yyyy">
                  <c:v>41040</c:v>
                </c:pt>
                <c:pt idx="3419" formatCode="m/d/yyyy">
                  <c:v>41041</c:v>
                </c:pt>
                <c:pt idx="3420" formatCode="m/d/yyyy">
                  <c:v>41042</c:v>
                </c:pt>
                <c:pt idx="3421" formatCode="m/d/yyyy">
                  <c:v>41043</c:v>
                </c:pt>
                <c:pt idx="3422" formatCode="m/d/yyyy">
                  <c:v>41044</c:v>
                </c:pt>
                <c:pt idx="3423" formatCode="m/d/yyyy">
                  <c:v>41045</c:v>
                </c:pt>
                <c:pt idx="3424" formatCode="m/d/yyyy">
                  <c:v>41046</c:v>
                </c:pt>
                <c:pt idx="3425" formatCode="m/d/yyyy">
                  <c:v>41047</c:v>
                </c:pt>
                <c:pt idx="3426" formatCode="m/d/yyyy">
                  <c:v>41048</c:v>
                </c:pt>
                <c:pt idx="3427" formatCode="m/d/yyyy">
                  <c:v>41049</c:v>
                </c:pt>
                <c:pt idx="3428" formatCode="m/d/yyyy">
                  <c:v>41050</c:v>
                </c:pt>
                <c:pt idx="3429" formatCode="m/d/yyyy">
                  <c:v>41051</c:v>
                </c:pt>
                <c:pt idx="3430" formatCode="m/d/yyyy">
                  <c:v>41052</c:v>
                </c:pt>
                <c:pt idx="3431" formatCode="m/d/yyyy">
                  <c:v>41053</c:v>
                </c:pt>
                <c:pt idx="3432" formatCode="m/d/yyyy">
                  <c:v>41054</c:v>
                </c:pt>
                <c:pt idx="3433" formatCode="m/d/yyyy">
                  <c:v>41055</c:v>
                </c:pt>
                <c:pt idx="3434" formatCode="m/d/yyyy">
                  <c:v>41056</c:v>
                </c:pt>
                <c:pt idx="3435" formatCode="m/d/yyyy">
                  <c:v>41057</c:v>
                </c:pt>
                <c:pt idx="3436" formatCode="m/d/yyyy">
                  <c:v>41058</c:v>
                </c:pt>
                <c:pt idx="3437" formatCode="m/d/yyyy">
                  <c:v>41059</c:v>
                </c:pt>
                <c:pt idx="3438" formatCode="m/d/yyyy">
                  <c:v>41060</c:v>
                </c:pt>
                <c:pt idx="3439" formatCode="m/d/yyyy">
                  <c:v>41061</c:v>
                </c:pt>
                <c:pt idx="3440" formatCode="m/d/yyyy">
                  <c:v>41062</c:v>
                </c:pt>
                <c:pt idx="3441" formatCode="m/d/yyyy">
                  <c:v>41063</c:v>
                </c:pt>
                <c:pt idx="3442" formatCode="m/d/yyyy">
                  <c:v>41064</c:v>
                </c:pt>
                <c:pt idx="3443" formatCode="m/d/yyyy">
                  <c:v>41065</c:v>
                </c:pt>
                <c:pt idx="3444" formatCode="m/d/yyyy">
                  <c:v>41066</c:v>
                </c:pt>
                <c:pt idx="3445" formatCode="m/d/yyyy">
                  <c:v>41067</c:v>
                </c:pt>
                <c:pt idx="3446" formatCode="m/d/yyyy">
                  <c:v>41068</c:v>
                </c:pt>
                <c:pt idx="3447" formatCode="m/d/yyyy">
                  <c:v>41069</c:v>
                </c:pt>
                <c:pt idx="3448" formatCode="m/d/yyyy">
                  <c:v>41070</c:v>
                </c:pt>
                <c:pt idx="3449" formatCode="m/d/yyyy">
                  <c:v>41071</c:v>
                </c:pt>
                <c:pt idx="3450" formatCode="m/d/yyyy">
                  <c:v>41072</c:v>
                </c:pt>
                <c:pt idx="3451" formatCode="m/d/yyyy">
                  <c:v>41073</c:v>
                </c:pt>
                <c:pt idx="3452" formatCode="m/d/yyyy">
                  <c:v>41074</c:v>
                </c:pt>
                <c:pt idx="3453" formatCode="m/d/yyyy">
                  <c:v>41075</c:v>
                </c:pt>
                <c:pt idx="3454" formatCode="m/d/yyyy">
                  <c:v>41076</c:v>
                </c:pt>
                <c:pt idx="3455" formatCode="m/d/yyyy">
                  <c:v>41077</c:v>
                </c:pt>
                <c:pt idx="3456" formatCode="m/d/yyyy">
                  <c:v>41078</c:v>
                </c:pt>
                <c:pt idx="3457" formatCode="m/d/yyyy">
                  <c:v>41079</c:v>
                </c:pt>
                <c:pt idx="3458" formatCode="m/d/yyyy">
                  <c:v>41080</c:v>
                </c:pt>
                <c:pt idx="3459" formatCode="m/d/yyyy">
                  <c:v>41081</c:v>
                </c:pt>
                <c:pt idx="3460" formatCode="m/d/yyyy">
                  <c:v>41082</c:v>
                </c:pt>
                <c:pt idx="3461" formatCode="m/d/yyyy">
                  <c:v>41083</c:v>
                </c:pt>
                <c:pt idx="3462" formatCode="m/d/yyyy">
                  <c:v>41084</c:v>
                </c:pt>
                <c:pt idx="3463" formatCode="m/d/yyyy">
                  <c:v>41085</c:v>
                </c:pt>
                <c:pt idx="3464" formatCode="m/d/yyyy">
                  <c:v>41086</c:v>
                </c:pt>
                <c:pt idx="3465" formatCode="m/d/yyyy">
                  <c:v>41087</c:v>
                </c:pt>
                <c:pt idx="3466" formatCode="m/d/yyyy">
                  <c:v>41088</c:v>
                </c:pt>
                <c:pt idx="3467" formatCode="m/d/yyyy">
                  <c:v>41089</c:v>
                </c:pt>
                <c:pt idx="3468" formatCode="m/d/yyyy">
                  <c:v>41090</c:v>
                </c:pt>
                <c:pt idx="3469" formatCode="m/d/yyyy">
                  <c:v>41091</c:v>
                </c:pt>
                <c:pt idx="3470" formatCode="m/d/yyyy">
                  <c:v>41092</c:v>
                </c:pt>
                <c:pt idx="3471" formatCode="m/d/yyyy">
                  <c:v>41093</c:v>
                </c:pt>
                <c:pt idx="3472" formatCode="m/d/yyyy">
                  <c:v>41094</c:v>
                </c:pt>
                <c:pt idx="3473" formatCode="m/d/yyyy">
                  <c:v>41095</c:v>
                </c:pt>
                <c:pt idx="3474" formatCode="m/d/yyyy">
                  <c:v>41096</c:v>
                </c:pt>
                <c:pt idx="3475" formatCode="m/d/yyyy">
                  <c:v>41097</c:v>
                </c:pt>
                <c:pt idx="3476" formatCode="m/d/yyyy">
                  <c:v>41098</c:v>
                </c:pt>
                <c:pt idx="3477" formatCode="m/d/yyyy">
                  <c:v>41099</c:v>
                </c:pt>
                <c:pt idx="3478" formatCode="m/d/yyyy">
                  <c:v>41100</c:v>
                </c:pt>
                <c:pt idx="3479" formatCode="m/d/yyyy">
                  <c:v>41101</c:v>
                </c:pt>
                <c:pt idx="3480" formatCode="m/d/yyyy">
                  <c:v>41102</c:v>
                </c:pt>
                <c:pt idx="3481" formatCode="m/d/yyyy">
                  <c:v>41103</c:v>
                </c:pt>
                <c:pt idx="3482" formatCode="m/d/yyyy">
                  <c:v>41104</c:v>
                </c:pt>
                <c:pt idx="3483" formatCode="m/d/yyyy">
                  <c:v>41105</c:v>
                </c:pt>
                <c:pt idx="3484" formatCode="m/d/yyyy">
                  <c:v>41106</c:v>
                </c:pt>
                <c:pt idx="3485" formatCode="m/d/yyyy">
                  <c:v>41107</c:v>
                </c:pt>
                <c:pt idx="3486" formatCode="m/d/yyyy">
                  <c:v>41108</c:v>
                </c:pt>
                <c:pt idx="3487" formatCode="m/d/yyyy">
                  <c:v>41109</c:v>
                </c:pt>
                <c:pt idx="3488" formatCode="m/d/yyyy">
                  <c:v>41110</c:v>
                </c:pt>
                <c:pt idx="3489" formatCode="m/d/yyyy">
                  <c:v>41111</c:v>
                </c:pt>
                <c:pt idx="3490" formatCode="m/d/yyyy">
                  <c:v>41112</c:v>
                </c:pt>
                <c:pt idx="3491" formatCode="m/d/yyyy">
                  <c:v>41113</c:v>
                </c:pt>
                <c:pt idx="3492" formatCode="m/d/yyyy">
                  <c:v>41114</c:v>
                </c:pt>
                <c:pt idx="3493" formatCode="m/d/yyyy">
                  <c:v>41115</c:v>
                </c:pt>
                <c:pt idx="3494" formatCode="m/d/yyyy">
                  <c:v>41116</c:v>
                </c:pt>
                <c:pt idx="3495" formatCode="m/d/yyyy">
                  <c:v>41117</c:v>
                </c:pt>
                <c:pt idx="3496" formatCode="m/d/yyyy">
                  <c:v>41118</c:v>
                </c:pt>
                <c:pt idx="3497" formatCode="m/d/yyyy">
                  <c:v>41119</c:v>
                </c:pt>
                <c:pt idx="3498" formatCode="m/d/yyyy">
                  <c:v>41120</c:v>
                </c:pt>
                <c:pt idx="3499" formatCode="m/d/yyyy">
                  <c:v>41121</c:v>
                </c:pt>
                <c:pt idx="3500" formatCode="m/d/yyyy">
                  <c:v>41122</c:v>
                </c:pt>
                <c:pt idx="3501" formatCode="m/d/yyyy">
                  <c:v>41123</c:v>
                </c:pt>
                <c:pt idx="3502" formatCode="m/d/yyyy">
                  <c:v>41124</c:v>
                </c:pt>
                <c:pt idx="3503" formatCode="m/d/yyyy">
                  <c:v>41125</c:v>
                </c:pt>
                <c:pt idx="3504" formatCode="m/d/yyyy">
                  <c:v>41126</c:v>
                </c:pt>
                <c:pt idx="3505" formatCode="m/d/yyyy">
                  <c:v>41127</c:v>
                </c:pt>
                <c:pt idx="3506" formatCode="m/d/yyyy">
                  <c:v>41128</c:v>
                </c:pt>
                <c:pt idx="3507" formatCode="m/d/yyyy">
                  <c:v>41129</c:v>
                </c:pt>
                <c:pt idx="3508" formatCode="m/d/yyyy">
                  <c:v>41130</c:v>
                </c:pt>
                <c:pt idx="3509" formatCode="m/d/yyyy">
                  <c:v>41131</c:v>
                </c:pt>
                <c:pt idx="3510" formatCode="m/d/yyyy">
                  <c:v>41132</c:v>
                </c:pt>
                <c:pt idx="3511" formatCode="m/d/yyyy">
                  <c:v>41133</c:v>
                </c:pt>
                <c:pt idx="3512" formatCode="m/d/yyyy">
                  <c:v>41134</c:v>
                </c:pt>
                <c:pt idx="3513" formatCode="m/d/yyyy">
                  <c:v>41135</c:v>
                </c:pt>
                <c:pt idx="3514" formatCode="m/d/yyyy">
                  <c:v>41136</c:v>
                </c:pt>
                <c:pt idx="3515" formatCode="m/d/yyyy">
                  <c:v>41137</c:v>
                </c:pt>
                <c:pt idx="3516" formatCode="m/d/yyyy">
                  <c:v>41138</c:v>
                </c:pt>
                <c:pt idx="3517" formatCode="m/d/yyyy">
                  <c:v>41139</c:v>
                </c:pt>
                <c:pt idx="3518" formatCode="m/d/yyyy">
                  <c:v>41140</c:v>
                </c:pt>
                <c:pt idx="3519" formatCode="m/d/yyyy">
                  <c:v>41141</c:v>
                </c:pt>
                <c:pt idx="3520" formatCode="m/d/yyyy">
                  <c:v>41142</c:v>
                </c:pt>
                <c:pt idx="3521" formatCode="m/d/yyyy">
                  <c:v>41143</c:v>
                </c:pt>
                <c:pt idx="3522" formatCode="m/d/yyyy">
                  <c:v>41144</c:v>
                </c:pt>
                <c:pt idx="3523" formatCode="m/d/yyyy">
                  <c:v>41145</c:v>
                </c:pt>
                <c:pt idx="3524" formatCode="m/d/yyyy">
                  <c:v>41146</c:v>
                </c:pt>
                <c:pt idx="3525" formatCode="m/d/yyyy">
                  <c:v>41147</c:v>
                </c:pt>
                <c:pt idx="3526" formatCode="m/d/yyyy">
                  <c:v>41148</c:v>
                </c:pt>
                <c:pt idx="3527" formatCode="m/d/yyyy">
                  <c:v>41149</c:v>
                </c:pt>
                <c:pt idx="3528" formatCode="m/d/yyyy">
                  <c:v>41150</c:v>
                </c:pt>
                <c:pt idx="3529" formatCode="m/d/yyyy">
                  <c:v>41151</c:v>
                </c:pt>
                <c:pt idx="3530" formatCode="m/d/yyyy">
                  <c:v>41152</c:v>
                </c:pt>
                <c:pt idx="3531" formatCode="m/d/yyyy">
                  <c:v>41153</c:v>
                </c:pt>
                <c:pt idx="3532" formatCode="m/d/yyyy">
                  <c:v>41154</c:v>
                </c:pt>
                <c:pt idx="3533" formatCode="m/d/yyyy">
                  <c:v>41155</c:v>
                </c:pt>
                <c:pt idx="3534" formatCode="m/d/yyyy">
                  <c:v>41156</c:v>
                </c:pt>
                <c:pt idx="3535" formatCode="m/d/yyyy">
                  <c:v>41157</c:v>
                </c:pt>
                <c:pt idx="3536" formatCode="m/d/yyyy">
                  <c:v>41158</c:v>
                </c:pt>
                <c:pt idx="3537" formatCode="m/d/yyyy">
                  <c:v>41159</c:v>
                </c:pt>
                <c:pt idx="3538" formatCode="m/d/yyyy">
                  <c:v>41160</c:v>
                </c:pt>
                <c:pt idx="3539" formatCode="m/d/yyyy">
                  <c:v>41161</c:v>
                </c:pt>
                <c:pt idx="3540" formatCode="m/d/yyyy">
                  <c:v>41162</c:v>
                </c:pt>
                <c:pt idx="3541" formatCode="m/d/yyyy">
                  <c:v>41163</c:v>
                </c:pt>
                <c:pt idx="3542" formatCode="m/d/yyyy">
                  <c:v>41164</c:v>
                </c:pt>
                <c:pt idx="3543" formatCode="m/d/yyyy">
                  <c:v>41165</c:v>
                </c:pt>
                <c:pt idx="3544" formatCode="m/d/yyyy">
                  <c:v>41166</c:v>
                </c:pt>
                <c:pt idx="3545" formatCode="m/d/yyyy">
                  <c:v>41167</c:v>
                </c:pt>
                <c:pt idx="3546" formatCode="m/d/yyyy">
                  <c:v>41168</c:v>
                </c:pt>
                <c:pt idx="3547" formatCode="m/d/yyyy">
                  <c:v>41169</c:v>
                </c:pt>
                <c:pt idx="3548" formatCode="m/d/yyyy">
                  <c:v>41170</c:v>
                </c:pt>
                <c:pt idx="3549" formatCode="m/d/yyyy">
                  <c:v>41171</c:v>
                </c:pt>
                <c:pt idx="3550" formatCode="m/d/yyyy">
                  <c:v>41172</c:v>
                </c:pt>
                <c:pt idx="3551" formatCode="m/d/yyyy">
                  <c:v>41173</c:v>
                </c:pt>
                <c:pt idx="3552" formatCode="m/d/yyyy">
                  <c:v>41174</c:v>
                </c:pt>
                <c:pt idx="3553" formatCode="m/d/yyyy">
                  <c:v>41175</c:v>
                </c:pt>
                <c:pt idx="3554" formatCode="m/d/yyyy">
                  <c:v>41176</c:v>
                </c:pt>
                <c:pt idx="3555" formatCode="m/d/yyyy">
                  <c:v>41177</c:v>
                </c:pt>
                <c:pt idx="3556" formatCode="m/d/yyyy">
                  <c:v>41178</c:v>
                </c:pt>
                <c:pt idx="3557" formatCode="m/d/yyyy">
                  <c:v>41179</c:v>
                </c:pt>
                <c:pt idx="3558" formatCode="m/d/yyyy">
                  <c:v>41180</c:v>
                </c:pt>
                <c:pt idx="3559" formatCode="m/d/yyyy">
                  <c:v>41181</c:v>
                </c:pt>
                <c:pt idx="3560" formatCode="m/d/yyyy">
                  <c:v>41182</c:v>
                </c:pt>
                <c:pt idx="3561" formatCode="m/d/yyyy">
                  <c:v>41183</c:v>
                </c:pt>
                <c:pt idx="3562" formatCode="m/d/yyyy">
                  <c:v>41184</c:v>
                </c:pt>
                <c:pt idx="3563" formatCode="m/d/yyyy">
                  <c:v>41185</c:v>
                </c:pt>
                <c:pt idx="3564" formatCode="m/d/yyyy">
                  <c:v>41186</c:v>
                </c:pt>
                <c:pt idx="3565" formatCode="m/d/yyyy">
                  <c:v>41187</c:v>
                </c:pt>
                <c:pt idx="3566" formatCode="m/d/yyyy">
                  <c:v>41188</c:v>
                </c:pt>
                <c:pt idx="3567" formatCode="m/d/yyyy">
                  <c:v>41189</c:v>
                </c:pt>
                <c:pt idx="3568" formatCode="m/d/yyyy">
                  <c:v>41190</c:v>
                </c:pt>
                <c:pt idx="3569" formatCode="m/d/yyyy">
                  <c:v>41191</c:v>
                </c:pt>
                <c:pt idx="3570" formatCode="m/d/yyyy">
                  <c:v>41192</c:v>
                </c:pt>
                <c:pt idx="3571" formatCode="m/d/yyyy">
                  <c:v>41193</c:v>
                </c:pt>
                <c:pt idx="3572" formatCode="m/d/yyyy">
                  <c:v>41194</c:v>
                </c:pt>
                <c:pt idx="3573" formatCode="m/d/yyyy">
                  <c:v>41195</c:v>
                </c:pt>
                <c:pt idx="3574" formatCode="m/d/yyyy">
                  <c:v>41196</c:v>
                </c:pt>
                <c:pt idx="3575" formatCode="m/d/yyyy">
                  <c:v>41197</c:v>
                </c:pt>
                <c:pt idx="3576" formatCode="m/d/yyyy">
                  <c:v>41198</c:v>
                </c:pt>
                <c:pt idx="3577" formatCode="m/d/yyyy">
                  <c:v>41199</c:v>
                </c:pt>
                <c:pt idx="3578" formatCode="m/d/yyyy">
                  <c:v>41200</c:v>
                </c:pt>
                <c:pt idx="3579" formatCode="m/d/yyyy">
                  <c:v>41201</c:v>
                </c:pt>
                <c:pt idx="3580" formatCode="m/d/yyyy">
                  <c:v>41202</c:v>
                </c:pt>
                <c:pt idx="3581" formatCode="m/d/yyyy">
                  <c:v>41203</c:v>
                </c:pt>
                <c:pt idx="3582" formatCode="m/d/yyyy">
                  <c:v>41204</c:v>
                </c:pt>
                <c:pt idx="3583" formatCode="m/d/yyyy">
                  <c:v>41205</c:v>
                </c:pt>
                <c:pt idx="3584" formatCode="m/d/yyyy">
                  <c:v>41206</c:v>
                </c:pt>
                <c:pt idx="3585" formatCode="m/d/yyyy">
                  <c:v>41207</c:v>
                </c:pt>
                <c:pt idx="3586" formatCode="m/d/yyyy">
                  <c:v>41208</c:v>
                </c:pt>
                <c:pt idx="3587" formatCode="m/d/yyyy">
                  <c:v>41209</c:v>
                </c:pt>
                <c:pt idx="3588" formatCode="m/d/yyyy">
                  <c:v>41210</c:v>
                </c:pt>
                <c:pt idx="3589" formatCode="m/d/yyyy">
                  <c:v>41211</c:v>
                </c:pt>
                <c:pt idx="3590" formatCode="m/d/yyyy">
                  <c:v>41212</c:v>
                </c:pt>
                <c:pt idx="3591" formatCode="m/d/yyyy">
                  <c:v>41213</c:v>
                </c:pt>
                <c:pt idx="3592" formatCode="m/d/yyyy">
                  <c:v>41214</c:v>
                </c:pt>
                <c:pt idx="3593" formatCode="m/d/yyyy">
                  <c:v>41215</c:v>
                </c:pt>
                <c:pt idx="3594" formatCode="m/d/yyyy">
                  <c:v>41216</c:v>
                </c:pt>
                <c:pt idx="3595" formatCode="m/d/yyyy">
                  <c:v>41217</c:v>
                </c:pt>
                <c:pt idx="3596" formatCode="m/d/yyyy">
                  <c:v>41218</c:v>
                </c:pt>
                <c:pt idx="3597" formatCode="m/d/yyyy">
                  <c:v>41219</c:v>
                </c:pt>
                <c:pt idx="3598" formatCode="m/d/yyyy">
                  <c:v>41220</c:v>
                </c:pt>
                <c:pt idx="3599" formatCode="m/d/yyyy">
                  <c:v>41221</c:v>
                </c:pt>
                <c:pt idx="3600" formatCode="m/d/yyyy">
                  <c:v>41222</c:v>
                </c:pt>
                <c:pt idx="3601" formatCode="m/d/yyyy">
                  <c:v>41223</c:v>
                </c:pt>
                <c:pt idx="3602" formatCode="m/d/yyyy">
                  <c:v>41224</c:v>
                </c:pt>
                <c:pt idx="3603" formatCode="m/d/yyyy">
                  <c:v>41225</c:v>
                </c:pt>
                <c:pt idx="3604" formatCode="m/d/yyyy">
                  <c:v>41226</c:v>
                </c:pt>
                <c:pt idx="3605" formatCode="m/d/yyyy">
                  <c:v>41227</c:v>
                </c:pt>
                <c:pt idx="3606" formatCode="m/d/yyyy">
                  <c:v>41228</c:v>
                </c:pt>
                <c:pt idx="3607" formatCode="m/d/yyyy">
                  <c:v>41229</c:v>
                </c:pt>
                <c:pt idx="3608" formatCode="m/d/yyyy">
                  <c:v>41230</c:v>
                </c:pt>
                <c:pt idx="3609" formatCode="m/d/yyyy">
                  <c:v>41231</c:v>
                </c:pt>
                <c:pt idx="3610" formatCode="m/d/yyyy">
                  <c:v>41232</c:v>
                </c:pt>
                <c:pt idx="3611" formatCode="m/d/yyyy">
                  <c:v>41233</c:v>
                </c:pt>
                <c:pt idx="3612" formatCode="m/d/yyyy">
                  <c:v>41234</c:v>
                </c:pt>
                <c:pt idx="3613" formatCode="m/d/yyyy">
                  <c:v>41235</c:v>
                </c:pt>
                <c:pt idx="3614" formatCode="m/d/yyyy">
                  <c:v>41236</c:v>
                </c:pt>
                <c:pt idx="3615" formatCode="m/d/yyyy">
                  <c:v>41237</c:v>
                </c:pt>
                <c:pt idx="3616" formatCode="m/d/yyyy">
                  <c:v>41238</c:v>
                </c:pt>
                <c:pt idx="3617" formatCode="m/d/yyyy">
                  <c:v>41239</c:v>
                </c:pt>
                <c:pt idx="3618" formatCode="m/d/yyyy">
                  <c:v>41240</c:v>
                </c:pt>
                <c:pt idx="3619" formatCode="m/d/yyyy">
                  <c:v>41241</c:v>
                </c:pt>
                <c:pt idx="3620" formatCode="m/d/yyyy">
                  <c:v>41242</c:v>
                </c:pt>
                <c:pt idx="3621" formatCode="m/d/yyyy">
                  <c:v>41243</c:v>
                </c:pt>
                <c:pt idx="3622" formatCode="m/d/yyyy">
                  <c:v>41244</c:v>
                </c:pt>
                <c:pt idx="3623" formatCode="m/d/yyyy">
                  <c:v>41245</c:v>
                </c:pt>
                <c:pt idx="3624" formatCode="m/d/yyyy">
                  <c:v>41246</c:v>
                </c:pt>
                <c:pt idx="3625" formatCode="m/d/yyyy">
                  <c:v>41247</c:v>
                </c:pt>
                <c:pt idx="3626" formatCode="m/d/yyyy">
                  <c:v>41248</c:v>
                </c:pt>
                <c:pt idx="3627" formatCode="m/d/yyyy">
                  <c:v>41249</c:v>
                </c:pt>
                <c:pt idx="3628" formatCode="m/d/yyyy">
                  <c:v>41250</c:v>
                </c:pt>
                <c:pt idx="3629" formatCode="m/d/yyyy">
                  <c:v>41251</c:v>
                </c:pt>
                <c:pt idx="3630" formatCode="m/d/yyyy">
                  <c:v>41252</c:v>
                </c:pt>
                <c:pt idx="3631" formatCode="m/d/yyyy">
                  <c:v>41253</c:v>
                </c:pt>
                <c:pt idx="3632" formatCode="m/d/yyyy">
                  <c:v>41254</c:v>
                </c:pt>
                <c:pt idx="3633" formatCode="m/d/yyyy">
                  <c:v>41255</c:v>
                </c:pt>
                <c:pt idx="3634" formatCode="m/d/yyyy">
                  <c:v>41256</c:v>
                </c:pt>
                <c:pt idx="3635" formatCode="m/d/yyyy">
                  <c:v>41257</c:v>
                </c:pt>
                <c:pt idx="3636" formatCode="m/d/yyyy">
                  <c:v>41258</c:v>
                </c:pt>
                <c:pt idx="3637" formatCode="m/d/yyyy">
                  <c:v>41259</c:v>
                </c:pt>
                <c:pt idx="3638" formatCode="m/d/yyyy">
                  <c:v>41260</c:v>
                </c:pt>
                <c:pt idx="3639" formatCode="m/d/yyyy">
                  <c:v>41261</c:v>
                </c:pt>
                <c:pt idx="3640" formatCode="m/d/yyyy">
                  <c:v>41262</c:v>
                </c:pt>
                <c:pt idx="3641" formatCode="m/d/yyyy">
                  <c:v>41263</c:v>
                </c:pt>
                <c:pt idx="3642" formatCode="m/d/yyyy">
                  <c:v>41264</c:v>
                </c:pt>
                <c:pt idx="3643" formatCode="m/d/yyyy">
                  <c:v>41265</c:v>
                </c:pt>
                <c:pt idx="3644" formatCode="m/d/yyyy">
                  <c:v>41266</c:v>
                </c:pt>
                <c:pt idx="3645" formatCode="m/d/yyyy">
                  <c:v>41267</c:v>
                </c:pt>
                <c:pt idx="3646" formatCode="m/d/yyyy">
                  <c:v>41268</c:v>
                </c:pt>
                <c:pt idx="3647" formatCode="m/d/yyyy">
                  <c:v>41269</c:v>
                </c:pt>
                <c:pt idx="3648" formatCode="m/d/yyyy">
                  <c:v>41270</c:v>
                </c:pt>
                <c:pt idx="3649" formatCode="m/d/yyyy">
                  <c:v>41271</c:v>
                </c:pt>
                <c:pt idx="3650" formatCode="m/d/yyyy">
                  <c:v>41272</c:v>
                </c:pt>
                <c:pt idx="3651" formatCode="m/d/yyyy">
                  <c:v>41273</c:v>
                </c:pt>
                <c:pt idx="3652" formatCode="m/d/yyyy">
                  <c:v>41274</c:v>
                </c:pt>
                <c:pt idx="3653" formatCode="m/d/yyyy">
                  <c:v>41275</c:v>
                </c:pt>
                <c:pt idx="3654" formatCode="m/d/yyyy">
                  <c:v>41276</c:v>
                </c:pt>
                <c:pt idx="3655" formatCode="m/d/yyyy">
                  <c:v>41277</c:v>
                </c:pt>
                <c:pt idx="3656" formatCode="m/d/yyyy">
                  <c:v>41278</c:v>
                </c:pt>
                <c:pt idx="3657" formatCode="m/d/yyyy">
                  <c:v>41279</c:v>
                </c:pt>
                <c:pt idx="3658" formatCode="m/d/yyyy">
                  <c:v>41280</c:v>
                </c:pt>
                <c:pt idx="3659" formatCode="m/d/yyyy">
                  <c:v>41281</c:v>
                </c:pt>
                <c:pt idx="3660" formatCode="m/d/yyyy">
                  <c:v>41282</c:v>
                </c:pt>
                <c:pt idx="3661" formatCode="m/d/yyyy">
                  <c:v>41283</c:v>
                </c:pt>
                <c:pt idx="3662" formatCode="m/d/yyyy">
                  <c:v>41284</c:v>
                </c:pt>
                <c:pt idx="3663" formatCode="m/d/yyyy">
                  <c:v>41285</c:v>
                </c:pt>
                <c:pt idx="3664" formatCode="m/d/yyyy">
                  <c:v>41286</c:v>
                </c:pt>
                <c:pt idx="3665" formatCode="m/d/yyyy">
                  <c:v>41287</c:v>
                </c:pt>
                <c:pt idx="3666" formatCode="m/d/yyyy">
                  <c:v>41288</c:v>
                </c:pt>
                <c:pt idx="3667" formatCode="m/d/yyyy">
                  <c:v>41289</c:v>
                </c:pt>
                <c:pt idx="3668" formatCode="m/d/yyyy">
                  <c:v>41290</c:v>
                </c:pt>
                <c:pt idx="3669" formatCode="m/d/yyyy">
                  <c:v>41291</c:v>
                </c:pt>
                <c:pt idx="3670" formatCode="m/d/yyyy">
                  <c:v>41292</c:v>
                </c:pt>
                <c:pt idx="3671" formatCode="m/d/yyyy">
                  <c:v>41293</c:v>
                </c:pt>
                <c:pt idx="3672" formatCode="m/d/yyyy">
                  <c:v>41294</c:v>
                </c:pt>
                <c:pt idx="3673" formatCode="m/d/yyyy">
                  <c:v>41295</c:v>
                </c:pt>
                <c:pt idx="3674" formatCode="m/d/yyyy">
                  <c:v>41296</c:v>
                </c:pt>
                <c:pt idx="3675" formatCode="m/d/yyyy">
                  <c:v>41297</c:v>
                </c:pt>
                <c:pt idx="3676" formatCode="m/d/yyyy">
                  <c:v>41298</c:v>
                </c:pt>
                <c:pt idx="3677" formatCode="m/d/yyyy">
                  <c:v>41299</c:v>
                </c:pt>
                <c:pt idx="3678" formatCode="m/d/yyyy">
                  <c:v>41300</c:v>
                </c:pt>
                <c:pt idx="3679" formatCode="m/d/yyyy">
                  <c:v>41301</c:v>
                </c:pt>
                <c:pt idx="3680" formatCode="m/d/yyyy">
                  <c:v>41302</c:v>
                </c:pt>
                <c:pt idx="3681" formatCode="m/d/yyyy">
                  <c:v>41303</c:v>
                </c:pt>
                <c:pt idx="3682" formatCode="m/d/yyyy">
                  <c:v>41304</c:v>
                </c:pt>
                <c:pt idx="3683" formatCode="m/d/yyyy">
                  <c:v>41305</c:v>
                </c:pt>
                <c:pt idx="3684" formatCode="m/d/yyyy">
                  <c:v>41306</c:v>
                </c:pt>
                <c:pt idx="3685" formatCode="m/d/yyyy">
                  <c:v>41307</c:v>
                </c:pt>
                <c:pt idx="3686" formatCode="m/d/yyyy">
                  <c:v>41308</c:v>
                </c:pt>
                <c:pt idx="3687" formatCode="m/d/yyyy">
                  <c:v>41309</c:v>
                </c:pt>
                <c:pt idx="3688" formatCode="m/d/yyyy">
                  <c:v>41310</c:v>
                </c:pt>
                <c:pt idx="3689" formatCode="m/d/yyyy">
                  <c:v>41311</c:v>
                </c:pt>
                <c:pt idx="3690" formatCode="m/d/yyyy">
                  <c:v>41312</c:v>
                </c:pt>
                <c:pt idx="3691" formatCode="m/d/yyyy">
                  <c:v>41313</c:v>
                </c:pt>
                <c:pt idx="3692" formatCode="m/d/yyyy">
                  <c:v>41314</c:v>
                </c:pt>
                <c:pt idx="3693" formatCode="m/d/yyyy">
                  <c:v>41315</c:v>
                </c:pt>
                <c:pt idx="3694" formatCode="m/d/yyyy">
                  <c:v>41316</c:v>
                </c:pt>
                <c:pt idx="3695" formatCode="m/d/yyyy">
                  <c:v>41317</c:v>
                </c:pt>
                <c:pt idx="3696" formatCode="m/d/yyyy">
                  <c:v>41318</c:v>
                </c:pt>
                <c:pt idx="3697" formatCode="m/d/yyyy">
                  <c:v>41319</c:v>
                </c:pt>
                <c:pt idx="3698" formatCode="m/d/yyyy">
                  <c:v>41320</c:v>
                </c:pt>
                <c:pt idx="3699" formatCode="m/d/yyyy">
                  <c:v>41321</c:v>
                </c:pt>
                <c:pt idx="3700" formatCode="m/d/yyyy">
                  <c:v>41322</c:v>
                </c:pt>
                <c:pt idx="3701" formatCode="m/d/yyyy">
                  <c:v>41323</c:v>
                </c:pt>
                <c:pt idx="3702" formatCode="m/d/yyyy">
                  <c:v>41324</c:v>
                </c:pt>
                <c:pt idx="3703" formatCode="m/d/yyyy">
                  <c:v>41325</c:v>
                </c:pt>
                <c:pt idx="3704" formatCode="m/d/yyyy">
                  <c:v>41326</c:v>
                </c:pt>
                <c:pt idx="3705" formatCode="m/d/yyyy">
                  <c:v>41327</c:v>
                </c:pt>
                <c:pt idx="3706" formatCode="m/d/yyyy">
                  <c:v>41328</c:v>
                </c:pt>
                <c:pt idx="3707" formatCode="m/d/yyyy">
                  <c:v>41329</c:v>
                </c:pt>
                <c:pt idx="3708" formatCode="m/d/yyyy">
                  <c:v>41330</c:v>
                </c:pt>
                <c:pt idx="3709" formatCode="m/d/yyyy">
                  <c:v>41331</c:v>
                </c:pt>
                <c:pt idx="3710" formatCode="m/d/yyyy">
                  <c:v>41332</c:v>
                </c:pt>
                <c:pt idx="3711" formatCode="m/d/yyyy">
                  <c:v>41333</c:v>
                </c:pt>
                <c:pt idx="3712" formatCode="m/d/yyyy">
                  <c:v>41334</c:v>
                </c:pt>
                <c:pt idx="3713" formatCode="m/d/yyyy">
                  <c:v>41335</c:v>
                </c:pt>
                <c:pt idx="3714" formatCode="m/d/yyyy">
                  <c:v>41336</c:v>
                </c:pt>
                <c:pt idx="3715" formatCode="m/d/yyyy">
                  <c:v>41337</c:v>
                </c:pt>
                <c:pt idx="3716" formatCode="m/d/yyyy">
                  <c:v>41338</c:v>
                </c:pt>
                <c:pt idx="3717" formatCode="m/d/yyyy">
                  <c:v>41339</c:v>
                </c:pt>
                <c:pt idx="3718" formatCode="m/d/yyyy">
                  <c:v>41340</c:v>
                </c:pt>
                <c:pt idx="3719" formatCode="m/d/yyyy">
                  <c:v>41341</c:v>
                </c:pt>
                <c:pt idx="3720" formatCode="m/d/yyyy">
                  <c:v>41342</c:v>
                </c:pt>
                <c:pt idx="3721" formatCode="m/d/yyyy">
                  <c:v>41343</c:v>
                </c:pt>
                <c:pt idx="3722" formatCode="m/d/yyyy">
                  <c:v>41344</c:v>
                </c:pt>
                <c:pt idx="3723" formatCode="m/d/yyyy">
                  <c:v>41345</c:v>
                </c:pt>
                <c:pt idx="3724" formatCode="m/d/yyyy">
                  <c:v>41346</c:v>
                </c:pt>
                <c:pt idx="3725" formatCode="m/d/yyyy">
                  <c:v>41347</c:v>
                </c:pt>
                <c:pt idx="3726" formatCode="m/d/yyyy">
                  <c:v>41348</c:v>
                </c:pt>
                <c:pt idx="3727" formatCode="m/d/yyyy">
                  <c:v>41349</c:v>
                </c:pt>
                <c:pt idx="3728" formatCode="m/d/yyyy">
                  <c:v>41350</c:v>
                </c:pt>
                <c:pt idx="3729" formatCode="m/d/yyyy">
                  <c:v>41351</c:v>
                </c:pt>
                <c:pt idx="3730" formatCode="m/d/yyyy">
                  <c:v>41352</c:v>
                </c:pt>
                <c:pt idx="3731" formatCode="m/d/yyyy">
                  <c:v>41353</c:v>
                </c:pt>
                <c:pt idx="3732" formatCode="m/d/yyyy">
                  <c:v>41354</c:v>
                </c:pt>
                <c:pt idx="3733" formatCode="m/d/yyyy">
                  <c:v>41355</c:v>
                </c:pt>
                <c:pt idx="3734" formatCode="m/d/yyyy">
                  <c:v>41356</c:v>
                </c:pt>
                <c:pt idx="3735" formatCode="m/d/yyyy">
                  <c:v>41357</c:v>
                </c:pt>
                <c:pt idx="3736" formatCode="m/d/yyyy">
                  <c:v>41358</c:v>
                </c:pt>
                <c:pt idx="3737" formatCode="m/d/yyyy">
                  <c:v>41359</c:v>
                </c:pt>
                <c:pt idx="3738" formatCode="m/d/yyyy">
                  <c:v>41360</c:v>
                </c:pt>
                <c:pt idx="3739" formatCode="m/d/yyyy">
                  <c:v>41361</c:v>
                </c:pt>
                <c:pt idx="3740" formatCode="m/d/yyyy">
                  <c:v>41362</c:v>
                </c:pt>
                <c:pt idx="3741" formatCode="m/d/yyyy">
                  <c:v>41363</c:v>
                </c:pt>
                <c:pt idx="3742" formatCode="m/d/yyyy">
                  <c:v>41364</c:v>
                </c:pt>
                <c:pt idx="3743" formatCode="m/d/yyyy">
                  <c:v>41365</c:v>
                </c:pt>
                <c:pt idx="3744" formatCode="m/d/yyyy">
                  <c:v>41366</c:v>
                </c:pt>
                <c:pt idx="3745" formatCode="m/d/yyyy">
                  <c:v>41367</c:v>
                </c:pt>
                <c:pt idx="3746" formatCode="m/d/yyyy">
                  <c:v>41368</c:v>
                </c:pt>
                <c:pt idx="3747" formatCode="m/d/yyyy">
                  <c:v>41369</c:v>
                </c:pt>
                <c:pt idx="3748" formatCode="m/d/yyyy">
                  <c:v>41370</c:v>
                </c:pt>
                <c:pt idx="3749" formatCode="m/d/yyyy">
                  <c:v>41371</c:v>
                </c:pt>
                <c:pt idx="3750" formatCode="m/d/yyyy">
                  <c:v>41372</c:v>
                </c:pt>
                <c:pt idx="3751" formatCode="m/d/yyyy">
                  <c:v>41373</c:v>
                </c:pt>
                <c:pt idx="3752" formatCode="m/d/yyyy">
                  <c:v>41374</c:v>
                </c:pt>
                <c:pt idx="3753" formatCode="m/d/yyyy">
                  <c:v>41375</c:v>
                </c:pt>
                <c:pt idx="3754" formatCode="m/d/yyyy">
                  <c:v>41376</c:v>
                </c:pt>
                <c:pt idx="3755" formatCode="m/d/yyyy">
                  <c:v>41377</c:v>
                </c:pt>
                <c:pt idx="3756" formatCode="m/d/yyyy">
                  <c:v>41378</c:v>
                </c:pt>
                <c:pt idx="3757" formatCode="m/d/yyyy">
                  <c:v>41379</c:v>
                </c:pt>
                <c:pt idx="3758" formatCode="m/d/yyyy">
                  <c:v>41380</c:v>
                </c:pt>
                <c:pt idx="3759" formatCode="m/d/yyyy">
                  <c:v>41381</c:v>
                </c:pt>
                <c:pt idx="3760" formatCode="m/d/yyyy">
                  <c:v>41382</c:v>
                </c:pt>
                <c:pt idx="3761" formatCode="m/d/yyyy">
                  <c:v>41383</c:v>
                </c:pt>
                <c:pt idx="3762" formatCode="m/d/yyyy">
                  <c:v>41384</c:v>
                </c:pt>
                <c:pt idx="3763" formatCode="m/d/yyyy">
                  <c:v>41385</c:v>
                </c:pt>
                <c:pt idx="3764" formatCode="m/d/yyyy">
                  <c:v>41386</c:v>
                </c:pt>
                <c:pt idx="3765" formatCode="m/d/yyyy">
                  <c:v>41387</c:v>
                </c:pt>
                <c:pt idx="3766" formatCode="m/d/yyyy">
                  <c:v>41388</c:v>
                </c:pt>
                <c:pt idx="3767" formatCode="m/d/yyyy">
                  <c:v>41389</c:v>
                </c:pt>
                <c:pt idx="3768" formatCode="m/d/yyyy">
                  <c:v>41390</c:v>
                </c:pt>
                <c:pt idx="3769" formatCode="m/d/yyyy">
                  <c:v>41391</c:v>
                </c:pt>
                <c:pt idx="3770" formatCode="m/d/yyyy">
                  <c:v>41392</c:v>
                </c:pt>
                <c:pt idx="3771" formatCode="m/d/yyyy">
                  <c:v>41393</c:v>
                </c:pt>
                <c:pt idx="3772" formatCode="m/d/yyyy">
                  <c:v>41394</c:v>
                </c:pt>
                <c:pt idx="3773" formatCode="m/d/yyyy">
                  <c:v>41395</c:v>
                </c:pt>
                <c:pt idx="3774" formatCode="m/d/yyyy">
                  <c:v>41396</c:v>
                </c:pt>
                <c:pt idx="3775" formatCode="m/d/yyyy">
                  <c:v>41397</c:v>
                </c:pt>
                <c:pt idx="3776" formatCode="m/d/yyyy">
                  <c:v>41398</c:v>
                </c:pt>
                <c:pt idx="3777" formatCode="m/d/yyyy">
                  <c:v>41399</c:v>
                </c:pt>
                <c:pt idx="3778" formatCode="m/d/yyyy">
                  <c:v>41400</c:v>
                </c:pt>
                <c:pt idx="3779" formatCode="m/d/yyyy">
                  <c:v>41401</c:v>
                </c:pt>
                <c:pt idx="3780" formatCode="m/d/yyyy">
                  <c:v>41402</c:v>
                </c:pt>
                <c:pt idx="3781" formatCode="m/d/yyyy">
                  <c:v>41403</c:v>
                </c:pt>
                <c:pt idx="3782" formatCode="m/d/yyyy">
                  <c:v>41404</c:v>
                </c:pt>
                <c:pt idx="3783" formatCode="m/d/yyyy">
                  <c:v>41405</c:v>
                </c:pt>
                <c:pt idx="3784" formatCode="m/d/yyyy">
                  <c:v>41406</c:v>
                </c:pt>
                <c:pt idx="3785" formatCode="m/d/yyyy">
                  <c:v>41407</c:v>
                </c:pt>
                <c:pt idx="3786" formatCode="m/d/yyyy">
                  <c:v>41408</c:v>
                </c:pt>
                <c:pt idx="3787" formatCode="m/d/yyyy">
                  <c:v>41409</c:v>
                </c:pt>
                <c:pt idx="3788" formatCode="m/d/yyyy">
                  <c:v>41410</c:v>
                </c:pt>
                <c:pt idx="3789" formatCode="m/d/yyyy">
                  <c:v>41411</c:v>
                </c:pt>
                <c:pt idx="3790" formatCode="m/d/yyyy">
                  <c:v>41412</c:v>
                </c:pt>
                <c:pt idx="3791" formatCode="m/d/yyyy">
                  <c:v>41413</c:v>
                </c:pt>
                <c:pt idx="3792" formatCode="m/d/yyyy">
                  <c:v>41414</c:v>
                </c:pt>
                <c:pt idx="3793" formatCode="m/d/yyyy">
                  <c:v>41415</c:v>
                </c:pt>
                <c:pt idx="3794" formatCode="m/d/yyyy">
                  <c:v>41416</c:v>
                </c:pt>
                <c:pt idx="3795" formatCode="m/d/yyyy">
                  <c:v>41417</c:v>
                </c:pt>
                <c:pt idx="3796" formatCode="m/d/yyyy">
                  <c:v>41418</c:v>
                </c:pt>
                <c:pt idx="3797" formatCode="m/d/yyyy">
                  <c:v>41419</c:v>
                </c:pt>
                <c:pt idx="3798" formatCode="m/d/yyyy">
                  <c:v>41420</c:v>
                </c:pt>
                <c:pt idx="3799" formatCode="m/d/yyyy">
                  <c:v>41421</c:v>
                </c:pt>
                <c:pt idx="3800" formatCode="m/d/yyyy">
                  <c:v>41422</c:v>
                </c:pt>
                <c:pt idx="3801" formatCode="m/d/yyyy">
                  <c:v>41423</c:v>
                </c:pt>
                <c:pt idx="3802" formatCode="m/d/yyyy">
                  <c:v>41424</c:v>
                </c:pt>
                <c:pt idx="3803" formatCode="m/d/yyyy">
                  <c:v>41425</c:v>
                </c:pt>
                <c:pt idx="3804" formatCode="m/d/yyyy">
                  <c:v>41426</c:v>
                </c:pt>
                <c:pt idx="3805" formatCode="m/d/yyyy">
                  <c:v>41427</c:v>
                </c:pt>
                <c:pt idx="3806" formatCode="m/d/yyyy">
                  <c:v>41428</c:v>
                </c:pt>
                <c:pt idx="3807" formatCode="m/d/yyyy">
                  <c:v>41429</c:v>
                </c:pt>
                <c:pt idx="3808" formatCode="m/d/yyyy">
                  <c:v>41430</c:v>
                </c:pt>
                <c:pt idx="3809" formatCode="m/d/yyyy">
                  <c:v>41431</c:v>
                </c:pt>
                <c:pt idx="3810" formatCode="m/d/yyyy">
                  <c:v>41432</c:v>
                </c:pt>
                <c:pt idx="3811" formatCode="m/d/yyyy">
                  <c:v>41433</c:v>
                </c:pt>
                <c:pt idx="3812" formatCode="m/d/yyyy">
                  <c:v>41434</c:v>
                </c:pt>
                <c:pt idx="3813" formatCode="m/d/yyyy">
                  <c:v>41435</c:v>
                </c:pt>
                <c:pt idx="3814" formatCode="m/d/yyyy">
                  <c:v>41436</c:v>
                </c:pt>
                <c:pt idx="3815" formatCode="m/d/yyyy">
                  <c:v>41437</c:v>
                </c:pt>
                <c:pt idx="3816" formatCode="m/d/yyyy">
                  <c:v>41438</c:v>
                </c:pt>
                <c:pt idx="3817" formatCode="m/d/yyyy">
                  <c:v>41439</c:v>
                </c:pt>
                <c:pt idx="3818" formatCode="m/d/yyyy">
                  <c:v>41440</c:v>
                </c:pt>
                <c:pt idx="3819" formatCode="m/d/yyyy">
                  <c:v>41441</c:v>
                </c:pt>
                <c:pt idx="3820" formatCode="m/d/yyyy">
                  <c:v>41442</c:v>
                </c:pt>
                <c:pt idx="3821" formatCode="m/d/yyyy">
                  <c:v>41443</c:v>
                </c:pt>
                <c:pt idx="3822" formatCode="m/d/yyyy">
                  <c:v>41444</c:v>
                </c:pt>
                <c:pt idx="3823" formatCode="m/d/yyyy">
                  <c:v>41445</c:v>
                </c:pt>
                <c:pt idx="3824" formatCode="m/d/yyyy">
                  <c:v>41446</c:v>
                </c:pt>
                <c:pt idx="3825" formatCode="m/d/yyyy">
                  <c:v>41447</c:v>
                </c:pt>
                <c:pt idx="3826" formatCode="m/d/yyyy">
                  <c:v>41448</c:v>
                </c:pt>
                <c:pt idx="3827" formatCode="m/d/yyyy">
                  <c:v>41449</c:v>
                </c:pt>
                <c:pt idx="3828" formatCode="m/d/yyyy">
                  <c:v>41450</c:v>
                </c:pt>
                <c:pt idx="3829" formatCode="m/d/yyyy">
                  <c:v>41451</c:v>
                </c:pt>
                <c:pt idx="3830" formatCode="m/d/yyyy">
                  <c:v>41452</c:v>
                </c:pt>
                <c:pt idx="3831" formatCode="m/d/yyyy">
                  <c:v>41453</c:v>
                </c:pt>
                <c:pt idx="3832" formatCode="m/d/yyyy">
                  <c:v>41454</c:v>
                </c:pt>
                <c:pt idx="3833" formatCode="m/d/yyyy">
                  <c:v>41455</c:v>
                </c:pt>
                <c:pt idx="3834" formatCode="m/d/yyyy">
                  <c:v>41456</c:v>
                </c:pt>
                <c:pt idx="3835" formatCode="m/d/yyyy">
                  <c:v>41457</c:v>
                </c:pt>
                <c:pt idx="3836" formatCode="m/d/yyyy">
                  <c:v>41458</c:v>
                </c:pt>
                <c:pt idx="3837" formatCode="m/d/yyyy">
                  <c:v>41459</c:v>
                </c:pt>
                <c:pt idx="3838" formatCode="m/d/yyyy">
                  <c:v>41460</c:v>
                </c:pt>
                <c:pt idx="3839" formatCode="m/d/yyyy">
                  <c:v>41461</c:v>
                </c:pt>
                <c:pt idx="3840" formatCode="m/d/yyyy">
                  <c:v>41462</c:v>
                </c:pt>
                <c:pt idx="3841" formatCode="m/d/yyyy">
                  <c:v>41463</c:v>
                </c:pt>
                <c:pt idx="3842" formatCode="m/d/yyyy">
                  <c:v>41464</c:v>
                </c:pt>
                <c:pt idx="3843" formatCode="m/d/yyyy">
                  <c:v>41465</c:v>
                </c:pt>
                <c:pt idx="3844" formatCode="m/d/yyyy">
                  <c:v>41466</c:v>
                </c:pt>
                <c:pt idx="3845" formatCode="m/d/yyyy">
                  <c:v>41467</c:v>
                </c:pt>
                <c:pt idx="3846" formatCode="m/d/yyyy">
                  <c:v>41468</c:v>
                </c:pt>
                <c:pt idx="3847" formatCode="m/d/yyyy">
                  <c:v>41469</c:v>
                </c:pt>
                <c:pt idx="3848" formatCode="m/d/yyyy">
                  <c:v>41470</c:v>
                </c:pt>
                <c:pt idx="3849" formatCode="m/d/yyyy">
                  <c:v>41471</c:v>
                </c:pt>
                <c:pt idx="3850" formatCode="m/d/yyyy">
                  <c:v>41472</c:v>
                </c:pt>
                <c:pt idx="3851" formatCode="m/d/yyyy">
                  <c:v>41473</c:v>
                </c:pt>
                <c:pt idx="3852" formatCode="m/d/yyyy">
                  <c:v>41474</c:v>
                </c:pt>
                <c:pt idx="3853" formatCode="m/d/yyyy">
                  <c:v>41475</c:v>
                </c:pt>
                <c:pt idx="3854" formatCode="m/d/yyyy">
                  <c:v>41476</c:v>
                </c:pt>
                <c:pt idx="3855" formatCode="m/d/yyyy">
                  <c:v>41477</c:v>
                </c:pt>
                <c:pt idx="3856" formatCode="m/d/yyyy">
                  <c:v>41478</c:v>
                </c:pt>
                <c:pt idx="3857" formatCode="m/d/yyyy">
                  <c:v>41479</c:v>
                </c:pt>
                <c:pt idx="3858" formatCode="m/d/yyyy">
                  <c:v>41480</c:v>
                </c:pt>
                <c:pt idx="3859" formatCode="m/d/yyyy">
                  <c:v>41481</c:v>
                </c:pt>
                <c:pt idx="3860" formatCode="m/d/yyyy">
                  <c:v>41482</c:v>
                </c:pt>
                <c:pt idx="3861" formatCode="m/d/yyyy">
                  <c:v>41483</c:v>
                </c:pt>
                <c:pt idx="3862" formatCode="m/d/yyyy">
                  <c:v>41484</c:v>
                </c:pt>
                <c:pt idx="3863" formatCode="m/d/yyyy">
                  <c:v>41485</c:v>
                </c:pt>
                <c:pt idx="3864" formatCode="m/d/yyyy">
                  <c:v>41486</c:v>
                </c:pt>
                <c:pt idx="3865" formatCode="m/d/yyyy">
                  <c:v>41487</c:v>
                </c:pt>
                <c:pt idx="3866" formatCode="m/d/yyyy">
                  <c:v>41488</c:v>
                </c:pt>
                <c:pt idx="3867" formatCode="m/d/yyyy">
                  <c:v>41489</c:v>
                </c:pt>
                <c:pt idx="3868" formatCode="m/d/yyyy">
                  <c:v>41490</c:v>
                </c:pt>
                <c:pt idx="3869" formatCode="m/d/yyyy">
                  <c:v>41491</c:v>
                </c:pt>
                <c:pt idx="3870" formatCode="m/d/yyyy">
                  <c:v>41492</c:v>
                </c:pt>
                <c:pt idx="3871" formatCode="m/d/yyyy">
                  <c:v>41493</c:v>
                </c:pt>
                <c:pt idx="3872" formatCode="m/d/yyyy">
                  <c:v>41494</c:v>
                </c:pt>
                <c:pt idx="3873" formatCode="m/d/yyyy">
                  <c:v>41495</c:v>
                </c:pt>
                <c:pt idx="3874" formatCode="m/d/yyyy">
                  <c:v>41496</c:v>
                </c:pt>
                <c:pt idx="3875" formatCode="m/d/yyyy">
                  <c:v>41497</c:v>
                </c:pt>
                <c:pt idx="3876" formatCode="m/d/yyyy">
                  <c:v>41498</c:v>
                </c:pt>
                <c:pt idx="3877" formatCode="m/d/yyyy">
                  <c:v>41499</c:v>
                </c:pt>
                <c:pt idx="3878" formatCode="m/d/yyyy">
                  <c:v>41500</c:v>
                </c:pt>
                <c:pt idx="3879" formatCode="m/d/yyyy">
                  <c:v>41501</c:v>
                </c:pt>
                <c:pt idx="3880" formatCode="m/d/yyyy">
                  <c:v>41502</c:v>
                </c:pt>
                <c:pt idx="3881" formatCode="m/d/yyyy">
                  <c:v>41503</c:v>
                </c:pt>
                <c:pt idx="3882" formatCode="m/d/yyyy">
                  <c:v>41504</c:v>
                </c:pt>
                <c:pt idx="3883" formatCode="m/d/yyyy">
                  <c:v>41505</c:v>
                </c:pt>
                <c:pt idx="3884" formatCode="m/d/yyyy">
                  <c:v>41506</c:v>
                </c:pt>
                <c:pt idx="3885" formatCode="m/d/yyyy">
                  <c:v>41507</c:v>
                </c:pt>
                <c:pt idx="3886" formatCode="m/d/yyyy">
                  <c:v>41508</c:v>
                </c:pt>
                <c:pt idx="3887" formatCode="m/d/yyyy">
                  <c:v>41509</c:v>
                </c:pt>
                <c:pt idx="3888" formatCode="m/d/yyyy">
                  <c:v>41510</c:v>
                </c:pt>
                <c:pt idx="3889" formatCode="m/d/yyyy">
                  <c:v>41511</c:v>
                </c:pt>
                <c:pt idx="3890" formatCode="m/d/yyyy">
                  <c:v>41512</c:v>
                </c:pt>
                <c:pt idx="3891" formatCode="m/d/yyyy">
                  <c:v>41513</c:v>
                </c:pt>
                <c:pt idx="3892" formatCode="m/d/yyyy">
                  <c:v>41514</c:v>
                </c:pt>
                <c:pt idx="3893" formatCode="m/d/yyyy">
                  <c:v>41515</c:v>
                </c:pt>
                <c:pt idx="3894" formatCode="m/d/yyyy">
                  <c:v>41516</c:v>
                </c:pt>
                <c:pt idx="3895" formatCode="m/d/yyyy">
                  <c:v>41517</c:v>
                </c:pt>
                <c:pt idx="3896" formatCode="m/d/yyyy">
                  <c:v>41518</c:v>
                </c:pt>
                <c:pt idx="3897" formatCode="m/d/yyyy">
                  <c:v>41519</c:v>
                </c:pt>
                <c:pt idx="3898" formatCode="m/d/yyyy">
                  <c:v>41520</c:v>
                </c:pt>
                <c:pt idx="3899" formatCode="m/d/yyyy">
                  <c:v>41521</c:v>
                </c:pt>
                <c:pt idx="3900" formatCode="m/d/yyyy">
                  <c:v>41522</c:v>
                </c:pt>
                <c:pt idx="3901" formatCode="m/d/yyyy">
                  <c:v>41523</c:v>
                </c:pt>
                <c:pt idx="3902" formatCode="m/d/yyyy">
                  <c:v>41524</c:v>
                </c:pt>
                <c:pt idx="3903" formatCode="m/d/yyyy">
                  <c:v>41525</c:v>
                </c:pt>
                <c:pt idx="3904" formatCode="m/d/yyyy">
                  <c:v>41526</c:v>
                </c:pt>
                <c:pt idx="3905" formatCode="m/d/yyyy">
                  <c:v>41527</c:v>
                </c:pt>
                <c:pt idx="3906" formatCode="m/d/yyyy">
                  <c:v>41528</c:v>
                </c:pt>
                <c:pt idx="3907" formatCode="m/d/yyyy">
                  <c:v>41529</c:v>
                </c:pt>
                <c:pt idx="3908" formatCode="m/d/yyyy">
                  <c:v>41530</c:v>
                </c:pt>
                <c:pt idx="3909" formatCode="m/d/yyyy">
                  <c:v>41531</c:v>
                </c:pt>
                <c:pt idx="3910" formatCode="m/d/yyyy">
                  <c:v>41532</c:v>
                </c:pt>
                <c:pt idx="3911" formatCode="m/d/yyyy">
                  <c:v>41533</c:v>
                </c:pt>
                <c:pt idx="3912" formatCode="m/d/yyyy">
                  <c:v>41534</c:v>
                </c:pt>
                <c:pt idx="3913" formatCode="m/d/yyyy">
                  <c:v>41535</c:v>
                </c:pt>
                <c:pt idx="3914" formatCode="m/d/yyyy">
                  <c:v>41536</c:v>
                </c:pt>
                <c:pt idx="3915" formatCode="m/d/yyyy">
                  <c:v>41537</c:v>
                </c:pt>
                <c:pt idx="3916" formatCode="m/d/yyyy">
                  <c:v>41538</c:v>
                </c:pt>
                <c:pt idx="3917" formatCode="m/d/yyyy">
                  <c:v>41539</c:v>
                </c:pt>
                <c:pt idx="3918" formatCode="m/d/yyyy">
                  <c:v>41540</c:v>
                </c:pt>
                <c:pt idx="3919" formatCode="m/d/yyyy">
                  <c:v>41541</c:v>
                </c:pt>
                <c:pt idx="3920" formatCode="m/d/yyyy">
                  <c:v>41542</c:v>
                </c:pt>
                <c:pt idx="3921" formatCode="m/d/yyyy">
                  <c:v>41543</c:v>
                </c:pt>
                <c:pt idx="3922" formatCode="m/d/yyyy">
                  <c:v>41544</c:v>
                </c:pt>
                <c:pt idx="3923" formatCode="m/d/yyyy">
                  <c:v>41545</c:v>
                </c:pt>
                <c:pt idx="3924" formatCode="m/d/yyyy">
                  <c:v>41546</c:v>
                </c:pt>
                <c:pt idx="3925" formatCode="m/d/yyyy">
                  <c:v>41547</c:v>
                </c:pt>
                <c:pt idx="3926" formatCode="m/d/yyyy">
                  <c:v>41548</c:v>
                </c:pt>
                <c:pt idx="3927" formatCode="m/d/yyyy">
                  <c:v>41549</c:v>
                </c:pt>
                <c:pt idx="3928" formatCode="m/d/yyyy">
                  <c:v>41550</c:v>
                </c:pt>
                <c:pt idx="3929" formatCode="m/d/yyyy">
                  <c:v>41551</c:v>
                </c:pt>
                <c:pt idx="3930" formatCode="m/d/yyyy">
                  <c:v>41552</c:v>
                </c:pt>
                <c:pt idx="3931" formatCode="m/d/yyyy">
                  <c:v>41553</c:v>
                </c:pt>
                <c:pt idx="3932" formatCode="m/d/yyyy">
                  <c:v>41554</c:v>
                </c:pt>
                <c:pt idx="3933" formatCode="m/d/yyyy">
                  <c:v>41555</c:v>
                </c:pt>
                <c:pt idx="3934" formatCode="m/d/yyyy">
                  <c:v>41556</c:v>
                </c:pt>
                <c:pt idx="3935" formatCode="m/d/yyyy">
                  <c:v>41557</c:v>
                </c:pt>
                <c:pt idx="3936" formatCode="m/d/yyyy">
                  <c:v>41558</c:v>
                </c:pt>
                <c:pt idx="3937" formatCode="m/d/yyyy">
                  <c:v>41559</c:v>
                </c:pt>
                <c:pt idx="3938" formatCode="m/d/yyyy">
                  <c:v>41560</c:v>
                </c:pt>
                <c:pt idx="3939" formatCode="m/d/yyyy">
                  <c:v>41561</c:v>
                </c:pt>
                <c:pt idx="3940" formatCode="m/d/yyyy">
                  <c:v>41562</c:v>
                </c:pt>
                <c:pt idx="3941" formatCode="m/d/yyyy">
                  <c:v>41563</c:v>
                </c:pt>
                <c:pt idx="3942" formatCode="m/d/yyyy">
                  <c:v>41564</c:v>
                </c:pt>
                <c:pt idx="3943" formatCode="m/d/yyyy">
                  <c:v>41565</c:v>
                </c:pt>
                <c:pt idx="3944" formatCode="m/d/yyyy">
                  <c:v>41566</c:v>
                </c:pt>
                <c:pt idx="3945" formatCode="m/d/yyyy">
                  <c:v>41567</c:v>
                </c:pt>
                <c:pt idx="3946" formatCode="m/d/yyyy">
                  <c:v>41568</c:v>
                </c:pt>
                <c:pt idx="3947" formatCode="m/d/yyyy">
                  <c:v>41569</c:v>
                </c:pt>
                <c:pt idx="3948" formatCode="m/d/yyyy">
                  <c:v>41570</c:v>
                </c:pt>
                <c:pt idx="3949" formatCode="m/d/yyyy">
                  <c:v>41571</c:v>
                </c:pt>
                <c:pt idx="3950" formatCode="m/d/yyyy">
                  <c:v>41572</c:v>
                </c:pt>
                <c:pt idx="3951" formatCode="m/d/yyyy">
                  <c:v>41573</c:v>
                </c:pt>
                <c:pt idx="3952" formatCode="m/d/yyyy">
                  <c:v>41574</c:v>
                </c:pt>
                <c:pt idx="3953" formatCode="m/d/yyyy">
                  <c:v>41575</c:v>
                </c:pt>
                <c:pt idx="3954" formatCode="m/d/yyyy">
                  <c:v>41576</c:v>
                </c:pt>
                <c:pt idx="3955" formatCode="m/d/yyyy">
                  <c:v>41577</c:v>
                </c:pt>
                <c:pt idx="3956" formatCode="m/d/yyyy">
                  <c:v>41578</c:v>
                </c:pt>
                <c:pt idx="3957" formatCode="m/d/yyyy">
                  <c:v>41579</c:v>
                </c:pt>
                <c:pt idx="3958" formatCode="m/d/yyyy">
                  <c:v>41580</c:v>
                </c:pt>
                <c:pt idx="3959" formatCode="m/d/yyyy">
                  <c:v>41581</c:v>
                </c:pt>
                <c:pt idx="3960" formatCode="m/d/yyyy">
                  <c:v>41582</c:v>
                </c:pt>
                <c:pt idx="3961" formatCode="m/d/yyyy">
                  <c:v>41583</c:v>
                </c:pt>
                <c:pt idx="3962" formatCode="m/d/yyyy">
                  <c:v>41584</c:v>
                </c:pt>
                <c:pt idx="3963" formatCode="m/d/yyyy">
                  <c:v>41585</c:v>
                </c:pt>
                <c:pt idx="3964" formatCode="m/d/yyyy">
                  <c:v>41586</c:v>
                </c:pt>
                <c:pt idx="3965" formatCode="m/d/yyyy">
                  <c:v>41587</c:v>
                </c:pt>
                <c:pt idx="3966" formatCode="m/d/yyyy">
                  <c:v>41588</c:v>
                </c:pt>
                <c:pt idx="3967" formatCode="m/d/yyyy">
                  <c:v>41589</c:v>
                </c:pt>
                <c:pt idx="3968" formatCode="m/d/yyyy">
                  <c:v>41590</c:v>
                </c:pt>
                <c:pt idx="3969" formatCode="m/d/yyyy">
                  <c:v>41591</c:v>
                </c:pt>
                <c:pt idx="3970" formatCode="m/d/yyyy">
                  <c:v>41592</c:v>
                </c:pt>
                <c:pt idx="3971" formatCode="m/d/yyyy">
                  <c:v>41593</c:v>
                </c:pt>
                <c:pt idx="3972" formatCode="m/d/yyyy">
                  <c:v>41594</c:v>
                </c:pt>
                <c:pt idx="3973" formatCode="m/d/yyyy">
                  <c:v>41595</c:v>
                </c:pt>
                <c:pt idx="3974" formatCode="m/d/yyyy">
                  <c:v>41596</c:v>
                </c:pt>
                <c:pt idx="3975" formatCode="m/d/yyyy">
                  <c:v>41597</c:v>
                </c:pt>
                <c:pt idx="3976" formatCode="m/d/yyyy">
                  <c:v>41598</c:v>
                </c:pt>
                <c:pt idx="3977" formatCode="m/d/yyyy">
                  <c:v>41599</c:v>
                </c:pt>
                <c:pt idx="3978" formatCode="m/d/yyyy">
                  <c:v>41600</c:v>
                </c:pt>
                <c:pt idx="3979" formatCode="m/d/yyyy">
                  <c:v>41601</c:v>
                </c:pt>
                <c:pt idx="3980" formatCode="m/d/yyyy">
                  <c:v>41602</c:v>
                </c:pt>
                <c:pt idx="3981" formatCode="m/d/yyyy">
                  <c:v>41603</c:v>
                </c:pt>
                <c:pt idx="3982" formatCode="m/d/yyyy">
                  <c:v>41604</c:v>
                </c:pt>
                <c:pt idx="3983" formatCode="m/d/yyyy">
                  <c:v>41605</c:v>
                </c:pt>
                <c:pt idx="3984" formatCode="m/d/yyyy">
                  <c:v>41606</c:v>
                </c:pt>
                <c:pt idx="3985" formatCode="m/d/yyyy">
                  <c:v>41607</c:v>
                </c:pt>
                <c:pt idx="3986" formatCode="m/d/yyyy">
                  <c:v>41608</c:v>
                </c:pt>
                <c:pt idx="3987" formatCode="m/d/yyyy">
                  <c:v>41609</c:v>
                </c:pt>
                <c:pt idx="3988" formatCode="m/d/yyyy">
                  <c:v>41610</c:v>
                </c:pt>
                <c:pt idx="3989" formatCode="m/d/yyyy">
                  <c:v>41611</c:v>
                </c:pt>
                <c:pt idx="3990" formatCode="m/d/yyyy">
                  <c:v>41612</c:v>
                </c:pt>
                <c:pt idx="3991" formatCode="m/d/yyyy">
                  <c:v>41613</c:v>
                </c:pt>
                <c:pt idx="3992" formatCode="m/d/yyyy">
                  <c:v>41614</c:v>
                </c:pt>
                <c:pt idx="3993" formatCode="m/d/yyyy">
                  <c:v>41615</c:v>
                </c:pt>
                <c:pt idx="3994" formatCode="m/d/yyyy">
                  <c:v>41616</c:v>
                </c:pt>
                <c:pt idx="3995" formatCode="m/d/yyyy">
                  <c:v>41617</c:v>
                </c:pt>
                <c:pt idx="3996" formatCode="m/d/yyyy">
                  <c:v>41618</c:v>
                </c:pt>
                <c:pt idx="3997" formatCode="m/d/yyyy">
                  <c:v>41619</c:v>
                </c:pt>
                <c:pt idx="3998" formatCode="m/d/yyyy">
                  <c:v>41620</c:v>
                </c:pt>
                <c:pt idx="3999" formatCode="m/d/yyyy">
                  <c:v>41621</c:v>
                </c:pt>
                <c:pt idx="4000" formatCode="m/d/yyyy">
                  <c:v>41622</c:v>
                </c:pt>
                <c:pt idx="4001" formatCode="m/d/yyyy">
                  <c:v>41623</c:v>
                </c:pt>
                <c:pt idx="4002" formatCode="m/d/yyyy">
                  <c:v>41624</c:v>
                </c:pt>
                <c:pt idx="4003" formatCode="m/d/yyyy">
                  <c:v>41625</c:v>
                </c:pt>
                <c:pt idx="4004" formatCode="m/d/yyyy">
                  <c:v>41626</c:v>
                </c:pt>
                <c:pt idx="4005" formatCode="m/d/yyyy">
                  <c:v>41627</c:v>
                </c:pt>
                <c:pt idx="4006" formatCode="m/d/yyyy">
                  <c:v>41628</c:v>
                </c:pt>
                <c:pt idx="4007" formatCode="m/d/yyyy">
                  <c:v>41629</c:v>
                </c:pt>
                <c:pt idx="4008" formatCode="m/d/yyyy">
                  <c:v>41630</c:v>
                </c:pt>
                <c:pt idx="4009" formatCode="m/d/yyyy">
                  <c:v>41631</c:v>
                </c:pt>
                <c:pt idx="4010" formatCode="m/d/yyyy">
                  <c:v>41632</c:v>
                </c:pt>
                <c:pt idx="4011" formatCode="m/d/yyyy">
                  <c:v>41633</c:v>
                </c:pt>
                <c:pt idx="4012" formatCode="m/d/yyyy">
                  <c:v>41634</c:v>
                </c:pt>
                <c:pt idx="4013" formatCode="m/d/yyyy">
                  <c:v>41635</c:v>
                </c:pt>
                <c:pt idx="4014" formatCode="m/d/yyyy">
                  <c:v>41636</c:v>
                </c:pt>
                <c:pt idx="4015" formatCode="m/d/yyyy">
                  <c:v>41637</c:v>
                </c:pt>
                <c:pt idx="4016" formatCode="m/d/yyyy">
                  <c:v>41638</c:v>
                </c:pt>
                <c:pt idx="4017" formatCode="m/d/yyyy">
                  <c:v>41639</c:v>
                </c:pt>
                <c:pt idx="4018" formatCode="m/d/yyyy">
                  <c:v>41640</c:v>
                </c:pt>
                <c:pt idx="4019" formatCode="m/d/yyyy">
                  <c:v>41641</c:v>
                </c:pt>
                <c:pt idx="4020" formatCode="m/d/yyyy">
                  <c:v>41642</c:v>
                </c:pt>
                <c:pt idx="4021" formatCode="m/d/yyyy">
                  <c:v>41643</c:v>
                </c:pt>
                <c:pt idx="4022" formatCode="m/d/yyyy">
                  <c:v>41644</c:v>
                </c:pt>
                <c:pt idx="4023" formatCode="m/d/yyyy">
                  <c:v>41645</c:v>
                </c:pt>
                <c:pt idx="4024" formatCode="m/d/yyyy">
                  <c:v>41646</c:v>
                </c:pt>
                <c:pt idx="4025" formatCode="m/d/yyyy">
                  <c:v>41647</c:v>
                </c:pt>
                <c:pt idx="4026" formatCode="m/d/yyyy">
                  <c:v>41648</c:v>
                </c:pt>
                <c:pt idx="4027" formatCode="m/d/yyyy">
                  <c:v>41649</c:v>
                </c:pt>
                <c:pt idx="4028" formatCode="m/d/yyyy">
                  <c:v>41650</c:v>
                </c:pt>
                <c:pt idx="4029" formatCode="m/d/yyyy">
                  <c:v>41651</c:v>
                </c:pt>
                <c:pt idx="4030" formatCode="m/d/yyyy">
                  <c:v>41652</c:v>
                </c:pt>
                <c:pt idx="4031" formatCode="m/d/yyyy">
                  <c:v>41653</c:v>
                </c:pt>
                <c:pt idx="4032" formatCode="m/d/yyyy">
                  <c:v>41654</c:v>
                </c:pt>
                <c:pt idx="4033" formatCode="m/d/yyyy">
                  <c:v>41655</c:v>
                </c:pt>
                <c:pt idx="4034" formatCode="m/d/yyyy">
                  <c:v>41656</c:v>
                </c:pt>
                <c:pt idx="4035" formatCode="m/d/yyyy">
                  <c:v>41657</c:v>
                </c:pt>
                <c:pt idx="4036" formatCode="m/d/yyyy">
                  <c:v>41658</c:v>
                </c:pt>
                <c:pt idx="4037" formatCode="m/d/yyyy">
                  <c:v>41659</c:v>
                </c:pt>
                <c:pt idx="4038" formatCode="m/d/yyyy">
                  <c:v>41660</c:v>
                </c:pt>
                <c:pt idx="4039" formatCode="m/d/yyyy">
                  <c:v>41661</c:v>
                </c:pt>
                <c:pt idx="4040" formatCode="m/d/yyyy">
                  <c:v>41662</c:v>
                </c:pt>
                <c:pt idx="4041" formatCode="m/d/yyyy">
                  <c:v>41663</c:v>
                </c:pt>
                <c:pt idx="4042" formatCode="m/d/yyyy">
                  <c:v>41664</c:v>
                </c:pt>
                <c:pt idx="4043" formatCode="m/d/yyyy">
                  <c:v>41665</c:v>
                </c:pt>
                <c:pt idx="4044" formatCode="m/d/yyyy">
                  <c:v>41666</c:v>
                </c:pt>
                <c:pt idx="4045" formatCode="m/d/yyyy">
                  <c:v>41667</c:v>
                </c:pt>
                <c:pt idx="4046" formatCode="m/d/yyyy">
                  <c:v>41668</c:v>
                </c:pt>
                <c:pt idx="4047" formatCode="m/d/yyyy">
                  <c:v>41669</c:v>
                </c:pt>
                <c:pt idx="4048" formatCode="m/d/yyyy">
                  <c:v>41670</c:v>
                </c:pt>
                <c:pt idx="4049" formatCode="m/d/yyyy">
                  <c:v>41671</c:v>
                </c:pt>
                <c:pt idx="4050" formatCode="m/d/yyyy">
                  <c:v>41672</c:v>
                </c:pt>
                <c:pt idx="4051" formatCode="m/d/yyyy">
                  <c:v>41673</c:v>
                </c:pt>
                <c:pt idx="4052" formatCode="m/d/yyyy">
                  <c:v>41674</c:v>
                </c:pt>
                <c:pt idx="4053" formatCode="m/d/yyyy">
                  <c:v>41675</c:v>
                </c:pt>
                <c:pt idx="4054" formatCode="m/d/yyyy">
                  <c:v>41676</c:v>
                </c:pt>
                <c:pt idx="4055" formatCode="m/d/yyyy">
                  <c:v>41677</c:v>
                </c:pt>
                <c:pt idx="4056" formatCode="m/d/yyyy">
                  <c:v>41678</c:v>
                </c:pt>
                <c:pt idx="4057" formatCode="m/d/yyyy">
                  <c:v>41679</c:v>
                </c:pt>
                <c:pt idx="4058" formatCode="m/d/yyyy">
                  <c:v>41680</c:v>
                </c:pt>
                <c:pt idx="4059" formatCode="m/d/yyyy">
                  <c:v>41681</c:v>
                </c:pt>
                <c:pt idx="4060" formatCode="m/d/yyyy">
                  <c:v>41682</c:v>
                </c:pt>
                <c:pt idx="4061" formatCode="m/d/yyyy">
                  <c:v>41683</c:v>
                </c:pt>
                <c:pt idx="4062" formatCode="m/d/yyyy">
                  <c:v>41684</c:v>
                </c:pt>
                <c:pt idx="4063" formatCode="m/d/yyyy">
                  <c:v>41685</c:v>
                </c:pt>
                <c:pt idx="4064" formatCode="m/d/yyyy">
                  <c:v>41686</c:v>
                </c:pt>
                <c:pt idx="4065" formatCode="m/d/yyyy">
                  <c:v>41687</c:v>
                </c:pt>
                <c:pt idx="4066" formatCode="m/d/yyyy">
                  <c:v>41688</c:v>
                </c:pt>
                <c:pt idx="4067" formatCode="m/d/yyyy">
                  <c:v>41689</c:v>
                </c:pt>
                <c:pt idx="4068" formatCode="m/d/yyyy">
                  <c:v>41690</c:v>
                </c:pt>
                <c:pt idx="4069" formatCode="m/d/yyyy">
                  <c:v>41691</c:v>
                </c:pt>
                <c:pt idx="4070" formatCode="m/d/yyyy">
                  <c:v>41692</c:v>
                </c:pt>
                <c:pt idx="4071" formatCode="m/d/yyyy">
                  <c:v>41693</c:v>
                </c:pt>
                <c:pt idx="4072" formatCode="m/d/yyyy">
                  <c:v>41694</c:v>
                </c:pt>
                <c:pt idx="4073" formatCode="m/d/yyyy">
                  <c:v>41695</c:v>
                </c:pt>
                <c:pt idx="4074" formatCode="m/d/yyyy">
                  <c:v>41696</c:v>
                </c:pt>
                <c:pt idx="4075" formatCode="m/d/yyyy">
                  <c:v>41697</c:v>
                </c:pt>
                <c:pt idx="4076" formatCode="m/d/yyyy">
                  <c:v>41698</c:v>
                </c:pt>
                <c:pt idx="4077" formatCode="m/d/yyyy">
                  <c:v>41699</c:v>
                </c:pt>
                <c:pt idx="4078" formatCode="m/d/yyyy">
                  <c:v>41700</c:v>
                </c:pt>
                <c:pt idx="4079" formatCode="m/d/yyyy">
                  <c:v>41701</c:v>
                </c:pt>
                <c:pt idx="4080" formatCode="m/d/yyyy">
                  <c:v>41702</c:v>
                </c:pt>
                <c:pt idx="4081" formatCode="m/d/yyyy">
                  <c:v>41703</c:v>
                </c:pt>
                <c:pt idx="4082" formatCode="m/d/yyyy">
                  <c:v>41704</c:v>
                </c:pt>
                <c:pt idx="4083" formatCode="m/d/yyyy">
                  <c:v>41705</c:v>
                </c:pt>
                <c:pt idx="4084" formatCode="m/d/yyyy">
                  <c:v>41706</c:v>
                </c:pt>
                <c:pt idx="4085" formatCode="m/d/yyyy">
                  <c:v>41707</c:v>
                </c:pt>
                <c:pt idx="4086" formatCode="m/d/yyyy">
                  <c:v>41708</c:v>
                </c:pt>
                <c:pt idx="4087" formatCode="m/d/yyyy">
                  <c:v>41709</c:v>
                </c:pt>
                <c:pt idx="4088" formatCode="m/d/yyyy">
                  <c:v>41710</c:v>
                </c:pt>
                <c:pt idx="4089" formatCode="m/d/yyyy">
                  <c:v>41711</c:v>
                </c:pt>
                <c:pt idx="4090" formatCode="m/d/yyyy">
                  <c:v>41712</c:v>
                </c:pt>
                <c:pt idx="4091" formatCode="m/d/yyyy">
                  <c:v>41713</c:v>
                </c:pt>
                <c:pt idx="4092" formatCode="m/d/yyyy">
                  <c:v>41714</c:v>
                </c:pt>
                <c:pt idx="4093" formatCode="m/d/yyyy">
                  <c:v>41715</c:v>
                </c:pt>
                <c:pt idx="4094" formatCode="m/d/yyyy">
                  <c:v>41716</c:v>
                </c:pt>
                <c:pt idx="4095" formatCode="m/d/yyyy">
                  <c:v>41717</c:v>
                </c:pt>
                <c:pt idx="4096" formatCode="m/d/yyyy">
                  <c:v>41718</c:v>
                </c:pt>
                <c:pt idx="4097" formatCode="m/d/yyyy">
                  <c:v>41719</c:v>
                </c:pt>
                <c:pt idx="4098" formatCode="m/d/yyyy">
                  <c:v>41720</c:v>
                </c:pt>
                <c:pt idx="4099" formatCode="m/d/yyyy">
                  <c:v>41721</c:v>
                </c:pt>
                <c:pt idx="4100" formatCode="m/d/yyyy">
                  <c:v>41722</c:v>
                </c:pt>
                <c:pt idx="4101" formatCode="m/d/yyyy">
                  <c:v>41723</c:v>
                </c:pt>
                <c:pt idx="4102" formatCode="m/d/yyyy">
                  <c:v>41724</c:v>
                </c:pt>
                <c:pt idx="4103" formatCode="m/d/yyyy">
                  <c:v>41725</c:v>
                </c:pt>
                <c:pt idx="4104" formatCode="m/d/yyyy">
                  <c:v>41726</c:v>
                </c:pt>
                <c:pt idx="4105" formatCode="m/d/yyyy">
                  <c:v>41727</c:v>
                </c:pt>
                <c:pt idx="4106" formatCode="m/d/yyyy">
                  <c:v>41728</c:v>
                </c:pt>
                <c:pt idx="4107" formatCode="m/d/yyyy">
                  <c:v>41729</c:v>
                </c:pt>
                <c:pt idx="4108" formatCode="m/d/yyyy">
                  <c:v>41730</c:v>
                </c:pt>
                <c:pt idx="4109" formatCode="m/d/yyyy">
                  <c:v>41731</c:v>
                </c:pt>
                <c:pt idx="4110" formatCode="m/d/yyyy">
                  <c:v>41732</c:v>
                </c:pt>
                <c:pt idx="4111" formatCode="m/d/yyyy">
                  <c:v>41733</c:v>
                </c:pt>
                <c:pt idx="4112" formatCode="m/d/yyyy">
                  <c:v>41734</c:v>
                </c:pt>
                <c:pt idx="4113" formatCode="m/d/yyyy">
                  <c:v>41735</c:v>
                </c:pt>
                <c:pt idx="4114" formatCode="m/d/yyyy">
                  <c:v>41736</c:v>
                </c:pt>
                <c:pt idx="4115" formatCode="m/d/yyyy">
                  <c:v>41737</c:v>
                </c:pt>
                <c:pt idx="4116" formatCode="m/d/yyyy">
                  <c:v>41738</c:v>
                </c:pt>
                <c:pt idx="4117" formatCode="m/d/yyyy">
                  <c:v>41739</c:v>
                </c:pt>
                <c:pt idx="4118" formatCode="m/d/yyyy">
                  <c:v>41740</c:v>
                </c:pt>
                <c:pt idx="4119" formatCode="m/d/yyyy">
                  <c:v>41741</c:v>
                </c:pt>
                <c:pt idx="4120" formatCode="m/d/yyyy">
                  <c:v>41742</c:v>
                </c:pt>
                <c:pt idx="4121" formatCode="m/d/yyyy">
                  <c:v>41743</c:v>
                </c:pt>
                <c:pt idx="4122" formatCode="m/d/yyyy">
                  <c:v>41744</c:v>
                </c:pt>
                <c:pt idx="4123" formatCode="m/d/yyyy">
                  <c:v>41745</c:v>
                </c:pt>
                <c:pt idx="4124" formatCode="m/d/yyyy">
                  <c:v>41746</c:v>
                </c:pt>
                <c:pt idx="4125" formatCode="m/d/yyyy">
                  <c:v>41747</c:v>
                </c:pt>
                <c:pt idx="4126" formatCode="m/d/yyyy">
                  <c:v>41748</c:v>
                </c:pt>
                <c:pt idx="4127" formatCode="m/d/yyyy">
                  <c:v>41749</c:v>
                </c:pt>
                <c:pt idx="4128" formatCode="m/d/yyyy">
                  <c:v>41750</c:v>
                </c:pt>
                <c:pt idx="4129" formatCode="m/d/yyyy">
                  <c:v>41751</c:v>
                </c:pt>
                <c:pt idx="4130" formatCode="m/d/yyyy">
                  <c:v>41752</c:v>
                </c:pt>
                <c:pt idx="4131" formatCode="m/d/yyyy">
                  <c:v>41753</c:v>
                </c:pt>
                <c:pt idx="4132" formatCode="m/d/yyyy">
                  <c:v>41754</c:v>
                </c:pt>
                <c:pt idx="4133" formatCode="m/d/yyyy">
                  <c:v>41755</c:v>
                </c:pt>
                <c:pt idx="4134" formatCode="m/d/yyyy">
                  <c:v>41756</c:v>
                </c:pt>
                <c:pt idx="4135" formatCode="m/d/yyyy">
                  <c:v>41757</c:v>
                </c:pt>
                <c:pt idx="4136" formatCode="m/d/yyyy">
                  <c:v>41758</c:v>
                </c:pt>
                <c:pt idx="4137" formatCode="m/d/yyyy">
                  <c:v>41759</c:v>
                </c:pt>
                <c:pt idx="4138" formatCode="m/d/yyyy">
                  <c:v>41760</c:v>
                </c:pt>
                <c:pt idx="4139" formatCode="m/d/yyyy">
                  <c:v>41761</c:v>
                </c:pt>
                <c:pt idx="4140" formatCode="m/d/yyyy">
                  <c:v>41762</c:v>
                </c:pt>
                <c:pt idx="4141" formatCode="m/d/yyyy">
                  <c:v>41763</c:v>
                </c:pt>
                <c:pt idx="4142" formatCode="m/d/yyyy">
                  <c:v>41764</c:v>
                </c:pt>
                <c:pt idx="4143" formatCode="m/d/yyyy">
                  <c:v>41765</c:v>
                </c:pt>
                <c:pt idx="4144" formatCode="m/d/yyyy">
                  <c:v>41766</c:v>
                </c:pt>
                <c:pt idx="4145" formatCode="m/d/yyyy">
                  <c:v>41767</c:v>
                </c:pt>
                <c:pt idx="4146" formatCode="m/d/yyyy">
                  <c:v>41768</c:v>
                </c:pt>
                <c:pt idx="4147" formatCode="m/d/yyyy">
                  <c:v>41769</c:v>
                </c:pt>
                <c:pt idx="4148" formatCode="m/d/yyyy">
                  <c:v>41770</c:v>
                </c:pt>
                <c:pt idx="4149" formatCode="m/d/yyyy">
                  <c:v>41771</c:v>
                </c:pt>
                <c:pt idx="4150" formatCode="m/d/yyyy">
                  <c:v>41772</c:v>
                </c:pt>
                <c:pt idx="4151" formatCode="m/d/yyyy">
                  <c:v>41773</c:v>
                </c:pt>
                <c:pt idx="4152" formatCode="m/d/yyyy">
                  <c:v>41774</c:v>
                </c:pt>
                <c:pt idx="4153" formatCode="m/d/yyyy">
                  <c:v>41775</c:v>
                </c:pt>
                <c:pt idx="4154" formatCode="m/d/yyyy">
                  <c:v>41776</c:v>
                </c:pt>
                <c:pt idx="4155" formatCode="m/d/yyyy">
                  <c:v>41777</c:v>
                </c:pt>
                <c:pt idx="4156" formatCode="m/d/yyyy">
                  <c:v>41778</c:v>
                </c:pt>
                <c:pt idx="4157" formatCode="m/d/yyyy">
                  <c:v>41779</c:v>
                </c:pt>
                <c:pt idx="4158" formatCode="m/d/yyyy">
                  <c:v>41780</c:v>
                </c:pt>
                <c:pt idx="4159" formatCode="m/d/yyyy">
                  <c:v>41781</c:v>
                </c:pt>
                <c:pt idx="4160" formatCode="m/d/yyyy">
                  <c:v>41782</c:v>
                </c:pt>
                <c:pt idx="4161" formatCode="m/d/yyyy">
                  <c:v>41783</c:v>
                </c:pt>
                <c:pt idx="4162" formatCode="m/d/yyyy">
                  <c:v>41784</c:v>
                </c:pt>
                <c:pt idx="4163" formatCode="m/d/yyyy">
                  <c:v>41785</c:v>
                </c:pt>
                <c:pt idx="4164" formatCode="m/d/yyyy">
                  <c:v>41786</c:v>
                </c:pt>
                <c:pt idx="4165" formatCode="m/d/yyyy">
                  <c:v>41787</c:v>
                </c:pt>
                <c:pt idx="4166" formatCode="m/d/yyyy">
                  <c:v>41788</c:v>
                </c:pt>
                <c:pt idx="4167" formatCode="m/d/yyyy">
                  <c:v>41789</c:v>
                </c:pt>
                <c:pt idx="4168" formatCode="m/d/yyyy">
                  <c:v>41790</c:v>
                </c:pt>
                <c:pt idx="4169" formatCode="m/d/yyyy">
                  <c:v>41791</c:v>
                </c:pt>
                <c:pt idx="4170" formatCode="m/d/yyyy">
                  <c:v>41792</c:v>
                </c:pt>
                <c:pt idx="4171" formatCode="m/d/yyyy">
                  <c:v>41793</c:v>
                </c:pt>
                <c:pt idx="4172" formatCode="m/d/yyyy">
                  <c:v>41794</c:v>
                </c:pt>
                <c:pt idx="4173" formatCode="m/d/yyyy">
                  <c:v>41795</c:v>
                </c:pt>
                <c:pt idx="4174" formatCode="m/d/yyyy">
                  <c:v>41796</c:v>
                </c:pt>
                <c:pt idx="4175" formatCode="m/d/yyyy">
                  <c:v>41797</c:v>
                </c:pt>
                <c:pt idx="4176" formatCode="m/d/yyyy">
                  <c:v>41798</c:v>
                </c:pt>
                <c:pt idx="4177" formatCode="m/d/yyyy">
                  <c:v>41799</c:v>
                </c:pt>
                <c:pt idx="4178" formatCode="m/d/yyyy">
                  <c:v>41800</c:v>
                </c:pt>
                <c:pt idx="4179" formatCode="m/d/yyyy">
                  <c:v>41801</c:v>
                </c:pt>
                <c:pt idx="4180" formatCode="m/d/yyyy">
                  <c:v>41802</c:v>
                </c:pt>
                <c:pt idx="4181" formatCode="m/d/yyyy">
                  <c:v>41803</c:v>
                </c:pt>
                <c:pt idx="4182" formatCode="m/d/yyyy">
                  <c:v>41804</c:v>
                </c:pt>
                <c:pt idx="4183" formatCode="m/d/yyyy">
                  <c:v>41805</c:v>
                </c:pt>
                <c:pt idx="4184" formatCode="m/d/yyyy">
                  <c:v>41806</c:v>
                </c:pt>
                <c:pt idx="4185" formatCode="m/d/yyyy">
                  <c:v>41807</c:v>
                </c:pt>
                <c:pt idx="4186" formatCode="m/d/yyyy">
                  <c:v>41808</c:v>
                </c:pt>
                <c:pt idx="4187" formatCode="m/d/yyyy">
                  <c:v>41809</c:v>
                </c:pt>
                <c:pt idx="4188" formatCode="m/d/yyyy">
                  <c:v>41810</c:v>
                </c:pt>
                <c:pt idx="4189" formatCode="m/d/yyyy">
                  <c:v>41811</c:v>
                </c:pt>
                <c:pt idx="4190" formatCode="m/d/yyyy">
                  <c:v>41812</c:v>
                </c:pt>
                <c:pt idx="4191" formatCode="m/d/yyyy">
                  <c:v>41813</c:v>
                </c:pt>
                <c:pt idx="4192" formatCode="m/d/yyyy">
                  <c:v>41814</c:v>
                </c:pt>
                <c:pt idx="4193" formatCode="m/d/yyyy">
                  <c:v>41815</c:v>
                </c:pt>
                <c:pt idx="4194" formatCode="m/d/yyyy">
                  <c:v>41816</c:v>
                </c:pt>
                <c:pt idx="4195" formatCode="m/d/yyyy">
                  <c:v>41817</c:v>
                </c:pt>
                <c:pt idx="4196" formatCode="m/d/yyyy">
                  <c:v>41818</c:v>
                </c:pt>
                <c:pt idx="4197" formatCode="m/d/yyyy">
                  <c:v>41819</c:v>
                </c:pt>
                <c:pt idx="4198" formatCode="m/d/yyyy">
                  <c:v>41820</c:v>
                </c:pt>
                <c:pt idx="4199" formatCode="m/d/yyyy">
                  <c:v>41821</c:v>
                </c:pt>
                <c:pt idx="4200" formatCode="m/d/yyyy">
                  <c:v>41822</c:v>
                </c:pt>
                <c:pt idx="4201" formatCode="m/d/yyyy">
                  <c:v>41823</c:v>
                </c:pt>
                <c:pt idx="4202" formatCode="m/d/yyyy">
                  <c:v>41824</c:v>
                </c:pt>
                <c:pt idx="4203" formatCode="m/d/yyyy">
                  <c:v>41825</c:v>
                </c:pt>
                <c:pt idx="4204" formatCode="m/d/yyyy">
                  <c:v>41826</c:v>
                </c:pt>
                <c:pt idx="4205" formatCode="m/d/yyyy">
                  <c:v>41827</c:v>
                </c:pt>
                <c:pt idx="4206" formatCode="m/d/yyyy">
                  <c:v>41828</c:v>
                </c:pt>
                <c:pt idx="4207" formatCode="m/d/yyyy">
                  <c:v>41829</c:v>
                </c:pt>
                <c:pt idx="4208" formatCode="m/d/yyyy">
                  <c:v>41830</c:v>
                </c:pt>
                <c:pt idx="4209" formatCode="m/d/yyyy">
                  <c:v>41831</c:v>
                </c:pt>
                <c:pt idx="4210" formatCode="m/d/yyyy">
                  <c:v>41832</c:v>
                </c:pt>
                <c:pt idx="4211" formatCode="m/d/yyyy">
                  <c:v>41833</c:v>
                </c:pt>
                <c:pt idx="4212" formatCode="m/d/yyyy">
                  <c:v>41834</c:v>
                </c:pt>
                <c:pt idx="4213" formatCode="m/d/yyyy">
                  <c:v>41835</c:v>
                </c:pt>
                <c:pt idx="4214" formatCode="m/d/yyyy">
                  <c:v>41836</c:v>
                </c:pt>
                <c:pt idx="4215" formatCode="m/d/yyyy">
                  <c:v>41837</c:v>
                </c:pt>
                <c:pt idx="4216" formatCode="m/d/yyyy">
                  <c:v>41838</c:v>
                </c:pt>
                <c:pt idx="4217" formatCode="m/d/yyyy">
                  <c:v>41839</c:v>
                </c:pt>
                <c:pt idx="4218" formatCode="m/d/yyyy">
                  <c:v>41840</c:v>
                </c:pt>
                <c:pt idx="4219" formatCode="m/d/yyyy">
                  <c:v>41841</c:v>
                </c:pt>
                <c:pt idx="4220" formatCode="m/d/yyyy">
                  <c:v>41842</c:v>
                </c:pt>
                <c:pt idx="4221" formatCode="m/d/yyyy">
                  <c:v>41843</c:v>
                </c:pt>
                <c:pt idx="4222" formatCode="m/d/yyyy">
                  <c:v>41844</c:v>
                </c:pt>
                <c:pt idx="4223" formatCode="m/d/yyyy">
                  <c:v>41845</c:v>
                </c:pt>
                <c:pt idx="4224" formatCode="m/d/yyyy">
                  <c:v>41846</c:v>
                </c:pt>
                <c:pt idx="4225" formatCode="m/d/yyyy">
                  <c:v>41847</c:v>
                </c:pt>
                <c:pt idx="4226" formatCode="m/d/yyyy">
                  <c:v>41848</c:v>
                </c:pt>
                <c:pt idx="4227" formatCode="m/d/yyyy">
                  <c:v>41849</c:v>
                </c:pt>
                <c:pt idx="4228" formatCode="m/d/yyyy">
                  <c:v>41850</c:v>
                </c:pt>
                <c:pt idx="4229" formatCode="m/d/yyyy">
                  <c:v>41851</c:v>
                </c:pt>
                <c:pt idx="4230" formatCode="m/d/yyyy">
                  <c:v>41852</c:v>
                </c:pt>
                <c:pt idx="4231" formatCode="m/d/yyyy">
                  <c:v>41853</c:v>
                </c:pt>
                <c:pt idx="4232" formatCode="m/d/yyyy">
                  <c:v>41854</c:v>
                </c:pt>
                <c:pt idx="4233" formatCode="m/d/yyyy">
                  <c:v>41855</c:v>
                </c:pt>
                <c:pt idx="4234" formatCode="m/d/yyyy">
                  <c:v>41856</c:v>
                </c:pt>
                <c:pt idx="4235" formatCode="m/d/yyyy">
                  <c:v>41857</c:v>
                </c:pt>
                <c:pt idx="4236" formatCode="m/d/yyyy">
                  <c:v>41858</c:v>
                </c:pt>
                <c:pt idx="4237" formatCode="m/d/yyyy">
                  <c:v>41859</c:v>
                </c:pt>
                <c:pt idx="4238" formatCode="m/d/yyyy">
                  <c:v>41860</c:v>
                </c:pt>
                <c:pt idx="4239" formatCode="m/d/yyyy">
                  <c:v>41861</c:v>
                </c:pt>
                <c:pt idx="4240" formatCode="m/d/yyyy">
                  <c:v>41862</c:v>
                </c:pt>
                <c:pt idx="4241" formatCode="m/d/yyyy">
                  <c:v>41863</c:v>
                </c:pt>
                <c:pt idx="4242" formatCode="m/d/yyyy">
                  <c:v>41864</c:v>
                </c:pt>
                <c:pt idx="4243" formatCode="m/d/yyyy">
                  <c:v>41865</c:v>
                </c:pt>
                <c:pt idx="4244" formatCode="m/d/yyyy">
                  <c:v>41866</c:v>
                </c:pt>
                <c:pt idx="4245" formatCode="m/d/yyyy">
                  <c:v>41867</c:v>
                </c:pt>
                <c:pt idx="4246" formatCode="m/d/yyyy">
                  <c:v>41868</c:v>
                </c:pt>
                <c:pt idx="4247" formatCode="m/d/yyyy">
                  <c:v>41869</c:v>
                </c:pt>
                <c:pt idx="4248" formatCode="m/d/yyyy">
                  <c:v>41870</c:v>
                </c:pt>
                <c:pt idx="4249" formatCode="m/d/yyyy">
                  <c:v>41871</c:v>
                </c:pt>
                <c:pt idx="4250" formatCode="m/d/yyyy">
                  <c:v>41872</c:v>
                </c:pt>
                <c:pt idx="4251" formatCode="m/d/yyyy">
                  <c:v>41873</c:v>
                </c:pt>
                <c:pt idx="4252" formatCode="m/d/yyyy">
                  <c:v>41874</c:v>
                </c:pt>
                <c:pt idx="4253" formatCode="m/d/yyyy">
                  <c:v>41875</c:v>
                </c:pt>
                <c:pt idx="4254" formatCode="m/d/yyyy">
                  <c:v>41876</c:v>
                </c:pt>
                <c:pt idx="4255" formatCode="m/d/yyyy">
                  <c:v>41877</c:v>
                </c:pt>
                <c:pt idx="4256" formatCode="m/d/yyyy">
                  <c:v>41878</c:v>
                </c:pt>
                <c:pt idx="4257" formatCode="m/d/yyyy">
                  <c:v>41879</c:v>
                </c:pt>
                <c:pt idx="4258" formatCode="m/d/yyyy">
                  <c:v>41880</c:v>
                </c:pt>
                <c:pt idx="4259" formatCode="m/d/yyyy">
                  <c:v>41881</c:v>
                </c:pt>
                <c:pt idx="4260" formatCode="m/d/yyyy">
                  <c:v>41882</c:v>
                </c:pt>
                <c:pt idx="4261" formatCode="m/d/yyyy">
                  <c:v>41883</c:v>
                </c:pt>
                <c:pt idx="4262" formatCode="m/d/yyyy">
                  <c:v>41884</c:v>
                </c:pt>
                <c:pt idx="4263" formatCode="m/d/yyyy">
                  <c:v>41885</c:v>
                </c:pt>
                <c:pt idx="4264" formatCode="m/d/yyyy">
                  <c:v>41886</c:v>
                </c:pt>
                <c:pt idx="4265" formatCode="m/d/yyyy">
                  <c:v>41887</c:v>
                </c:pt>
                <c:pt idx="4266" formatCode="m/d/yyyy">
                  <c:v>41888</c:v>
                </c:pt>
                <c:pt idx="4267" formatCode="m/d/yyyy">
                  <c:v>41889</c:v>
                </c:pt>
                <c:pt idx="4268" formatCode="m/d/yyyy">
                  <c:v>41890</c:v>
                </c:pt>
                <c:pt idx="4269" formatCode="m/d/yyyy">
                  <c:v>41891</c:v>
                </c:pt>
                <c:pt idx="4270" formatCode="m/d/yyyy">
                  <c:v>41892</c:v>
                </c:pt>
                <c:pt idx="4271" formatCode="m/d/yyyy">
                  <c:v>41893</c:v>
                </c:pt>
                <c:pt idx="4272" formatCode="m/d/yyyy">
                  <c:v>41894</c:v>
                </c:pt>
                <c:pt idx="4273" formatCode="m/d/yyyy">
                  <c:v>41895</c:v>
                </c:pt>
                <c:pt idx="4274" formatCode="m/d/yyyy">
                  <c:v>41896</c:v>
                </c:pt>
                <c:pt idx="4275" formatCode="m/d/yyyy">
                  <c:v>41897</c:v>
                </c:pt>
                <c:pt idx="4276" formatCode="m/d/yyyy">
                  <c:v>41898</c:v>
                </c:pt>
                <c:pt idx="4277" formatCode="m/d/yyyy">
                  <c:v>41899</c:v>
                </c:pt>
                <c:pt idx="4278" formatCode="m/d/yyyy">
                  <c:v>41900</c:v>
                </c:pt>
                <c:pt idx="4279" formatCode="m/d/yyyy">
                  <c:v>41901</c:v>
                </c:pt>
                <c:pt idx="4280" formatCode="m/d/yyyy">
                  <c:v>41902</c:v>
                </c:pt>
                <c:pt idx="4281" formatCode="m/d/yyyy">
                  <c:v>41903</c:v>
                </c:pt>
                <c:pt idx="4282" formatCode="m/d/yyyy">
                  <c:v>41904</c:v>
                </c:pt>
                <c:pt idx="4283" formatCode="m/d/yyyy">
                  <c:v>41905</c:v>
                </c:pt>
                <c:pt idx="4284" formatCode="m/d/yyyy">
                  <c:v>41906</c:v>
                </c:pt>
                <c:pt idx="4285" formatCode="m/d/yyyy">
                  <c:v>41907</c:v>
                </c:pt>
                <c:pt idx="4286" formatCode="m/d/yyyy">
                  <c:v>41908</c:v>
                </c:pt>
                <c:pt idx="4287" formatCode="m/d/yyyy">
                  <c:v>41909</c:v>
                </c:pt>
                <c:pt idx="4288" formatCode="m/d/yyyy">
                  <c:v>41910</c:v>
                </c:pt>
                <c:pt idx="4289" formatCode="m/d/yyyy">
                  <c:v>41911</c:v>
                </c:pt>
                <c:pt idx="4290" formatCode="m/d/yyyy">
                  <c:v>41912</c:v>
                </c:pt>
                <c:pt idx="4291" formatCode="m/d/yyyy">
                  <c:v>41913</c:v>
                </c:pt>
                <c:pt idx="4292" formatCode="m/d/yyyy">
                  <c:v>41914</c:v>
                </c:pt>
                <c:pt idx="4293" formatCode="m/d/yyyy">
                  <c:v>41915</c:v>
                </c:pt>
                <c:pt idx="4294" formatCode="m/d/yyyy">
                  <c:v>41916</c:v>
                </c:pt>
                <c:pt idx="4295" formatCode="m/d/yyyy">
                  <c:v>41917</c:v>
                </c:pt>
                <c:pt idx="4296" formatCode="m/d/yyyy">
                  <c:v>41918</c:v>
                </c:pt>
                <c:pt idx="4297" formatCode="m/d/yyyy">
                  <c:v>41919</c:v>
                </c:pt>
                <c:pt idx="4298" formatCode="m/d/yyyy">
                  <c:v>41920</c:v>
                </c:pt>
                <c:pt idx="4299" formatCode="m/d/yyyy">
                  <c:v>41921</c:v>
                </c:pt>
                <c:pt idx="4300" formatCode="m/d/yyyy">
                  <c:v>41922</c:v>
                </c:pt>
                <c:pt idx="4301" formatCode="m/d/yyyy">
                  <c:v>41923</c:v>
                </c:pt>
                <c:pt idx="4302" formatCode="m/d/yyyy">
                  <c:v>41924</c:v>
                </c:pt>
                <c:pt idx="4303" formatCode="m/d/yyyy">
                  <c:v>41925</c:v>
                </c:pt>
                <c:pt idx="4304" formatCode="m/d/yyyy">
                  <c:v>41926</c:v>
                </c:pt>
                <c:pt idx="4305" formatCode="m/d/yyyy">
                  <c:v>41927</c:v>
                </c:pt>
                <c:pt idx="4306" formatCode="m/d/yyyy">
                  <c:v>41928</c:v>
                </c:pt>
                <c:pt idx="4307" formatCode="m/d/yyyy">
                  <c:v>41929</c:v>
                </c:pt>
                <c:pt idx="4308" formatCode="m/d/yyyy">
                  <c:v>41930</c:v>
                </c:pt>
                <c:pt idx="4309" formatCode="m/d/yyyy">
                  <c:v>41931</c:v>
                </c:pt>
                <c:pt idx="4310" formatCode="m/d/yyyy">
                  <c:v>41932</c:v>
                </c:pt>
                <c:pt idx="4311" formatCode="m/d/yyyy">
                  <c:v>41933</c:v>
                </c:pt>
                <c:pt idx="4312" formatCode="m/d/yyyy">
                  <c:v>41934</c:v>
                </c:pt>
                <c:pt idx="4313" formatCode="m/d/yyyy">
                  <c:v>41935</c:v>
                </c:pt>
                <c:pt idx="4314" formatCode="m/d/yyyy">
                  <c:v>41936</c:v>
                </c:pt>
                <c:pt idx="4315" formatCode="m/d/yyyy">
                  <c:v>41937</c:v>
                </c:pt>
                <c:pt idx="4316" formatCode="m/d/yyyy">
                  <c:v>41938</c:v>
                </c:pt>
                <c:pt idx="4317" formatCode="m/d/yyyy">
                  <c:v>41939</c:v>
                </c:pt>
                <c:pt idx="4318" formatCode="m/d/yyyy">
                  <c:v>41940</c:v>
                </c:pt>
                <c:pt idx="4319" formatCode="m/d/yyyy">
                  <c:v>41941</c:v>
                </c:pt>
                <c:pt idx="4320" formatCode="m/d/yyyy">
                  <c:v>41942</c:v>
                </c:pt>
                <c:pt idx="4321" formatCode="m/d/yyyy">
                  <c:v>41943</c:v>
                </c:pt>
                <c:pt idx="4322" formatCode="m/d/yyyy">
                  <c:v>41944</c:v>
                </c:pt>
                <c:pt idx="4323" formatCode="m/d/yyyy">
                  <c:v>41945</c:v>
                </c:pt>
                <c:pt idx="4324" formatCode="m/d/yyyy">
                  <c:v>41946</c:v>
                </c:pt>
                <c:pt idx="4325" formatCode="m/d/yyyy">
                  <c:v>41947</c:v>
                </c:pt>
                <c:pt idx="4326" formatCode="m/d/yyyy">
                  <c:v>41948</c:v>
                </c:pt>
                <c:pt idx="4327" formatCode="m/d/yyyy">
                  <c:v>41949</c:v>
                </c:pt>
                <c:pt idx="4328" formatCode="m/d/yyyy">
                  <c:v>41950</c:v>
                </c:pt>
                <c:pt idx="4329" formatCode="m/d/yyyy">
                  <c:v>41951</c:v>
                </c:pt>
                <c:pt idx="4330" formatCode="m/d/yyyy">
                  <c:v>41952</c:v>
                </c:pt>
                <c:pt idx="4331" formatCode="m/d/yyyy">
                  <c:v>41953</c:v>
                </c:pt>
                <c:pt idx="4332" formatCode="m/d/yyyy">
                  <c:v>41954</c:v>
                </c:pt>
                <c:pt idx="4333" formatCode="m/d/yyyy">
                  <c:v>41955</c:v>
                </c:pt>
                <c:pt idx="4334" formatCode="m/d/yyyy">
                  <c:v>41956</c:v>
                </c:pt>
                <c:pt idx="4335" formatCode="m/d/yyyy">
                  <c:v>41957</c:v>
                </c:pt>
                <c:pt idx="4336" formatCode="m/d/yyyy">
                  <c:v>41958</c:v>
                </c:pt>
                <c:pt idx="4337" formatCode="m/d/yyyy">
                  <c:v>41959</c:v>
                </c:pt>
                <c:pt idx="4338" formatCode="m/d/yyyy">
                  <c:v>41960</c:v>
                </c:pt>
                <c:pt idx="4339" formatCode="m/d/yyyy">
                  <c:v>41961</c:v>
                </c:pt>
                <c:pt idx="4340" formatCode="m/d/yyyy">
                  <c:v>41962</c:v>
                </c:pt>
                <c:pt idx="4341" formatCode="m/d/yyyy">
                  <c:v>41963</c:v>
                </c:pt>
                <c:pt idx="4342" formatCode="m/d/yyyy">
                  <c:v>41964</c:v>
                </c:pt>
                <c:pt idx="4343" formatCode="m/d/yyyy">
                  <c:v>41965</c:v>
                </c:pt>
                <c:pt idx="4344" formatCode="m/d/yyyy">
                  <c:v>41966</c:v>
                </c:pt>
                <c:pt idx="4345" formatCode="m/d/yyyy">
                  <c:v>41967</c:v>
                </c:pt>
                <c:pt idx="4346" formatCode="m/d/yyyy">
                  <c:v>41968</c:v>
                </c:pt>
                <c:pt idx="4347" formatCode="m/d/yyyy">
                  <c:v>41969</c:v>
                </c:pt>
                <c:pt idx="4348" formatCode="m/d/yyyy">
                  <c:v>41970</c:v>
                </c:pt>
                <c:pt idx="4349" formatCode="m/d/yyyy">
                  <c:v>41971</c:v>
                </c:pt>
                <c:pt idx="4350" formatCode="m/d/yyyy">
                  <c:v>41972</c:v>
                </c:pt>
                <c:pt idx="4351" formatCode="m/d/yyyy">
                  <c:v>41973</c:v>
                </c:pt>
                <c:pt idx="4352" formatCode="m/d/yyyy">
                  <c:v>41974</c:v>
                </c:pt>
                <c:pt idx="4353" formatCode="m/d/yyyy">
                  <c:v>41975</c:v>
                </c:pt>
                <c:pt idx="4354" formatCode="m/d/yyyy">
                  <c:v>41976</c:v>
                </c:pt>
                <c:pt idx="4355" formatCode="m/d/yyyy">
                  <c:v>41977</c:v>
                </c:pt>
                <c:pt idx="4356" formatCode="m/d/yyyy">
                  <c:v>41978</c:v>
                </c:pt>
                <c:pt idx="4357" formatCode="m/d/yyyy">
                  <c:v>41979</c:v>
                </c:pt>
                <c:pt idx="4358" formatCode="m/d/yyyy">
                  <c:v>41980</c:v>
                </c:pt>
                <c:pt idx="4359" formatCode="m/d/yyyy">
                  <c:v>41981</c:v>
                </c:pt>
                <c:pt idx="4360" formatCode="m/d/yyyy">
                  <c:v>41982</c:v>
                </c:pt>
                <c:pt idx="4361" formatCode="m/d/yyyy">
                  <c:v>41983</c:v>
                </c:pt>
                <c:pt idx="4362" formatCode="m/d/yyyy">
                  <c:v>41984</c:v>
                </c:pt>
                <c:pt idx="4363" formatCode="m/d/yyyy">
                  <c:v>41985</c:v>
                </c:pt>
                <c:pt idx="4364" formatCode="m/d/yyyy">
                  <c:v>41986</c:v>
                </c:pt>
                <c:pt idx="4365" formatCode="m/d/yyyy">
                  <c:v>41987</c:v>
                </c:pt>
                <c:pt idx="4366" formatCode="m/d/yyyy">
                  <c:v>41988</c:v>
                </c:pt>
                <c:pt idx="4367" formatCode="m/d/yyyy">
                  <c:v>41989</c:v>
                </c:pt>
                <c:pt idx="4368" formatCode="m/d/yyyy">
                  <c:v>41990</c:v>
                </c:pt>
                <c:pt idx="4369" formatCode="m/d/yyyy">
                  <c:v>41991</c:v>
                </c:pt>
                <c:pt idx="4370" formatCode="m/d/yyyy">
                  <c:v>41992</c:v>
                </c:pt>
                <c:pt idx="4371" formatCode="m/d/yyyy">
                  <c:v>41993</c:v>
                </c:pt>
                <c:pt idx="4372" formatCode="m/d/yyyy">
                  <c:v>41994</c:v>
                </c:pt>
                <c:pt idx="4373" formatCode="m/d/yyyy">
                  <c:v>41995</c:v>
                </c:pt>
                <c:pt idx="4374" formatCode="m/d/yyyy">
                  <c:v>41996</c:v>
                </c:pt>
                <c:pt idx="4375" formatCode="m/d/yyyy">
                  <c:v>41997</c:v>
                </c:pt>
                <c:pt idx="4376" formatCode="m/d/yyyy">
                  <c:v>41998</c:v>
                </c:pt>
                <c:pt idx="4377" formatCode="m/d/yyyy">
                  <c:v>41999</c:v>
                </c:pt>
                <c:pt idx="4378" formatCode="m/d/yyyy">
                  <c:v>42000</c:v>
                </c:pt>
                <c:pt idx="4379" formatCode="m/d/yyyy">
                  <c:v>42001</c:v>
                </c:pt>
                <c:pt idx="4380" formatCode="m/d/yyyy">
                  <c:v>42002</c:v>
                </c:pt>
                <c:pt idx="4381" formatCode="m/d/yyyy">
                  <c:v>42003</c:v>
                </c:pt>
                <c:pt idx="4382" formatCode="m/d/yyyy">
                  <c:v>42004</c:v>
                </c:pt>
                <c:pt idx="4383" formatCode="m/d/yyyy">
                  <c:v>42005</c:v>
                </c:pt>
                <c:pt idx="4384" formatCode="m/d/yyyy">
                  <c:v>42006</c:v>
                </c:pt>
                <c:pt idx="4385" formatCode="m/d/yyyy">
                  <c:v>42007</c:v>
                </c:pt>
                <c:pt idx="4386" formatCode="m/d/yyyy">
                  <c:v>42008</c:v>
                </c:pt>
                <c:pt idx="4387" formatCode="m/d/yyyy">
                  <c:v>42009</c:v>
                </c:pt>
                <c:pt idx="4388" formatCode="m/d/yyyy">
                  <c:v>42010</c:v>
                </c:pt>
                <c:pt idx="4389" formatCode="m/d/yyyy">
                  <c:v>42011</c:v>
                </c:pt>
                <c:pt idx="4390" formatCode="m/d/yyyy">
                  <c:v>42012</c:v>
                </c:pt>
                <c:pt idx="4391" formatCode="m/d/yyyy">
                  <c:v>42013</c:v>
                </c:pt>
                <c:pt idx="4392" formatCode="m/d/yyyy">
                  <c:v>42014</c:v>
                </c:pt>
                <c:pt idx="4393" formatCode="m/d/yyyy">
                  <c:v>42015</c:v>
                </c:pt>
                <c:pt idx="4394" formatCode="m/d/yyyy">
                  <c:v>42016</c:v>
                </c:pt>
                <c:pt idx="4395" formatCode="m/d/yyyy">
                  <c:v>42017</c:v>
                </c:pt>
                <c:pt idx="4396" formatCode="m/d/yyyy">
                  <c:v>42018</c:v>
                </c:pt>
                <c:pt idx="4397" formatCode="m/d/yyyy">
                  <c:v>42019</c:v>
                </c:pt>
                <c:pt idx="4398" formatCode="m/d/yyyy">
                  <c:v>42020</c:v>
                </c:pt>
                <c:pt idx="4399" formatCode="m/d/yyyy">
                  <c:v>42021</c:v>
                </c:pt>
                <c:pt idx="4400" formatCode="m/d/yyyy">
                  <c:v>42022</c:v>
                </c:pt>
                <c:pt idx="4401" formatCode="m/d/yyyy">
                  <c:v>42023</c:v>
                </c:pt>
                <c:pt idx="4402" formatCode="m/d/yyyy">
                  <c:v>42024</c:v>
                </c:pt>
                <c:pt idx="4403" formatCode="m/d/yyyy">
                  <c:v>42025</c:v>
                </c:pt>
                <c:pt idx="4404" formatCode="m/d/yyyy">
                  <c:v>42026</c:v>
                </c:pt>
                <c:pt idx="4405" formatCode="m/d/yyyy">
                  <c:v>42027</c:v>
                </c:pt>
                <c:pt idx="4406" formatCode="m/d/yyyy">
                  <c:v>42028</c:v>
                </c:pt>
                <c:pt idx="4407" formatCode="m/d/yyyy">
                  <c:v>42029</c:v>
                </c:pt>
                <c:pt idx="4408" formatCode="m/d/yyyy">
                  <c:v>42030</c:v>
                </c:pt>
                <c:pt idx="4409" formatCode="m/d/yyyy">
                  <c:v>42031</c:v>
                </c:pt>
                <c:pt idx="4410" formatCode="m/d/yyyy">
                  <c:v>42032</c:v>
                </c:pt>
                <c:pt idx="4411" formatCode="m/d/yyyy">
                  <c:v>42033</c:v>
                </c:pt>
                <c:pt idx="4412" formatCode="m/d/yyyy">
                  <c:v>42034</c:v>
                </c:pt>
                <c:pt idx="4413" formatCode="m/d/yyyy">
                  <c:v>42035</c:v>
                </c:pt>
                <c:pt idx="4414" formatCode="m/d/yyyy">
                  <c:v>42036</c:v>
                </c:pt>
                <c:pt idx="4415" formatCode="m/d/yyyy">
                  <c:v>42037</c:v>
                </c:pt>
                <c:pt idx="4416" formatCode="m/d/yyyy">
                  <c:v>42038</c:v>
                </c:pt>
                <c:pt idx="4417" formatCode="m/d/yyyy">
                  <c:v>42039</c:v>
                </c:pt>
                <c:pt idx="4418" formatCode="m/d/yyyy">
                  <c:v>42040</c:v>
                </c:pt>
                <c:pt idx="4419" formatCode="m/d/yyyy">
                  <c:v>42041</c:v>
                </c:pt>
                <c:pt idx="4420" formatCode="m/d/yyyy">
                  <c:v>42042</c:v>
                </c:pt>
                <c:pt idx="4421" formatCode="m/d/yyyy">
                  <c:v>42043</c:v>
                </c:pt>
                <c:pt idx="4422" formatCode="m/d/yyyy">
                  <c:v>42044</c:v>
                </c:pt>
                <c:pt idx="4423" formatCode="m/d/yyyy">
                  <c:v>42045</c:v>
                </c:pt>
                <c:pt idx="4424" formatCode="m/d/yyyy">
                  <c:v>42046</c:v>
                </c:pt>
                <c:pt idx="4425" formatCode="m/d/yyyy">
                  <c:v>42047</c:v>
                </c:pt>
                <c:pt idx="4426" formatCode="m/d/yyyy">
                  <c:v>42048</c:v>
                </c:pt>
                <c:pt idx="4427" formatCode="m/d/yyyy">
                  <c:v>42049</c:v>
                </c:pt>
                <c:pt idx="4428" formatCode="m/d/yyyy">
                  <c:v>42050</c:v>
                </c:pt>
                <c:pt idx="4429" formatCode="m/d/yyyy">
                  <c:v>42051</c:v>
                </c:pt>
                <c:pt idx="4430" formatCode="m/d/yyyy">
                  <c:v>42052</c:v>
                </c:pt>
                <c:pt idx="4431" formatCode="m/d/yyyy">
                  <c:v>42053</c:v>
                </c:pt>
                <c:pt idx="4432" formatCode="m/d/yyyy">
                  <c:v>42054</c:v>
                </c:pt>
                <c:pt idx="4433" formatCode="m/d/yyyy">
                  <c:v>42055</c:v>
                </c:pt>
                <c:pt idx="4434" formatCode="m/d/yyyy">
                  <c:v>42056</c:v>
                </c:pt>
                <c:pt idx="4435" formatCode="m/d/yyyy">
                  <c:v>42057</c:v>
                </c:pt>
                <c:pt idx="4436" formatCode="m/d/yyyy">
                  <c:v>42058</c:v>
                </c:pt>
                <c:pt idx="4437" formatCode="m/d/yyyy">
                  <c:v>42059</c:v>
                </c:pt>
                <c:pt idx="4438" formatCode="m/d/yyyy">
                  <c:v>42060</c:v>
                </c:pt>
                <c:pt idx="4439" formatCode="m/d/yyyy">
                  <c:v>42061</c:v>
                </c:pt>
                <c:pt idx="4440" formatCode="m/d/yyyy">
                  <c:v>42062</c:v>
                </c:pt>
                <c:pt idx="4441" formatCode="m/d/yyyy">
                  <c:v>42063</c:v>
                </c:pt>
                <c:pt idx="4442" formatCode="m/d/yyyy">
                  <c:v>42064</c:v>
                </c:pt>
                <c:pt idx="4443" formatCode="m/d/yyyy">
                  <c:v>42065</c:v>
                </c:pt>
                <c:pt idx="4444" formatCode="m/d/yyyy">
                  <c:v>42066</c:v>
                </c:pt>
                <c:pt idx="4445" formatCode="m/d/yyyy">
                  <c:v>42067</c:v>
                </c:pt>
                <c:pt idx="4446" formatCode="m/d/yyyy">
                  <c:v>42068</c:v>
                </c:pt>
                <c:pt idx="4447" formatCode="m/d/yyyy">
                  <c:v>42069</c:v>
                </c:pt>
                <c:pt idx="4448" formatCode="m/d/yyyy">
                  <c:v>42070</c:v>
                </c:pt>
                <c:pt idx="4449" formatCode="m/d/yyyy">
                  <c:v>42071</c:v>
                </c:pt>
                <c:pt idx="4450" formatCode="m/d/yyyy">
                  <c:v>42072</c:v>
                </c:pt>
                <c:pt idx="4451" formatCode="m/d/yyyy">
                  <c:v>42073</c:v>
                </c:pt>
                <c:pt idx="4452" formatCode="m/d/yyyy">
                  <c:v>42074</c:v>
                </c:pt>
                <c:pt idx="4453" formatCode="m/d/yyyy">
                  <c:v>42075</c:v>
                </c:pt>
                <c:pt idx="4454" formatCode="m/d/yyyy">
                  <c:v>42076</c:v>
                </c:pt>
                <c:pt idx="4455" formatCode="m/d/yyyy">
                  <c:v>42077</c:v>
                </c:pt>
                <c:pt idx="4456" formatCode="m/d/yyyy">
                  <c:v>42078</c:v>
                </c:pt>
                <c:pt idx="4457" formatCode="m/d/yyyy">
                  <c:v>42079</c:v>
                </c:pt>
                <c:pt idx="4458" formatCode="m/d/yyyy">
                  <c:v>42080</c:v>
                </c:pt>
                <c:pt idx="4459" formatCode="m/d/yyyy">
                  <c:v>42081</c:v>
                </c:pt>
                <c:pt idx="4460" formatCode="m/d/yyyy">
                  <c:v>42082</c:v>
                </c:pt>
                <c:pt idx="4461" formatCode="m/d/yyyy">
                  <c:v>42083</c:v>
                </c:pt>
                <c:pt idx="4462" formatCode="m/d/yyyy">
                  <c:v>42084</c:v>
                </c:pt>
                <c:pt idx="4463" formatCode="m/d/yyyy">
                  <c:v>42085</c:v>
                </c:pt>
                <c:pt idx="4464" formatCode="m/d/yyyy">
                  <c:v>42086</c:v>
                </c:pt>
                <c:pt idx="4465" formatCode="m/d/yyyy">
                  <c:v>42087</c:v>
                </c:pt>
                <c:pt idx="4466" formatCode="m/d/yyyy">
                  <c:v>42088</c:v>
                </c:pt>
                <c:pt idx="4467" formatCode="m/d/yyyy">
                  <c:v>42089</c:v>
                </c:pt>
                <c:pt idx="4468" formatCode="m/d/yyyy">
                  <c:v>42090</c:v>
                </c:pt>
                <c:pt idx="4469" formatCode="m/d/yyyy">
                  <c:v>42091</c:v>
                </c:pt>
                <c:pt idx="4470" formatCode="m/d/yyyy">
                  <c:v>42092</c:v>
                </c:pt>
                <c:pt idx="4471" formatCode="m/d/yyyy">
                  <c:v>42093</c:v>
                </c:pt>
                <c:pt idx="4472" formatCode="m/d/yyyy">
                  <c:v>42094</c:v>
                </c:pt>
                <c:pt idx="4473" formatCode="m/d/yyyy">
                  <c:v>42095</c:v>
                </c:pt>
                <c:pt idx="4474" formatCode="m/d/yyyy">
                  <c:v>42096</c:v>
                </c:pt>
                <c:pt idx="4475" formatCode="m/d/yyyy">
                  <c:v>42097</c:v>
                </c:pt>
                <c:pt idx="4476" formatCode="m/d/yyyy">
                  <c:v>42098</c:v>
                </c:pt>
                <c:pt idx="4477" formatCode="m/d/yyyy">
                  <c:v>42099</c:v>
                </c:pt>
                <c:pt idx="4478" formatCode="m/d/yyyy">
                  <c:v>42100</c:v>
                </c:pt>
                <c:pt idx="4479" formatCode="m/d/yyyy">
                  <c:v>42101</c:v>
                </c:pt>
                <c:pt idx="4480" formatCode="m/d/yyyy">
                  <c:v>42102</c:v>
                </c:pt>
                <c:pt idx="4481" formatCode="m/d/yyyy">
                  <c:v>42103</c:v>
                </c:pt>
                <c:pt idx="4482" formatCode="m/d/yyyy">
                  <c:v>42104</c:v>
                </c:pt>
                <c:pt idx="4483" formatCode="m/d/yyyy">
                  <c:v>42105</c:v>
                </c:pt>
                <c:pt idx="4484" formatCode="m/d/yyyy">
                  <c:v>42106</c:v>
                </c:pt>
                <c:pt idx="4485" formatCode="m/d/yyyy">
                  <c:v>42107</c:v>
                </c:pt>
                <c:pt idx="4486" formatCode="m/d/yyyy">
                  <c:v>42108</c:v>
                </c:pt>
                <c:pt idx="4487" formatCode="m/d/yyyy">
                  <c:v>42109</c:v>
                </c:pt>
                <c:pt idx="4488" formatCode="m/d/yyyy">
                  <c:v>42110</c:v>
                </c:pt>
                <c:pt idx="4489" formatCode="m/d/yyyy">
                  <c:v>42111</c:v>
                </c:pt>
                <c:pt idx="4490" formatCode="m/d/yyyy">
                  <c:v>42112</c:v>
                </c:pt>
                <c:pt idx="4491" formatCode="m/d/yyyy">
                  <c:v>42113</c:v>
                </c:pt>
                <c:pt idx="4492" formatCode="m/d/yyyy">
                  <c:v>42114</c:v>
                </c:pt>
                <c:pt idx="4493" formatCode="m/d/yyyy">
                  <c:v>42115</c:v>
                </c:pt>
                <c:pt idx="4494" formatCode="m/d/yyyy">
                  <c:v>42116</c:v>
                </c:pt>
                <c:pt idx="4495" formatCode="m/d/yyyy">
                  <c:v>42117</c:v>
                </c:pt>
                <c:pt idx="4496" formatCode="m/d/yyyy">
                  <c:v>42118</c:v>
                </c:pt>
                <c:pt idx="4497" formatCode="m/d/yyyy">
                  <c:v>42119</c:v>
                </c:pt>
                <c:pt idx="4498" formatCode="m/d/yyyy">
                  <c:v>42120</c:v>
                </c:pt>
                <c:pt idx="4499" formatCode="m/d/yyyy">
                  <c:v>42121</c:v>
                </c:pt>
                <c:pt idx="4500" formatCode="m/d/yyyy">
                  <c:v>42122</c:v>
                </c:pt>
                <c:pt idx="4501" formatCode="m/d/yyyy">
                  <c:v>42123</c:v>
                </c:pt>
                <c:pt idx="4502" formatCode="m/d/yyyy">
                  <c:v>42124</c:v>
                </c:pt>
                <c:pt idx="4503" formatCode="m/d/yyyy">
                  <c:v>42125</c:v>
                </c:pt>
                <c:pt idx="4504" formatCode="m/d/yyyy">
                  <c:v>42126</c:v>
                </c:pt>
                <c:pt idx="4505" formatCode="m/d/yyyy">
                  <c:v>42127</c:v>
                </c:pt>
                <c:pt idx="4506" formatCode="m/d/yyyy">
                  <c:v>42128</c:v>
                </c:pt>
                <c:pt idx="4507" formatCode="m/d/yyyy">
                  <c:v>42129</c:v>
                </c:pt>
                <c:pt idx="4508" formatCode="m/d/yyyy">
                  <c:v>42130</c:v>
                </c:pt>
                <c:pt idx="4509" formatCode="m/d/yyyy">
                  <c:v>42131</c:v>
                </c:pt>
                <c:pt idx="4510" formatCode="m/d/yyyy">
                  <c:v>42132</c:v>
                </c:pt>
                <c:pt idx="4511" formatCode="m/d/yyyy">
                  <c:v>42133</c:v>
                </c:pt>
                <c:pt idx="4512" formatCode="m/d/yyyy">
                  <c:v>42134</c:v>
                </c:pt>
                <c:pt idx="4513" formatCode="m/d/yyyy">
                  <c:v>42135</c:v>
                </c:pt>
                <c:pt idx="4514" formatCode="m/d/yyyy">
                  <c:v>42136</c:v>
                </c:pt>
                <c:pt idx="4515" formatCode="m/d/yyyy">
                  <c:v>42137</c:v>
                </c:pt>
                <c:pt idx="4516" formatCode="m/d/yyyy">
                  <c:v>42138</c:v>
                </c:pt>
                <c:pt idx="4517" formatCode="m/d/yyyy">
                  <c:v>42139</c:v>
                </c:pt>
                <c:pt idx="4518" formatCode="m/d/yyyy">
                  <c:v>42140</c:v>
                </c:pt>
                <c:pt idx="4519" formatCode="m/d/yyyy">
                  <c:v>42141</c:v>
                </c:pt>
                <c:pt idx="4520" formatCode="m/d/yyyy">
                  <c:v>42142</c:v>
                </c:pt>
                <c:pt idx="4521" formatCode="m/d/yyyy">
                  <c:v>42143</c:v>
                </c:pt>
                <c:pt idx="4522" formatCode="m/d/yyyy">
                  <c:v>42144</c:v>
                </c:pt>
                <c:pt idx="4523" formatCode="m/d/yyyy">
                  <c:v>42145</c:v>
                </c:pt>
                <c:pt idx="4524" formatCode="m/d/yyyy">
                  <c:v>42146</c:v>
                </c:pt>
                <c:pt idx="4525" formatCode="m/d/yyyy">
                  <c:v>42147</c:v>
                </c:pt>
                <c:pt idx="4526" formatCode="m/d/yyyy">
                  <c:v>42148</c:v>
                </c:pt>
                <c:pt idx="4527" formatCode="m/d/yyyy">
                  <c:v>42149</c:v>
                </c:pt>
                <c:pt idx="4528" formatCode="m/d/yyyy">
                  <c:v>42150</c:v>
                </c:pt>
                <c:pt idx="4529" formatCode="m/d/yyyy">
                  <c:v>42151</c:v>
                </c:pt>
                <c:pt idx="4530" formatCode="m/d/yyyy">
                  <c:v>42152</c:v>
                </c:pt>
                <c:pt idx="4531" formatCode="m/d/yyyy">
                  <c:v>42153</c:v>
                </c:pt>
                <c:pt idx="4532" formatCode="m/d/yyyy">
                  <c:v>42154</c:v>
                </c:pt>
                <c:pt idx="4533" formatCode="m/d/yyyy">
                  <c:v>42155</c:v>
                </c:pt>
                <c:pt idx="4534" formatCode="m/d/yyyy">
                  <c:v>42156</c:v>
                </c:pt>
                <c:pt idx="4535" formatCode="m/d/yyyy">
                  <c:v>42157</c:v>
                </c:pt>
                <c:pt idx="4536" formatCode="m/d/yyyy">
                  <c:v>42158</c:v>
                </c:pt>
                <c:pt idx="4537" formatCode="m/d/yyyy">
                  <c:v>42159</c:v>
                </c:pt>
                <c:pt idx="4538" formatCode="m/d/yyyy">
                  <c:v>42160</c:v>
                </c:pt>
                <c:pt idx="4539" formatCode="m/d/yyyy">
                  <c:v>42161</c:v>
                </c:pt>
                <c:pt idx="4540" formatCode="m/d/yyyy">
                  <c:v>42162</c:v>
                </c:pt>
                <c:pt idx="4541" formatCode="m/d/yyyy">
                  <c:v>42163</c:v>
                </c:pt>
                <c:pt idx="4542" formatCode="m/d/yyyy">
                  <c:v>42164</c:v>
                </c:pt>
                <c:pt idx="4543" formatCode="m/d/yyyy">
                  <c:v>42165</c:v>
                </c:pt>
                <c:pt idx="4544" formatCode="m/d/yyyy">
                  <c:v>42166</c:v>
                </c:pt>
                <c:pt idx="4545" formatCode="m/d/yyyy">
                  <c:v>42167</c:v>
                </c:pt>
                <c:pt idx="4546" formatCode="m/d/yyyy">
                  <c:v>42168</c:v>
                </c:pt>
                <c:pt idx="4547" formatCode="m/d/yyyy">
                  <c:v>42169</c:v>
                </c:pt>
                <c:pt idx="4548" formatCode="m/d/yyyy">
                  <c:v>42170</c:v>
                </c:pt>
                <c:pt idx="4549" formatCode="m/d/yyyy">
                  <c:v>42171</c:v>
                </c:pt>
                <c:pt idx="4550" formatCode="m/d/yyyy">
                  <c:v>42172</c:v>
                </c:pt>
                <c:pt idx="4551" formatCode="m/d/yyyy">
                  <c:v>42173</c:v>
                </c:pt>
                <c:pt idx="4552" formatCode="m/d/yyyy">
                  <c:v>42174</c:v>
                </c:pt>
                <c:pt idx="4553" formatCode="m/d/yyyy">
                  <c:v>42175</c:v>
                </c:pt>
                <c:pt idx="4554" formatCode="m/d/yyyy">
                  <c:v>42176</c:v>
                </c:pt>
                <c:pt idx="4555" formatCode="m/d/yyyy">
                  <c:v>42177</c:v>
                </c:pt>
                <c:pt idx="4556" formatCode="m/d/yyyy">
                  <c:v>42178</c:v>
                </c:pt>
                <c:pt idx="4557" formatCode="m/d/yyyy">
                  <c:v>42179</c:v>
                </c:pt>
                <c:pt idx="4558" formatCode="m/d/yyyy">
                  <c:v>42180</c:v>
                </c:pt>
                <c:pt idx="4559" formatCode="m/d/yyyy">
                  <c:v>42181</c:v>
                </c:pt>
                <c:pt idx="4560" formatCode="m/d/yyyy">
                  <c:v>42182</c:v>
                </c:pt>
                <c:pt idx="4561" formatCode="m/d/yyyy">
                  <c:v>42183</c:v>
                </c:pt>
                <c:pt idx="4562" formatCode="m/d/yyyy">
                  <c:v>42184</c:v>
                </c:pt>
                <c:pt idx="4563" formatCode="m/d/yyyy">
                  <c:v>42185</c:v>
                </c:pt>
                <c:pt idx="4564" formatCode="m/d/yyyy">
                  <c:v>42186</c:v>
                </c:pt>
                <c:pt idx="4565" formatCode="m/d/yyyy">
                  <c:v>42187</c:v>
                </c:pt>
                <c:pt idx="4566" formatCode="m/d/yyyy">
                  <c:v>42188</c:v>
                </c:pt>
                <c:pt idx="4567" formatCode="m/d/yyyy">
                  <c:v>42189</c:v>
                </c:pt>
                <c:pt idx="4568" formatCode="m/d/yyyy">
                  <c:v>42190</c:v>
                </c:pt>
                <c:pt idx="4569" formatCode="m/d/yyyy">
                  <c:v>42191</c:v>
                </c:pt>
                <c:pt idx="4570" formatCode="m/d/yyyy">
                  <c:v>42192</c:v>
                </c:pt>
                <c:pt idx="4571" formatCode="m/d/yyyy">
                  <c:v>42193</c:v>
                </c:pt>
                <c:pt idx="4572" formatCode="m/d/yyyy">
                  <c:v>42194</c:v>
                </c:pt>
                <c:pt idx="4573" formatCode="m/d/yyyy">
                  <c:v>42195</c:v>
                </c:pt>
                <c:pt idx="4574" formatCode="m/d/yyyy">
                  <c:v>42196</c:v>
                </c:pt>
                <c:pt idx="4575" formatCode="m/d/yyyy">
                  <c:v>42197</c:v>
                </c:pt>
                <c:pt idx="4576" formatCode="m/d/yyyy">
                  <c:v>42198</c:v>
                </c:pt>
                <c:pt idx="4577" formatCode="m/d/yyyy">
                  <c:v>42199</c:v>
                </c:pt>
                <c:pt idx="4578" formatCode="m/d/yyyy">
                  <c:v>42200</c:v>
                </c:pt>
                <c:pt idx="4579" formatCode="m/d/yyyy">
                  <c:v>42201</c:v>
                </c:pt>
                <c:pt idx="4580" formatCode="m/d/yyyy">
                  <c:v>42202</c:v>
                </c:pt>
                <c:pt idx="4581" formatCode="m/d/yyyy">
                  <c:v>42203</c:v>
                </c:pt>
                <c:pt idx="4582" formatCode="m/d/yyyy">
                  <c:v>42204</c:v>
                </c:pt>
                <c:pt idx="4583" formatCode="m/d/yyyy">
                  <c:v>42205</c:v>
                </c:pt>
                <c:pt idx="4584" formatCode="m/d/yyyy">
                  <c:v>42206</c:v>
                </c:pt>
                <c:pt idx="4585" formatCode="m/d/yyyy">
                  <c:v>42207</c:v>
                </c:pt>
                <c:pt idx="4586" formatCode="m/d/yyyy">
                  <c:v>42208</c:v>
                </c:pt>
                <c:pt idx="4587" formatCode="m/d/yyyy">
                  <c:v>42209</c:v>
                </c:pt>
                <c:pt idx="4588" formatCode="m/d/yyyy">
                  <c:v>42210</c:v>
                </c:pt>
                <c:pt idx="4589" formatCode="m/d/yyyy">
                  <c:v>42211</c:v>
                </c:pt>
                <c:pt idx="4590" formatCode="m/d/yyyy">
                  <c:v>42212</c:v>
                </c:pt>
                <c:pt idx="4591" formatCode="m/d/yyyy">
                  <c:v>42213</c:v>
                </c:pt>
                <c:pt idx="4592" formatCode="m/d/yyyy">
                  <c:v>42214</c:v>
                </c:pt>
                <c:pt idx="4593" formatCode="m/d/yyyy">
                  <c:v>42215</c:v>
                </c:pt>
                <c:pt idx="4594" formatCode="m/d/yyyy">
                  <c:v>42216</c:v>
                </c:pt>
                <c:pt idx="4595" formatCode="m/d/yyyy">
                  <c:v>42217</c:v>
                </c:pt>
                <c:pt idx="4596" formatCode="m/d/yyyy">
                  <c:v>42218</c:v>
                </c:pt>
                <c:pt idx="4597" formatCode="m/d/yyyy">
                  <c:v>42219</c:v>
                </c:pt>
                <c:pt idx="4598" formatCode="m/d/yyyy">
                  <c:v>42220</c:v>
                </c:pt>
                <c:pt idx="4599" formatCode="m/d/yyyy">
                  <c:v>42221</c:v>
                </c:pt>
                <c:pt idx="4600" formatCode="m/d/yyyy">
                  <c:v>42222</c:v>
                </c:pt>
                <c:pt idx="4601" formatCode="m/d/yyyy">
                  <c:v>42223</c:v>
                </c:pt>
                <c:pt idx="4602" formatCode="m/d/yyyy">
                  <c:v>42224</c:v>
                </c:pt>
                <c:pt idx="4603" formatCode="m/d/yyyy">
                  <c:v>42225</c:v>
                </c:pt>
                <c:pt idx="4604" formatCode="m/d/yyyy">
                  <c:v>42226</c:v>
                </c:pt>
                <c:pt idx="4605" formatCode="m/d/yyyy">
                  <c:v>42227</c:v>
                </c:pt>
                <c:pt idx="4606" formatCode="m/d/yyyy">
                  <c:v>42228</c:v>
                </c:pt>
                <c:pt idx="4607" formatCode="m/d/yyyy">
                  <c:v>42229</c:v>
                </c:pt>
                <c:pt idx="4608" formatCode="m/d/yyyy">
                  <c:v>42230</c:v>
                </c:pt>
                <c:pt idx="4609" formatCode="m/d/yyyy">
                  <c:v>42231</c:v>
                </c:pt>
                <c:pt idx="4610" formatCode="m/d/yyyy">
                  <c:v>42232</c:v>
                </c:pt>
                <c:pt idx="4611" formatCode="m/d/yyyy">
                  <c:v>42233</c:v>
                </c:pt>
                <c:pt idx="4612" formatCode="m/d/yyyy">
                  <c:v>42234</c:v>
                </c:pt>
                <c:pt idx="4613" formatCode="m/d/yyyy">
                  <c:v>42235</c:v>
                </c:pt>
                <c:pt idx="4614" formatCode="m/d/yyyy">
                  <c:v>42236</c:v>
                </c:pt>
                <c:pt idx="4615" formatCode="m/d/yyyy">
                  <c:v>42237</c:v>
                </c:pt>
                <c:pt idx="4616" formatCode="m/d/yyyy">
                  <c:v>42238</c:v>
                </c:pt>
                <c:pt idx="4617" formatCode="m/d/yyyy">
                  <c:v>42239</c:v>
                </c:pt>
                <c:pt idx="4618" formatCode="m/d/yyyy">
                  <c:v>42240</c:v>
                </c:pt>
                <c:pt idx="4619" formatCode="m/d/yyyy">
                  <c:v>42241</c:v>
                </c:pt>
                <c:pt idx="4620" formatCode="m/d/yyyy">
                  <c:v>42242</c:v>
                </c:pt>
                <c:pt idx="4621" formatCode="m/d/yyyy">
                  <c:v>42243</c:v>
                </c:pt>
                <c:pt idx="4622" formatCode="m/d/yyyy">
                  <c:v>42244</c:v>
                </c:pt>
                <c:pt idx="4623" formatCode="m/d/yyyy">
                  <c:v>42245</c:v>
                </c:pt>
                <c:pt idx="4624" formatCode="m/d/yyyy">
                  <c:v>42246</c:v>
                </c:pt>
                <c:pt idx="4625" formatCode="m/d/yyyy">
                  <c:v>42247</c:v>
                </c:pt>
                <c:pt idx="4626" formatCode="m/d/yyyy">
                  <c:v>42248</c:v>
                </c:pt>
                <c:pt idx="4627" formatCode="m/d/yyyy">
                  <c:v>42249</c:v>
                </c:pt>
                <c:pt idx="4628" formatCode="m/d/yyyy">
                  <c:v>42250</c:v>
                </c:pt>
                <c:pt idx="4629" formatCode="m/d/yyyy">
                  <c:v>42251</c:v>
                </c:pt>
                <c:pt idx="4630" formatCode="m/d/yyyy">
                  <c:v>42252</c:v>
                </c:pt>
                <c:pt idx="4631" formatCode="m/d/yyyy">
                  <c:v>42253</c:v>
                </c:pt>
                <c:pt idx="4632" formatCode="m/d/yyyy">
                  <c:v>42254</c:v>
                </c:pt>
                <c:pt idx="4633" formatCode="m/d/yyyy">
                  <c:v>42255</c:v>
                </c:pt>
                <c:pt idx="4634" formatCode="m/d/yyyy">
                  <c:v>42256</c:v>
                </c:pt>
                <c:pt idx="4635" formatCode="m/d/yyyy">
                  <c:v>42257</c:v>
                </c:pt>
                <c:pt idx="4636" formatCode="m/d/yyyy">
                  <c:v>42258</c:v>
                </c:pt>
                <c:pt idx="4637" formatCode="m/d/yyyy">
                  <c:v>42259</c:v>
                </c:pt>
                <c:pt idx="4638" formatCode="m/d/yyyy">
                  <c:v>42260</c:v>
                </c:pt>
                <c:pt idx="4639" formatCode="m/d/yyyy">
                  <c:v>42261</c:v>
                </c:pt>
                <c:pt idx="4640" formatCode="m/d/yyyy">
                  <c:v>42262</c:v>
                </c:pt>
                <c:pt idx="4641" formatCode="m/d/yyyy">
                  <c:v>42263</c:v>
                </c:pt>
                <c:pt idx="4642" formatCode="m/d/yyyy">
                  <c:v>42264</c:v>
                </c:pt>
                <c:pt idx="4643" formatCode="m/d/yyyy">
                  <c:v>42265</c:v>
                </c:pt>
                <c:pt idx="4644" formatCode="m/d/yyyy">
                  <c:v>42266</c:v>
                </c:pt>
                <c:pt idx="4645" formatCode="m/d/yyyy">
                  <c:v>42267</c:v>
                </c:pt>
                <c:pt idx="4646" formatCode="m/d/yyyy">
                  <c:v>42268</c:v>
                </c:pt>
                <c:pt idx="4647" formatCode="m/d/yyyy">
                  <c:v>42269</c:v>
                </c:pt>
                <c:pt idx="4648" formatCode="m/d/yyyy">
                  <c:v>42270</c:v>
                </c:pt>
                <c:pt idx="4649" formatCode="m/d/yyyy">
                  <c:v>42271</c:v>
                </c:pt>
                <c:pt idx="4650" formatCode="m/d/yyyy">
                  <c:v>42272</c:v>
                </c:pt>
                <c:pt idx="4651" formatCode="m/d/yyyy">
                  <c:v>42273</c:v>
                </c:pt>
                <c:pt idx="4652" formatCode="m/d/yyyy">
                  <c:v>42274</c:v>
                </c:pt>
                <c:pt idx="4653" formatCode="m/d/yyyy">
                  <c:v>42275</c:v>
                </c:pt>
                <c:pt idx="4654" formatCode="m/d/yyyy">
                  <c:v>42276</c:v>
                </c:pt>
                <c:pt idx="4655" formatCode="m/d/yyyy">
                  <c:v>42277</c:v>
                </c:pt>
                <c:pt idx="4656" formatCode="m/d/yyyy">
                  <c:v>42278</c:v>
                </c:pt>
                <c:pt idx="4657" formatCode="m/d/yyyy">
                  <c:v>42279</c:v>
                </c:pt>
                <c:pt idx="4658" formatCode="m/d/yyyy">
                  <c:v>42280</c:v>
                </c:pt>
                <c:pt idx="4659" formatCode="m/d/yyyy">
                  <c:v>42281</c:v>
                </c:pt>
                <c:pt idx="4660" formatCode="m/d/yyyy">
                  <c:v>42282</c:v>
                </c:pt>
                <c:pt idx="4661" formatCode="m/d/yyyy">
                  <c:v>42283</c:v>
                </c:pt>
                <c:pt idx="4662" formatCode="m/d/yyyy">
                  <c:v>42284</c:v>
                </c:pt>
                <c:pt idx="4663" formatCode="m/d/yyyy">
                  <c:v>42285</c:v>
                </c:pt>
                <c:pt idx="4664" formatCode="m/d/yyyy">
                  <c:v>42286</c:v>
                </c:pt>
                <c:pt idx="4665" formatCode="m/d/yyyy">
                  <c:v>42287</c:v>
                </c:pt>
                <c:pt idx="4666" formatCode="m/d/yyyy">
                  <c:v>42288</c:v>
                </c:pt>
                <c:pt idx="4667" formatCode="m/d/yyyy">
                  <c:v>42289</c:v>
                </c:pt>
                <c:pt idx="4668" formatCode="m/d/yyyy">
                  <c:v>42290</c:v>
                </c:pt>
                <c:pt idx="4669" formatCode="m/d/yyyy">
                  <c:v>42291</c:v>
                </c:pt>
                <c:pt idx="4670" formatCode="m/d/yyyy">
                  <c:v>42292</c:v>
                </c:pt>
                <c:pt idx="4671" formatCode="m/d/yyyy">
                  <c:v>42293</c:v>
                </c:pt>
                <c:pt idx="4672" formatCode="m/d/yyyy">
                  <c:v>42294</c:v>
                </c:pt>
                <c:pt idx="4673" formatCode="m/d/yyyy">
                  <c:v>42295</c:v>
                </c:pt>
                <c:pt idx="4674" formatCode="m/d/yyyy">
                  <c:v>42296</c:v>
                </c:pt>
                <c:pt idx="4675" formatCode="m/d/yyyy">
                  <c:v>42297</c:v>
                </c:pt>
                <c:pt idx="4676" formatCode="m/d/yyyy">
                  <c:v>42298</c:v>
                </c:pt>
                <c:pt idx="4677" formatCode="m/d/yyyy">
                  <c:v>42299</c:v>
                </c:pt>
                <c:pt idx="4678" formatCode="m/d/yyyy">
                  <c:v>42300</c:v>
                </c:pt>
                <c:pt idx="4679" formatCode="m/d/yyyy">
                  <c:v>42301</c:v>
                </c:pt>
                <c:pt idx="4680" formatCode="m/d/yyyy">
                  <c:v>42302</c:v>
                </c:pt>
                <c:pt idx="4681" formatCode="m/d/yyyy">
                  <c:v>42303</c:v>
                </c:pt>
                <c:pt idx="4682" formatCode="m/d/yyyy">
                  <c:v>42304</c:v>
                </c:pt>
                <c:pt idx="4683" formatCode="m/d/yyyy">
                  <c:v>42305</c:v>
                </c:pt>
                <c:pt idx="4684" formatCode="m/d/yyyy">
                  <c:v>42306</c:v>
                </c:pt>
                <c:pt idx="4685" formatCode="m/d/yyyy">
                  <c:v>42307</c:v>
                </c:pt>
                <c:pt idx="4686" formatCode="m/d/yyyy">
                  <c:v>42308</c:v>
                </c:pt>
                <c:pt idx="4687" formatCode="m/d/yyyy">
                  <c:v>42309</c:v>
                </c:pt>
                <c:pt idx="4688" formatCode="m/d/yyyy">
                  <c:v>42310</c:v>
                </c:pt>
                <c:pt idx="4689" formatCode="m/d/yyyy">
                  <c:v>42311</c:v>
                </c:pt>
                <c:pt idx="4690" formatCode="m/d/yyyy">
                  <c:v>42312</c:v>
                </c:pt>
                <c:pt idx="4691" formatCode="m/d/yyyy">
                  <c:v>42313</c:v>
                </c:pt>
                <c:pt idx="4692" formatCode="m/d/yyyy">
                  <c:v>42314</c:v>
                </c:pt>
                <c:pt idx="4693" formatCode="m/d/yyyy">
                  <c:v>42315</c:v>
                </c:pt>
                <c:pt idx="4694" formatCode="m/d/yyyy">
                  <c:v>42316</c:v>
                </c:pt>
                <c:pt idx="4695" formatCode="m/d/yyyy">
                  <c:v>42317</c:v>
                </c:pt>
                <c:pt idx="4696" formatCode="m/d/yyyy">
                  <c:v>42318</c:v>
                </c:pt>
                <c:pt idx="4697" formatCode="m/d/yyyy">
                  <c:v>42319</c:v>
                </c:pt>
                <c:pt idx="4698" formatCode="m/d/yyyy">
                  <c:v>42320</c:v>
                </c:pt>
                <c:pt idx="4699" formatCode="m/d/yyyy">
                  <c:v>42321</c:v>
                </c:pt>
                <c:pt idx="4700" formatCode="m/d/yyyy">
                  <c:v>42322</c:v>
                </c:pt>
                <c:pt idx="4701" formatCode="m/d/yyyy">
                  <c:v>42323</c:v>
                </c:pt>
                <c:pt idx="4702" formatCode="m/d/yyyy">
                  <c:v>42324</c:v>
                </c:pt>
                <c:pt idx="4703" formatCode="m/d/yyyy">
                  <c:v>42325</c:v>
                </c:pt>
                <c:pt idx="4704" formatCode="m/d/yyyy">
                  <c:v>42326</c:v>
                </c:pt>
                <c:pt idx="4705" formatCode="m/d/yyyy">
                  <c:v>42327</c:v>
                </c:pt>
                <c:pt idx="4706" formatCode="m/d/yyyy">
                  <c:v>42328</c:v>
                </c:pt>
                <c:pt idx="4707" formatCode="m/d/yyyy">
                  <c:v>42329</c:v>
                </c:pt>
                <c:pt idx="4708" formatCode="m/d/yyyy">
                  <c:v>42330</c:v>
                </c:pt>
                <c:pt idx="4709" formatCode="m/d/yyyy">
                  <c:v>42331</c:v>
                </c:pt>
                <c:pt idx="4710" formatCode="m/d/yyyy">
                  <c:v>42332</c:v>
                </c:pt>
                <c:pt idx="4711" formatCode="m/d/yyyy">
                  <c:v>42333</c:v>
                </c:pt>
                <c:pt idx="4712" formatCode="m/d/yyyy">
                  <c:v>42334</c:v>
                </c:pt>
                <c:pt idx="4713" formatCode="m/d/yyyy">
                  <c:v>42335</c:v>
                </c:pt>
                <c:pt idx="4714" formatCode="m/d/yyyy">
                  <c:v>42336</c:v>
                </c:pt>
                <c:pt idx="4715" formatCode="m/d/yyyy">
                  <c:v>42337</c:v>
                </c:pt>
                <c:pt idx="4716" formatCode="m/d/yyyy">
                  <c:v>42338</c:v>
                </c:pt>
                <c:pt idx="4717" formatCode="m/d/yyyy">
                  <c:v>42339</c:v>
                </c:pt>
                <c:pt idx="4718" formatCode="m/d/yyyy">
                  <c:v>42340</c:v>
                </c:pt>
                <c:pt idx="4719" formatCode="m/d/yyyy">
                  <c:v>42341</c:v>
                </c:pt>
                <c:pt idx="4720" formatCode="m/d/yyyy">
                  <c:v>42342</c:v>
                </c:pt>
                <c:pt idx="4721" formatCode="m/d/yyyy">
                  <c:v>42343</c:v>
                </c:pt>
                <c:pt idx="4722" formatCode="m/d/yyyy">
                  <c:v>42344</c:v>
                </c:pt>
                <c:pt idx="4723" formatCode="m/d/yyyy">
                  <c:v>42345</c:v>
                </c:pt>
                <c:pt idx="4724" formatCode="m/d/yyyy">
                  <c:v>42346</c:v>
                </c:pt>
                <c:pt idx="4725" formatCode="m/d/yyyy">
                  <c:v>42347</c:v>
                </c:pt>
                <c:pt idx="4726" formatCode="m/d/yyyy">
                  <c:v>42348</c:v>
                </c:pt>
                <c:pt idx="4727" formatCode="m/d/yyyy">
                  <c:v>42349</c:v>
                </c:pt>
                <c:pt idx="4728" formatCode="m/d/yyyy">
                  <c:v>42350</c:v>
                </c:pt>
                <c:pt idx="4729" formatCode="m/d/yyyy">
                  <c:v>42351</c:v>
                </c:pt>
                <c:pt idx="4730" formatCode="m/d/yyyy">
                  <c:v>42352</c:v>
                </c:pt>
                <c:pt idx="4731" formatCode="m/d/yyyy">
                  <c:v>42353</c:v>
                </c:pt>
                <c:pt idx="4732" formatCode="m/d/yyyy">
                  <c:v>42354</c:v>
                </c:pt>
                <c:pt idx="4733" formatCode="m/d/yyyy">
                  <c:v>42355</c:v>
                </c:pt>
                <c:pt idx="4734" formatCode="m/d/yyyy">
                  <c:v>42356</c:v>
                </c:pt>
                <c:pt idx="4735" formatCode="m/d/yyyy">
                  <c:v>42357</c:v>
                </c:pt>
                <c:pt idx="4736" formatCode="m/d/yyyy">
                  <c:v>42358</c:v>
                </c:pt>
                <c:pt idx="4737" formatCode="m/d/yyyy">
                  <c:v>42359</c:v>
                </c:pt>
                <c:pt idx="4738" formatCode="m/d/yyyy">
                  <c:v>42360</c:v>
                </c:pt>
                <c:pt idx="4739" formatCode="m/d/yyyy">
                  <c:v>42361</c:v>
                </c:pt>
                <c:pt idx="4740" formatCode="m/d/yyyy">
                  <c:v>42362</c:v>
                </c:pt>
                <c:pt idx="4741" formatCode="m/d/yyyy">
                  <c:v>42363</c:v>
                </c:pt>
                <c:pt idx="4742" formatCode="m/d/yyyy">
                  <c:v>42364</c:v>
                </c:pt>
                <c:pt idx="4743" formatCode="m/d/yyyy">
                  <c:v>42365</c:v>
                </c:pt>
                <c:pt idx="4744" formatCode="m/d/yyyy">
                  <c:v>42366</c:v>
                </c:pt>
                <c:pt idx="4745" formatCode="m/d/yyyy">
                  <c:v>42367</c:v>
                </c:pt>
                <c:pt idx="4746" formatCode="m/d/yyyy">
                  <c:v>42368</c:v>
                </c:pt>
                <c:pt idx="4747" formatCode="m/d/yyyy">
                  <c:v>42369</c:v>
                </c:pt>
                <c:pt idx="4748" formatCode="m/d/yyyy">
                  <c:v>42370</c:v>
                </c:pt>
                <c:pt idx="4749" formatCode="m/d/yyyy">
                  <c:v>42371</c:v>
                </c:pt>
                <c:pt idx="4750" formatCode="m/d/yyyy">
                  <c:v>42372</c:v>
                </c:pt>
                <c:pt idx="4751" formatCode="m/d/yyyy">
                  <c:v>42373</c:v>
                </c:pt>
                <c:pt idx="4752" formatCode="m/d/yyyy">
                  <c:v>42374</c:v>
                </c:pt>
                <c:pt idx="4753" formatCode="m/d/yyyy">
                  <c:v>42375</c:v>
                </c:pt>
                <c:pt idx="4754" formatCode="m/d/yyyy">
                  <c:v>42376</c:v>
                </c:pt>
                <c:pt idx="4755" formatCode="m/d/yyyy">
                  <c:v>42377</c:v>
                </c:pt>
                <c:pt idx="4756" formatCode="m/d/yyyy">
                  <c:v>42378</c:v>
                </c:pt>
                <c:pt idx="4757" formatCode="m/d/yyyy">
                  <c:v>42379</c:v>
                </c:pt>
                <c:pt idx="4758" formatCode="m/d/yyyy">
                  <c:v>42380</c:v>
                </c:pt>
                <c:pt idx="4759" formatCode="m/d/yyyy">
                  <c:v>42381</c:v>
                </c:pt>
                <c:pt idx="4760" formatCode="m/d/yyyy">
                  <c:v>42382</c:v>
                </c:pt>
                <c:pt idx="4761" formatCode="m/d/yyyy">
                  <c:v>42383</c:v>
                </c:pt>
                <c:pt idx="4762" formatCode="m/d/yyyy">
                  <c:v>42384</c:v>
                </c:pt>
                <c:pt idx="4763" formatCode="m/d/yyyy">
                  <c:v>42385</c:v>
                </c:pt>
                <c:pt idx="4764" formatCode="m/d/yyyy">
                  <c:v>42386</c:v>
                </c:pt>
                <c:pt idx="4765" formatCode="m/d/yyyy">
                  <c:v>42387</c:v>
                </c:pt>
                <c:pt idx="4766" formatCode="m/d/yyyy">
                  <c:v>42388</c:v>
                </c:pt>
                <c:pt idx="4767" formatCode="m/d/yyyy">
                  <c:v>42389</c:v>
                </c:pt>
                <c:pt idx="4768" formatCode="m/d/yyyy">
                  <c:v>42390</c:v>
                </c:pt>
                <c:pt idx="4769" formatCode="m/d/yyyy">
                  <c:v>42391</c:v>
                </c:pt>
                <c:pt idx="4770" formatCode="m/d/yyyy">
                  <c:v>42392</c:v>
                </c:pt>
                <c:pt idx="4771" formatCode="m/d/yyyy">
                  <c:v>42393</c:v>
                </c:pt>
                <c:pt idx="4772" formatCode="m/d/yyyy">
                  <c:v>42394</c:v>
                </c:pt>
                <c:pt idx="4773" formatCode="m/d/yyyy">
                  <c:v>42395</c:v>
                </c:pt>
                <c:pt idx="4774" formatCode="m/d/yyyy">
                  <c:v>42396</c:v>
                </c:pt>
                <c:pt idx="4775" formatCode="m/d/yyyy">
                  <c:v>42397</c:v>
                </c:pt>
                <c:pt idx="4776" formatCode="m/d/yyyy">
                  <c:v>42398</c:v>
                </c:pt>
                <c:pt idx="4777" formatCode="m/d/yyyy">
                  <c:v>42399</c:v>
                </c:pt>
                <c:pt idx="4778" formatCode="m/d/yyyy">
                  <c:v>42400</c:v>
                </c:pt>
                <c:pt idx="4779" formatCode="m/d/yyyy">
                  <c:v>42401</c:v>
                </c:pt>
                <c:pt idx="4780" formatCode="m/d/yyyy">
                  <c:v>42402</c:v>
                </c:pt>
                <c:pt idx="4781" formatCode="m/d/yyyy">
                  <c:v>42403</c:v>
                </c:pt>
                <c:pt idx="4782" formatCode="m/d/yyyy">
                  <c:v>42404</c:v>
                </c:pt>
                <c:pt idx="4783" formatCode="m/d/yyyy">
                  <c:v>42405</c:v>
                </c:pt>
                <c:pt idx="4784" formatCode="m/d/yyyy">
                  <c:v>42406</c:v>
                </c:pt>
                <c:pt idx="4785" formatCode="m/d/yyyy">
                  <c:v>42407</c:v>
                </c:pt>
                <c:pt idx="4786" formatCode="m/d/yyyy">
                  <c:v>42408</c:v>
                </c:pt>
                <c:pt idx="4787" formatCode="m/d/yyyy">
                  <c:v>42409</c:v>
                </c:pt>
                <c:pt idx="4788" formatCode="m/d/yyyy">
                  <c:v>42410</c:v>
                </c:pt>
                <c:pt idx="4789" formatCode="m/d/yyyy">
                  <c:v>42411</c:v>
                </c:pt>
                <c:pt idx="4790" formatCode="m/d/yyyy">
                  <c:v>42412</c:v>
                </c:pt>
                <c:pt idx="4791" formatCode="m/d/yyyy">
                  <c:v>42413</c:v>
                </c:pt>
                <c:pt idx="4792" formatCode="m/d/yyyy">
                  <c:v>42414</c:v>
                </c:pt>
                <c:pt idx="4793" formatCode="m/d/yyyy">
                  <c:v>42415</c:v>
                </c:pt>
                <c:pt idx="4794" formatCode="m/d/yyyy">
                  <c:v>42416</c:v>
                </c:pt>
                <c:pt idx="4795" formatCode="m/d/yyyy">
                  <c:v>42417</c:v>
                </c:pt>
                <c:pt idx="4796" formatCode="m/d/yyyy">
                  <c:v>42418</c:v>
                </c:pt>
                <c:pt idx="4797" formatCode="m/d/yyyy">
                  <c:v>42419</c:v>
                </c:pt>
                <c:pt idx="4798" formatCode="m/d/yyyy">
                  <c:v>42420</c:v>
                </c:pt>
                <c:pt idx="4799" formatCode="m/d/yyyy">
                  <c:v>42421</c:v>
                </c:pt>
                <c:pt idx="4800" formatCode="m/d/yyyy">
                  <c:v>42422</c:v>
                </c:pt>
                <c:pt idx="4801" formatCode="m/d/yyyy">
                  <c:v>42423</c:v>
                </c:pt>
                <c:pt idx="4802" formatCode="m/d/yyyy">
                  <c:v>42424</c:v>
                </c:pt>
                <c:pt idx="4803" formatCode="m/d/yyyy">
                  <c:v>42425</c:v>
                </c:pt>
                <c:pt idx="4804" formatCode="m/d/yyyy">
                  <c:v>42426</c:v>
                </c:pt>
                <c:pt idx="4805" formatCode="m/d/yyyy">
                  <c:v>42427</c:v>
                </c:pt>
                <c:pt idx="4806" formatCode="m/d/yyyy">
                  <c:v>42428</c:v>
                </c:pt>
                <c:pt idx="4807" formatCode="m/d/yyyy">
                  <c:v>42429</c:v>
                </c:pt>
                <c:pt idx="4808" formatCode="m/d/yyyy">
                  <c:v>42430</c:v>
                </c:pt>
                <c:pt idx="4809" formatCode="m/d/yyyy">
                  <c:v>42431</c:v>
                </c:pt>
                <c:pt idx="4810" formatCode="m/d/yyyy">
                  <c:v>42432</c:v>
                </c:pt>
                <c:pt idx="4811" formatCode="m/d/yyyy">
                  <c:v>42433</c:v>
                </c:pt>
                <c:pt idx="4812" formatCode="m/d/yyyy">
                  <c:v>42434</c:v>
                </c:pt>
                <c:pt idx="4813" formatCode="m/d/yyyy">
                  <c:v>42435</c:v>
                </c:pt>
                <c:pt idx="4814" formatCode="m/d/yyyy">
                  <c:v>42436</c:v>
                </c:pt>
                <c:pt idx="4815" formatCode="m/d/yyyy">
                  <c:v>42437</c:v>
                </c:pt>
                <c:pt idx="4816" formatCode="m/d/yyyy">
                  <c:v>42438</c:v>
                </c:pt>
                <c:pt idx="4817" formatCode="m/d/yyyy">
                  <c:v>42439</c:v>
                </c:pt>
                <c:pt idx="4818" formatCode="m/d/yyyy">
                  <c:v>42440</c:v>
                </c:pt>
                <c:pt idx="4819" formatCode="m/d/yyyy">
                  <c:v>42441</c:v>
                </c:pt>
                <c:pt idx="4820" formatCode="m/d/yyyy">
                  <c:v>42442</c:v>
                </c:pt>
                <c:pt idx="4821" formatCode="m/d/yyyy">
                  <c:v>42443</c:v>
                </c:pt>
                <c:pt idx="4822" formatCode="m/d/yyyy">
                  <c:v>42444</c:v>
                </c:pt>
                <c:pt idx="4823" formatCode="m/d/yyyy">
                  <c:v>42445</c:v>
                </c:pt>
                <c:pt idx="4824" formatCode="m/d/yyyy">
                  <c:v>42446</c:v>
                </c:pt>
                <c:pt idx="4825" formatCode="m/d/yyyy">
                  <c:v>42447</c:v>
                </c:pt>
                <c:pt idx="4826" formatCode="m/d/yyyy">
                  <c:v>42448</c:v>
                </c:pt>
                <c:pt idx="4827" formatCode="m/d/yyyy">
                  <c:v>42449</c:v>
                </c:pt>
                <c:pt idx="4828" formatCode="m/d/yyyy">
                  <c:v>42450</c:v>
                </c:pt>
                <c:pt idx="4829" formatCode="m/d/yyyy">
                  <c:v>42451</c:v>
                </c:pt>
                <c:pt idx="4830" formatCode="m/d/yyyy">
                  <c:v>42452</c:v>
                </c:pt>
                <c:pt idx="4831" formatCode="m/d/yyyy">
                  <c:v>42453</c:v>
                </c:pt>
                <c:pt idx="4832" formatCode="m/d/yyyy">
                  <c:v>42454</c:v>
                </c:pt>
                <c:pt idx="4833" formatCode="m/d/yyyy">
                  <c:v>42455</c:v>
                </c:pt>
                <c:pt idx="4834" formatCode="m/d/yyyy">
                  <c:v>42456</c:v>
                </c:pt>
                <c:pt idx="4835" formatCode="m/d/yyyy">
                  <c:v>42457</c:v>
                </c:pt>
                <c:pt idx="4836" formatCode="m/d/yyyy">
                  <c:v>42458</c:v>
                </c:pt>
                <c:pt idx="4837" formatCode="m/d/yyyy">
                  <c:v>42459</c:v>
                </c:pt>
                <c:pt idx="4838" formatCode="m/d/yyyy">
                  <c:v>42460</c:v>
                </c:pt>
                <c:pt idx="4839" formatCode="m/d/yyyy">
                  <c:v>42461</c:v>
                </c:pt>
                <c:pt idx="4840" formatCode="m/d/yyyy">
                  <c:v>42462</c:v>
                </c:pt>
                <c:pt idx="4841" formatCode="m/d/yyyy">
                  <c:v>42463</c:v>
                </c:pt>
                <c:pt idx="4842" formatCode="m/d/yyyy">
                  <c:v>42464</c:v>
                </c:pt>
                <c:pt idx="4843" formatCode="m/d/yyyy">
                  <c:v>42465</c:v>
                </c:pt>
                <c:pt idx="4844" formatCode="m/d/yyyy">
                  <c:v>42466</c:v>
                </c:pt>
                <c:pt idx="4845" formatCode="m/d/yyyy">
                  <c:v>42467</c:v>
                </c:pt>
                <c:pt idx="4846" formatCode="m/d/yyyy">
                  <c:v>42468</c:v>
                </c:pt>
                <c:pt idx="4847" formatCode="m/d/yyyy">
                  <c:v>42469</c:v>
                </c:pt>
                <c:pt idx="4848" formatCode="m/d/yyyy">
                  <c:v>42470</c:v>
                </c:pt>
                <c:pt idx="4849" formatCode="m/d/yyyy">
                  <c:v>42471</c:v>
                </c:pt>
                <c:pt idx="4850" formatCode="m/d/yyyy">
                  <c:v>42472</c:v>
                </c:pt>
                <c:pt idx="4851" formatCode="m/d/yyyy">
                  <c:v>42473</c:v>
                </c:pt>
                <c:pt idx="4852" formatCode="m/d/yyyy">
                  <c:v>42474</c:v>
                </c:pt>
                <c:pt idx="4853" formatCode="m/d/yyyy">
                  <c:v>42475</c:v>
                </c:pt>
                <c:pt idx="4854" formatCode="m/d/yyyy">
                  <c:v>42476</c:v>
                </c:pt>
                <c:pt idx="4855" formatCode="m/d/yyyy">
                  <c:v>42477</c:v>
                </c:pt>
                <c:pt idx="4856" formatCode="m/d/yyyy">
                  <c:v>42478</c:v>
                </c:pt>
                <c:pt idx="4857" formatCode="m/d/yyyy">
                  <c:v>42479</c:v>
                </c:pt>
                <c:pt idx="4858" formatCode="m/d/yyyy">
                  <c:v>42480</c:v>
                </c:pt>
                <c:pt idx="4859" formatCode="m/d/yyyy">
                  <c:v>42481</c:v>
                </c:pt>
                <c:pt idx="4860" formatCode="m/d/yyyy">
                  <c:v>42482</c:v>
                </c:pt>
                <c:pt idx="4861" formatCode="m/d/yyyy">
                  <c:v>42483</c:v>
                </c:pt>
                <c:pt idx="4862" formatCode="m/d/yyyy">
                  <c:v>42484</c:v>
                </c:pt>
                <c:pt idx="4863" formatCode="m/d/yyyy">
                  <c:v>42485</c:v>
                </c:pt>
                <c:pt idx="4864" formatCode="m/d/yyyy">
                  <c:v>42486</c:v>
                </c:pt>
                <c:pt idx="4865" formatCode="m/d/yyyy">
                  <c:v>42487</c:v>
                </c:pt>
                <c:pt idx="4866" formatCode="m/d/yyyy">
                  <c:v>42488</c:v>
                </c:pt>
                <c:pt idx="4867" formatCode="m/d/yyyy">
                  <c:v>42489</c:v>
                </c:pt>
                <c:pt idx="4868" formatCode="m/d/yyyy">
                  <c:v>42490</c:v>
                </c:pt>
                <c:pt idx="4869" formatCode="m/d/yyyy">
                  <c:v>42491</c:v>
                </c:pt>
                <c:pt idx="4870" formatCode="m/d/yyyy">
                  <c:v>42492</c:v>
                </c:pt>
                <c:pt idx="4871" formatCode="m/d/yyyy">
                  <c:v>42493</c:v>
                </c:pt>
                <c:pt idx="4872" formatCode="m/d/yyyy">
                  <c:v>42494</c:v>
                </c:pt>
                <c:pt idx="4873" formatCode="m/d/yyyy">
                  <c:v>42495</c:v>
                </c:pt>
                <c:pt idx="4874" formatCode="m/d/yyyy">
                  <c:v>42496</c:v>
                </c:pt>
                <c:pt idx="4875" formatCode="m/d/yyyy">
                  <c:v>42497</c:v>
                </c:pt>
                <c:pt idx="4876" formatCode="m/d/yyyy">
                  <c:v>42498</c:v>
                </c:pt>
                <c:pt idx="4877" formatCode="m/d/yyyy">
                  <c:v>42499</c:v>
                </c:pt>
                <c:pt idx="4878" formatCode="m/d/yyyy">
                  <c:v>42500</c:v>
                </c:pt>
                <c:pt idx="4879" formatCode="m/d/yyyy">
                  <c:v>42501</c:v>
                </c:pt>
                <c:pt idx="4880" formatCode="m/d/yyyy">
                  <c:v>42502</c:v>
                </c:pt>
                <c:pt idx="4881" formatCode="m/d/yyyy">
                  <c:v>42503</c:v>
                </c:pt>
                <c:pt idx="4882" formatCode="m/d/yyyy">
                  <c:v>42504</c:v>
                </c:pt>
                <c:pt idx="4883" formatCode="m/d/yyyy">
                  <c:v>42505</c:v>
                </c:pt>
                <c:pt idx="4884" formatCode="m/d/yyyy">
                  <c:v>42506</c:v>
                </c:pt>
                <c:pt idx="4885" formatCode="m/d/yyyy">
                  <c:v>42507</c:v>
                </c:pt>
                <c:pt idx="4886" formatCode="m/d/yyyy">
                  <c:v>42508</c:v>
                </c:pt>
                <c:pt idx="4887" formatCode="m/d/yyyy">
                  <c:v>42509</c:v>
                </c:pt>
                <c:pt idx="4888" formatCode="m/d/yyyy">
                  <c:v>42510</c:v>
                </c:pt>
                <c:pt idx="4889" formatCode="m/d/yyyy">
                  <c:v>42511</c:v>
                </c:pt>
                <c:pt idx="4890" formatCode="m/d/yyyy">
                  <c:v>42512</c:v>
                </c:pt>
                <c:pt idx="4891" formatCode="m/d/yyyy">
                  <c:v>42513</c:v>
                </c:pt>
                <c:pt idx="4892" formatCode="m/d/yyyy">
                  <c:v>42514</c:v>
                </c:pt>
                <c:pt idx="4893" formatCode="m/d/yyyy">
                  <c:v>42515</c:v>
                </c:pt>
                <c:pt idx="4894" formatCode="m/d/yyyy">
                  <c:v>42516</c:v>
                </c:pt>
                <c:pt idx="4895" formatCode="m/d/yyyy">
                  <c:v>42517</c:v>
                </c:pt>
                <c:pt idx="4896" formatCode="m/d/yyyy">
                  <c:v>42518</c:v>
                </c:pt>
                <c:pt idx="4897" formatCode="m/d/yyyy">
                  <c:v>42519</c:v>
                </c:pt>
                <c:pt idx="4898" formatCode="m/d/yyyy">
                  <c:v>42520</c:v>
                </c:pt>
                <c:pt idx="4899" formatCode="m/d/yyyy">
                  <c:v>42521</c:v>
                </c:pt>
                <c:pt idx="4900" formatCode="m/d/yyyy">
                  <c:v>42522</c:v>
                </c:pt>
                <c:pt idx="4901" formatCode="m/d/yyyy">
                  <c:v>42523</c:v>
                </c:pt>
                <c:pt idx="4902" formatCode="m/d/yyyy">
                  <c:v>42524</c:v>
                </c:pt>
                <c:pt idx="4903" formatCode="m/d/yyyy">
                  <c:v>42525</c:v>
                </c:pt>
                <c:pt idx="4904" formatCode="m/d/yyyy">
                  <c:v>42526</c:v>
                </c:pt>
                <c:pt idx="4905" formatCode="m/d/yyyy">
                  <c:v>42527</c:v>
                </c:pt>
                <c:pt idx="4906" formatCode="m/d/yyyy">
                  <c:v>42528</c:v>
                </c:pt>
                <c:pt idx="4907" formatCode="m/d/yyyy">
                  <c:v>42529</c:v>
                </c:pt>
                <c:pt idx="4908" formatCode="m/d/yyyy">
                  <c:v>42530</c:v>
                </c:pt>
                <c:pt idx="4909" formatCode="m/d/yyyy">
                  <c:v>42531</c:v>
                </c:pt>
                <c:pt idx="4910" formatCode="m/d/yyyy">
                  <c:v>42532</c:v>
                </c:pt>
                <c:pt idx="4911" formatCode="m/d/yyyy">
                  <c:v>42533</c:v>
                </c:pt>
                <c:pt idx="4912" formatCode="m/d/yyyy">
                  <c:v>42534</c:v>
                </c:pt>
                <c:pt idx="4913" formatCode="m/d/yyyy">
                  <c:v>42535</c:v>
                </c:pt>
                <c:pt idx="4914" formatCode="m/d/yyyy">
                  <c:v>42536</c:v>
                </c:pt>
                <c:pt idx="4915" formatCode="m/d/yyyy">
                  <c:v>42537</c:v>
                </c:pt>
                <c:pt idx="4916" formatCode="m/d/yyyy">
                  <c:v>42538</c:v>
                </c:pt>
                <c:pt idx="4917" formatCode="m/d/yyyy">
                  <c:v>42539</c:v>
                </c:pt>
                <c:pt idx="4918" formatCode="m/d/yyyy">
                  <c:v>42540</c:v>
                </c:pt>
                <c:pt idx="4919" formatCode="m/d/yyyy">
                  <c:v>42541</c:v>
                </c:pt>
                <c:pt idx="4920" formatCode="m/d/yyyy">
                  <c:v>42542</c:v>
                </c:pt>
                <c:pt idx="4921" formatCode="m/d/yyyy">
                  <c:v>42543</c:v>
                </c:pt>
                <c:pt idx="4922" formatCode="m/d/yyyy">
                  <c:v>42544</c:v>
                </c:pt>
                <c:pt idx="4923" formatCode="m/d/yyyy">
                  <c:v>42545</c:v>
                </c:pt>
                <c:pt idx="4924" formatCode="m/d/yyyy">
                  <c:v>42546</c:v>
                </c:pt>
                <c:pt idx="4925" formatCode="m/d/yyyy">
                  <c:v>42547</c:v>
                </c:pt>
                <c:pt idx="4926" formatCode="m/d/yyyy">
                  <c:v>42548</c:v>
                </c:pt>
                <c:pt idx="4927" formatCode="m/d/yyyy">
                  <c:v>42549</c:v>
                </c:pt>
                <c:pt idx="4928" formatCode="m/d/yyyy">
                  <c:v>42550</c:v>
                </c:pt>
                <c:pt idx="4929" formatCode="m/d/yyyy">
                  <c:v>42551</c:v>
                </c:pt>
                <c:pt idx="4930" formatCode="m/d/yyyy">
                  <c:v>42552</c:v>
                </c:pt>
                <c:pt idx="4931" formatCode="m/d/yyyy">
                  <c:v>42553</c:v>
                </c:pt>
                <c:pt idx="4932" formatCode="m/d/yyyy">
                  <c:v>42554</c:v>
                </c:pt>
                <c:pt idx="4933" formatCode="m/d/yyyy">
                  <c:v>42555</c:v>
                </c:pt>
                <c:pt idx="4934" formatCode="m/d/yyyy">
                  <c:v>42556</c:v>
                </c:pt>
                <c:pt idx="4935" formatCode="m/d/yyyy">
                  <c:v>42557</c:v>
                </c:pt>
                <c:pt idx="4936" formatCode="m/d/yyyy">
                  <c:v>42558</c:v>
                </c:pt>
                <c:pt idx="4937" formatCode="m/d/yyyy">
                  <c:v>42559</c:v>
                </c:pt>
                <c:pt idx="4938" formatCode="m/d/yyyy">
                  <c:v>42560</c:v>
                </c:pt>
                <c:pt idx="4939" formatCode="m/d/yyyy">
                  <c:v>42561</c:v>
                </c:pt>
                <c:pt idx="4940" formatCode="m/d/yyyy">
                  <c:v>42562</c:v>
                </c:pt>
                <c:pt idx="4941" formatCode="m/d/yyyy">
                  <c:v>42563</c:v>
                </c:pt>
                <c:pt idx="4942" formatCode="m/d/yyyy">
                  <c:v>42564</c:v>
                </c:pt>
                <c:pt idx="4943" formatCode="m/d/yyyy">
                  <c:v>42565</c:v>
                </c:pt>
                <c:pt idx="4944" formatCode="m/d/yyyy">
                  <c:v>42566</c:v>
                </c:pt>
                <c:pt idx="4945" formatCode="m/d/yyyy">
                  <c:v>42567</c:v>
                </c:pt>
                <c:pt idx="4946" formatCode="m/d/yyyy">
                  <c:v>42568</c:v>
                </c:pt>
                <c:pt idx="4947" formatCode="m/d/yyyy">
                  <c:v>42569</c:v>
                </c:pt>
                <c:pt idx="4948" formatCode="m/d/yyyy">
                  <c:v>42570</c:v>
                </c:pt>
                <c:pt idx="4949" formatCode="m/d/yyyy">
                  <c:v>42571</c:v>
                </c:pt>
                <c:pt idx="4950" formatCode="m/d/yyyy">
                  <c:v>42572</c:v>
                </c:pt>
                <c:pt idx="4951" formatCode="m/d/yyyy">
                  <c:v>42573</c:v>
                </c:pt>
                <c:pt idx="4952" formatCode="m/d/yyyy">
                  <c:v>42574</c:v>
                </c:pt>
                <c:pt idx="4953" formatCode="m/d/yyyy">
                  <c:v>42575</c:v>
                </c:pt>
                <c:pt idx="4954" formatCode="m/d/yyyy">
                  <c:v>42576</c:v>
                </c:pt>
                <c:pt idx="4955" formatCode="m/d/yyyy">
                  <c:v>42577</c:v>
                </c:pt>
                <c:pt idx="4956" formatCode="m/d/yyyy">
                  <c:v>42578</c:v>
                </c:pt>
                <c:pt idx="4957" formatCode="m/d/yyyy">
                  <c:v>42579</c:v>
                </c:pt>
                <c:pt idx="4958" formatCode="m/d/yyyy">
                  <c:v>42580</c:v>
                </c:pt>
                <c:pt idx="4959" formatCode="m/d/yyyy">
                  <c:v>42581</c:v>
                </c:pt>
                <c:pt idx="4960" formatCode="m/d/yyyy">
                  <c:v>42582</c:v>
                </c:pt>
                <c:pt idx="4961" formatCode="m/d/yyyy">
                  <c:v>42583</c:v>
                </c:pt>
                <c:pt idx="4962" formatCode="m/d/yyyy">
                  <c:v>42584</c:v>
                </c:pt>
                <c:pt idx="4963" formatCode="m/d/yyyy">
                  <c:v>42585</c:v>
                </c:pt>
                <c:pt idx="4964" formatCode="m/d/yyyy">
                  <c:v>42586</c:v>
                </c:pt>
                <c:pt idx="4965" formatCode="m/d/yyyy">
                  <c:v>42587</c:v>
                </c:pt>
                <c:pt idx="4966" formatCode="m/d/yyyy">
                  <c:v>42588</c:v>
                </c:pt>
                <c:pt idx="4967" formatCode="m/d/yyyy">
                  <c:v>42589</c:v>
                </c:pt>
                <c:pt idx="4968" formatCode="m/d/yyyy">
                  <c:v>42590</c:v>
                </c:pt>
                <c:pt idx="4969" formatCode="m/d/yyyy">
                  <c:v>42591</c:v>
                </c:pt>
                <c:pt idx="4970" formatCode="m/d/yyyy">
                  <c:v>42592</c:v>
                </c:pt>
                <c:pt idx="4971" formatCode="m/d/yyyy">
                  <c:v>42593</c:v>
                </c:pt>
                <c:pt idx="4972" formatCode="m/d/yyyy">
                  <c:v>42594</c:v>
                </c:pt>
                <c:pt idx="4973" formatCode="m/d/yyyy">
                  <c:v>42595</c:v>
                </c:pt>
                <c:pt idx="4974" formatCode="m/d/yyyy">
                  <c:v>42596</c:v>
                </c:pt>
                <c:pt idx="4975" formatCode="m/d/yyyy">
                  <c:v>42597</c:v>
                </c:pt>
                <c:pt idx="4976" formatCode="m/d/yyyy">
                  <c:v>42598</c:v>
                </c:pt>
                <c:pt idx="4977" formatCode="m/d/yyyy">
                  <c:v>42599</c:v>
                </c:pt>
                <c:pt idx="4978" formatCode="m/d/yyyy">
                  <c:v>42600</c:v>
                </c:pt>
                <c:pt idx="4979" formatCode="m/d/yyyy">
                  <c:v>42601</c:v>
                </c:pt>
                <c:pt idx="4980" formatCode="m/d/yyyy">
                  <c:v>42602</c:v>
                </c:pt>
                <c:pt idx="4981" formatCode="m/d/yyyy">
                  <c:v>42603</c:v>
                </c:pt>
                <c:pt idx="4982" formatCode="m/d/yyyy">
                  <c:v>42604</c:v>
                </c:pt>
                <c:pt idx="4983" formatCode="m/d/yyyy">
                  <c:v>42605</c:v>
                </c:pt>
                <c:pt idx="4984" formatCode="m/d/yyyy">
                  <c:v>42606</c:v>
                </c:pt>
                <c:pt idx="4985" formatCode="m/d/yyyy">
                  <c:v>42607</c:v>
                </c:pt>
                <c:pt idx="4986" formatCode="m/d/yyyy">
                  <c:v>42608</c:v>
                </c:pt>
                <c:pt idx="4987" formatCode="m/d/yyyy">
                  <c:v>42609</c:v>
                </c:pt>
                <c:pt idx="4988" formatCode="m/d/yyyy">
                  <c:v>42610</c:v>
                </c:pt>
                <c:pt idx="4989" formatCode="m/d/yyyy">
                  <c:v>42611</c:v>
                </c:pt>
                <c:pt idx="4990" formatCode="m/d/yyyy">
                  <c:v>42612</c:v>
                </c:pt>
                <c:pt idx="4991" formatCode="m/d/yyyy">
                  <c:v>42613</c:v>
                </c:pt>
                <c:pt idx="4992" formatCode="m/d/yyyy">
                  <c:v>42614</c:v>
                </c:pt>
                <c:pt idx="4993" formatCode="m/d/yyyy">
                  <c:v>42615</c:v>
                </c:pt>
                <c:pt idx="4994" formatCode="m/d/yyyy">
                  <c:v>42616</c:v>
                </c:pt>
                <c:pt idx="4995" formatCode="m/d/yyyy">
                  <c:v>42617</c:v>
                </c:pt>
                <c:pt idx="4996" formatCode="m/d/yyyy">
                  <c:v>42618</c:v>
                </c:pt>
                <c:pt idx="4997" formatCode="m/d/yyyy">
                  <c:v>42619</c:v>
                </c:pt>
                <c:pt idx="4998" formatCode="m/d/yyyy">
                  <c:v>42620</c:v>
                </c:pt>
                <c:pt idx="4999" formatCode="m/d/yyyy">
                  <c:v>42621</c:v>
                </c:pt>
                <c:pt idx="5000" formatCode="m/d/yyyy">
                  <c:v>42622</c:v>
                </c:pt>
                <c:pt idx="5001" formatCode="m/d/yyyy">
                  <c:v>42623</c:v>
                </c:pt>
                <c:pt idx="5002" formatCode="m/d/yyyy">
                  <c:v>42624</c:v>
                </c:pt>
                <c:pt idx="5003" formatCode="m/d/yyyy">
                  <c:v>42625</c:v>
                </c:pt>
                <c:pt idx="5004" formatCode="m/d/yyyy">
                  <c:v>42626</c:v>
                </c:pt>
                <c:pt idx="5005" formatCode="m/d/yyyy">
                  <c:v>42627</c:v>
                </c:pt>
                <c:pt idx="5006" formatCode="m/d/yyyy">
                  <c:v>42628</c:v>
                </c:pt>
                <c:pt idx="5007" formatCode="m/d/yyyy">
                  <c:v>42629</c:v>
                </c:pt>
                <c:pt idx="5008" formatCode="m/d/yyyy">
                  <c:v>42630</c:v>
                </c:pt>
                <c:pt idx="5009" formatCode="m/d/yyyy">
                  <c:v>42631</c:v>
                </c:pt>
                <c:pt idx="5010" formatCode="m/d/yyyy">
                  <c:v>42632</c:v>
                </c:pt>
                <c:pt idx="5011" formatCode="m/d/yyyy">
                  <c:v>42633</c:v>
                </c:pt>
                <c:pt idx="5012" formatCode="m/d/yyyy">
                  <c:v>42634</c:v>
                </c:pt>
                <c:pt idx="5013" formatCode="m/d/yyyy">
                  <c:v>42635</c:v>
                </c:pt>
                <c:pt idx="5014" formatCode="m/d/yyyy">
                  <c:v>42636</c:v>
                </c:pt>
                <c:pt idx="5015" formatCode="m/d/yyyy">
                  <c:v>42637</c:v>
                </c:pt>
                <c:pt idx="5016" formatCode="m/d/yyyy">
                  <c:v>42638</c:v>
                </c:pt>
                <c:pt idx="5017" formatCode="m/d/yyyy">
                  <c:v>42639</c:v>
                </c:pt>
                <c:pt idx="5018" formatCode="m/d/yyyy">
                  <c:v>42640</c:v>
                </c:pt>
                <c:pt idx="5019" formatCode="m/d/yyyy">
                  <c:v>42641</c:v>
                </c:pt>
                <c:pt idx="5020" formatCode="m/d/yyyy">
                  <c:v>42642</c:v>
                </c:pt>
                <c:pt idx="5021" formatCode="m/d/yyyy">
                  <c:v>42643</c:v>
                </c:pt>
                <c:pt idx="5022" formatCode="m/d/yyyy">
                  <c:v>42644</c:v>
                </c:pt>
                <c:pt idx="5023" formatCode="m/d/yyyy">
                  <c:v>42645</c:v>
                </c:pt>
                <c:pt idx="5024" formatCode="m/d/yyyy">
                  <c:v>42646</c:v>
                </c:pt>
                <c:pt idx="5025" formatCode="m/d/yyyy">
                  <c:v>42647</c:v>
                </c:pt>
                <c:pt idx="5026" formatCode="m/d/yyyy">
                  <c:v>42648</c:v>
                </c:pt>
                <c:pt idx="5027" formatCode="m/d/yyyy">
                  <c:v>42649</c:v>
                </c:pt>
                <c:pt idx="5028" formatCode="m/d/yyyy">
                  <c:v>42650</c:v>
                </c:pt>
                <c:pt idx="5029" formatCode="m/d/yyyy">
                  <c:v>42651</c:v>
                </c:pt>
                <c:pt idx="5030" formatCode="m/d/yyyy">
                  <c:v>42652</c:v>
                </c:pt>
                <c:pt idx="5031" formatCode="m/d/yyyy">
                  <c:v>42653</c:v>
                </c:pt>
                <c:pt idx="5032" formatCode="m/d/yyyy">
                  <c:v>42654</c:v>
                </c:pt>
                <c:pt idx="5033" formatCode="m/d/yyyy">
                  <c:v>42655</c:v>
                </c:pt>
                <c:pt idx="5034" formatCode="m/d/yyyy">
                  <c:v>42656</c:v>
                </c:pt>
                <c:pt idx="5035" formatCode="m/d/yyyy">
                  <c:v>42657</c:v>
                </c:pt>
                <c:pt idx="5036" formatCode="m/d/yyyy">
                  <c:v>42658</c:v>
                </c:pt>
                <c:pt idx="5037" formatCode="m/d/yyyy">
                  <c:v>42659</c:v>
                </c:pt>
                <c:pt idx="5038" formatCode="m/d/yyyy">
                  <c:v>42660</c:v>
                </c:pt>
                <c:pt idx="5039" formatCode="m/d/yyyy">
                  <c:v>42661</c:v>
                </c:pt>
                <c:pt idx="5040" formatCode="m/d/yyyy">
                  <c:v>42662</c:v>
                </c:pt>
                <c:pt idx="5041" formatCode="m/d/yyyy">
                  <c:v>42663</c:v>
                </c:pt>
                <c:pt idx="5042" formatCode="m/d/yyyy">
                  <c:v>42664</c:v>
                </c:pt>
                <c:pt idx="5043" formatCode="m/d/yyyy">
                  <c:v>42665</c:v>
                </c:pt>
                <c:pt idx="5044" formatCode="m/d/yyyy">
                  <c:v>42666</c:v>
                </c:pt>
                <c:pt idx="5045" formatCode="m/d/yyyy">
                  <c:v>42667</c:v>
                </c:pt>
                <c:pt idx="5046" formatCode="m/d/yyyy">
                  <c:v>42668</c:v>
                </c:pt>
                <c:pt idx="5047" formatCode="m/d/yyyy">
                  <c:v>42669</c:v>
                </c:pt>
                <c:pt idx="5048" formatCode="m/d/yyyy">
                  <c:v>42670</c:v>
                </c:pt>
                <c:pt idx="5049" formatCode="m/d/yyyy">
                  <c:v>42671</c:v>
                </c:pt>
                <c:pt idx="5050" formatCode="m/d/yyyy">
                  <c:v>42672</c:v>
                </c:pt>
                <c:pt idx="5051" formatCode="m/d/yyyy">
                  <c:v>42673</c:v>
                </c:pt>
                <c:pt idx="5052" formatCode="m/d/yyyy">
                  <c:v>42674</c:v>
                </c:pt>
                <c:pt idx="5053" formatCode="m/d/yyyy">
                  <c:v>42675</c:v>
                </c:pt>
                <c:pt idx="5054" formatCode="m/d/yyyy">
                  <c:v>42676</c:v>
                </c:pt>
                <c:pt idx="5055" formatCode="m/d/yyyy">
                  <c:v>42677</c:v>
                </c:pt>
                <c:pt idx="5056" formatCode="m/d/yyyy">
                  <c:v>42678</c:v>
                </c:pt>
                <c:pt idx="5057" formatCode="m/d/yyyy">
                  <c:v>42679</c:v>
                </c:pt>
                <c:pt idx="5058" formatCode="m/d/yyyy">
                  <c:v>42680</c:v>
                </c:pt>
                <c:pt idx="5059" formatCode="m/d/yyyy">
                  <c:v>42681</c:v>
                </c:pt>
                <c:pt idx="5060" formatCode="m/d/yyyy">
                  <c:v>42682</c:v>
                </c:pt>
                <c:pt idx="5061" formatCode="m/d/yyyy">
                  <c:v>42683</c:v>
                </c:pt>
                <c:pt idx="5062" formatCode="m/d/yyyy">
                  <c:v>42684</c:v>
                </c:pt>
                <c:pt idx="5063" formatCode="m/d/yyyy">
                  <c:v>42685</c:v>
                </c:pt>
                <c:pt idx="5064" formatCode="m/d/yyyy">
                  <c:v>42686</c:v>
                </c:pt>
                <c:pt idx="5065" formatCode="m/d/yyyy">
                  <c:v>42687</c:v>
                </c:pt>
                <c:pt idx="5066" formatCode="m/d/yyyy">
                  <c:v>42688</c:v>
                </c:pt>
                <c:pt idx="5067" formatCode="m/d/yyyy">
                  <c:v>42689</c:v>
                </c:pt>
                <c:pt idx="5068" formatCode="m/d/yyyy">
                  <c:v>42690</c:v>
                </c:pt>
                <c:pt idx="5069" formatCode="m/d/yyyy">
                  <c:v>42691</c:v>
                </c:pt>
                <c:pt idx="5070" formatCode="m/d/yyyy">
                  <c:v>42692</c:v>
                </c:pt>
                <c:pt idx="5071" formatCode="m/d/yyyy">
                  <c:v>42693</c:v>
                </c:pt>
                <c:pt idx="5072" formatCode="m/d/yyyy">
                  <c:v>42694</c:v>
                </c:pt>
                <c:pt idx="5073" formatCode="m/d/yyyy">
                  <c:v>42695</c:v>
                </c:pt>
                <c:pt idx="5074" formatCode="m/d/yyyy">
                  <c:v>42696</c:v>
                </c:pt>
                <c:pt idx="5075" formatCode="m/d/yyyy">
                  <c:v>42697</c:v>
                </c:pt>
                <c:pt idx="5076" formatCode="m/d/yyyy">
                  <c:v>42698</c:v>
                </c:pt>
                <c:pt idx="5077" formatCode="m/d/yyyy">
                  <c:v>42699</c:v>
                </c:pt>
                <c:pt idx="5078" formatCode="m/d/yyyy">
                  <c:v>42700</c:v>
                </c:pt>
                <c:pt idx="5079" formatCode="m/d/yyyy">
                  <c:v>42701</c:v>
                </c:pt>
                <c:pt idx="5080" formatCode="m/d/yyyy">
                  <c:v>42702</c:v>
                </c:pt>
                <c:pt idx="5081" formatCode="m/d/yyyy">
                  <c:v>42703</c:v>
                </c:pt>
                <c:pt idx="5082" formatCode="m/d/yyyy">
                  <c:v>42704</c:v>
                </c:pt>
                <c:pt idx="5083" formatCode="m/d/yyyy">
                  <c:v>42705</c:v>
                </c:pt>
                <c:pt idx="5084" formatCode="m/d/yyyy">
                  <c:v>42706</c:v>
                </c:pt>
                <c:pt idx="5085" formatCode="m/d/yyyy">
                  <c:v>42707</c:v>
                </c:pt>
                <c:pt idx="5086" formatCode="m/d/yyyy">
                  <c:v>42708</c:v>
                </c:pt>
                <c:pt idx="5087" formatCode="m/d/yyyy">
                  <c:v>42709</c:v>
                </c:pt>
                <c:pt idx="5088" formatCode="m/d/yyyy">
                  <c:v>42710</c:v>
                </c:pt>
                <c:pt idx="5089" formatCode="m/d/yyyy">
                  <c:v>42711</c:v>
                </c:pt>
                <c:pt idx="5090" formatCode="m/d/yyyy">
                  <c:v>42712</c:v>
                </c:pt>
                <c:pt idx="5091" formatCode="m/d/yyyy">
                  <c:v>42713</c:v>
                </c:pt>
                <c:pt idx="5092" formatCode="m/d/yyyy">
                  <c:v>42714</c:v>
                </c:pt>
                <c:pt idx="5093" formatCode="m/d/yyyy">
                  <c:v>42715</c:v>
                </c:pt>
                <c:pt idx="5094" formatCode="m/d/yyyy">
                  <c:v>42716</c:v>
                </c:pt>
                <c:pt idx="5095" formatCode="m/d/yyyy">
                  <c:v>42717</c:v>
                </c:pt>
                <c:pt idx="5096" formatCode="m/d/yyyy">
                  <c:v>42718</c:v>
                </c:pt>
                <c:pt idx="5097" formatCode="m/d/yyyy">
                  <c:v>42719</c:v>
                </c:pt>
                <c:pt idx="5098" formatCode="m/d/yyyy">
                  <c:v>42720</c:v>
                </c:pt>
                <c:pt idx="5099" formatCode="m/d/yyyy">
                  <c:v>42721</c:v>
                </c:pt>
                <c:pt idx="5100" formatCode="m/d/yyyy">
                  <c:v>42722</c:v>
                </c:pt>
                <c:pt idx="5101" formatCode="m/d/yyyy">
                  <c:v>42723</c:v>
                </c:pt>
                <c:pt idx="5102" formatCode="m/d/yyyy">
                  <c:v>42724</c:v>
                </c:pt>
                <c:pt idx="5103" formatCode="m/d/yyyy">
                  <c:v>42725</c:v>
                </c:pt>
                <c:pt idx="5104" formatCode="m/d/yyyy">
                  <c:v>42726</c:v>
                </c:pt>
                <c:pt idx="5105" formatCode="m/d/yyyy">
                  <c:v>42727</c:v>
                </c:pt>
                <c:pt idx="5106" formatCode="m/d/yyyy">
                  <c:v>42728</c:v>
                </c:pt>
                <c:pt idx="5107" formatCode="m/d/yyyy">
                  <c:v>42729</c:v>
                </c:pt>
                <c:pt idx="5108" formatCode="m/d/yyyy">
                  <c:v>42730</c:v>
                </c:pt>
                <c:pt idx="5109" formatCode="m/d/yyyy">
                  <c:v>42731</c:v>
                </c:pt>
                <c:pt idx="5110" formatCode="m/d/yyyy">
                  <c:v>42732</c:v>
                </c:pt>
                <c:pt idx="5111" formatCode="m/d/yyyy">
                  <c:v>42733</c:v>
                </c:pt>
                <c:pt idx="5112" formatCode="m/d/yyyy">
                  <c:v>42734</c:v>
                </c:pt>
                <c:pt idx="5113" formatCode="m/d/yyyy">
                  <c:v>42735</c:v>
                </c:pt>
                <c:pt idx="5114" formatCode="m/d/yyyy">
                  <c:v>42736</c:v>
                </c:pt>
                <c:pt idx="5115" formatCode="m/d/yyyy">
                  <c:v>42737</c:v>
                </c:pt>
                <c:pt idx="5116" formatCode="m/d/yyyy">
                  <c:v>42738</c:v>
                </c:pt>
                <c:pt idx="5117" formatCode="m/d/yyyy">
                  <c:v>42739</c:v>
                </c:pt>
                <c:pt idx="5118" formatCode="m/d/yyyy">
                  <c:v>42740</c:v>
                </c:pt>
                <c:pt idx="5119" formatCode="m/d/yyyy">
                  <c:v>42741</c:v>
                </c:pt>
                <c:pt idx="5120" formatCode="m/d/yyyy">
                  <c:v>42742</c:v>
                </c:pt>
                <c:pt idx="5121" formatCode="m/d/yyyy">
                  <c:v>42743</c:v>
                </c:pt>
                <c:pt idx="5122" formatCode="m/d/yyyy">
                  <c:v>42744</c:v>
                </c:pt>
                <c:pt idx="5123" formatCode="m/d/yyyy">
                  <c:v>42745</c:v>
                </c:pt>
                <c:pt idx="5124" formatCode="m/d/yyyy">
                  <c:v>42746</c:v>
                </c:pt>
                <c:pt idx="5125" formatCode="m/d/yyyy">
                  <c:v>42747</c:v>
                </c:pt>
                <c:pt idx="5126" formatCode="m/d/yyyy">
                  <c:v>42748</c:v>
                </c:pt>
                <c:pt idx="5127" formatCode="m/d/yyyy">
                  <c:v>42749</c:v>
                </c:pt>
                <c:pt idx="5128" formatCode="m/d/yyyy">
                  <c:v>42750</c:v>
                </c:pt>
                <c:pt idx="5129" formatCode="m/d/yyyy">
                  <c:v>42751</c:v>
                </c:pt>
                <c:pt idx="5130" formatCode="m/d/yyyy">
                  <c:v>42752</c:v>
                </c:pt>
                <c:pt idx="5131" formatCode="m/d/yyyy">
                  <c:v>42753</c:v>
                </c:pt>
                <c:pt idx="5132" formatCode="m/d/yyyy">
                  <c:v>42754</c:v>
                </c:pt>
                <c:pt idx="5133" formatCode="m/d/yyyy">
                  <c:v>42755</c:v>
                </c:pt>
                <c:pt idx="5134" formatCode="m/d/yyyy">
                  <c:v>42756</c:v>
                </c:pt>
                <c:pt idx="5135" formatCode="m/d/yyyy">
                  <c:v>42757</c:v>
                </c:pt>
                <c:pt idx="5136" formatCode="m/d/yyyy">
                  <c:v>42758</c:v>
                </c:pt>
                <c:pt idx="5137" formatCode="m/d/yyyy">
                  <c:v>42759</c:v>
                </c:pt>
                <c:pt idx="5138" formatCode="m/d/yyyy">
                  <c:v>42760</c:v>
                </c:pt>
                <c:pt idx="5139" formatCode="m/d/yyyy">
                  <c:v>42761</c:v>
                </c:pt>
                <c:pt idx="5140" formatCode="m/d/yyyy">
                  <c:v>42762</c:v>
                </c:pt>
                <c:pt idx="5141" formatCode="m/d/yyyy">
                  <c:v>42763</c:v>
                </c:pt>
                <c:pt idx="5142" formatCode="m/d/yyyy">
                  <c:v>42764</c:v>
                </c:pt>
                <c:pt idx="5143" formatCode="m/d/yyyy">
                  <c:v>42765</c:v>
                </c:pt>
                <c:pt idx="5144" formatCode="m/d/yyyy">
                  <c:v>42766</c:v>
                </c:pt>
                <c:pt idx="5145" formatCode="m/d/yyyy">
                  <c:v>42767</c:v>
                </c:pt>
                <c:pt idx="5146" formatCode="m/d/yyyy">
                  <c:v>42768</c:v>
                </c:pt>
                <c:pt idx="5147" formatCode="m/d/yyyy">
                  <c:v>42769</c:v>
                </c:pt>
                <c:pt idx="5148" formatCode="m/d/yyyy">
                  <c:v>42770</c:v>
                </c:pt>
                <c:pt idx="5149" formatCode="m/d/yyyy">
                  <c:v>42771</c:v>
                </c:pt>
                <c:pt idx="5150" formatCode="m/d/yyyy">
                  <c:v>42772</c:v>
                </c:pt>
                <c:pt idx="5151" formatCode="m/d/yyyy">
                  <c:v>42773</c:v>
                </c:pt>
                <c:pt idx="5152" formatCode="m/d/yyyy">
                  <c:v>42774</c:v>
                </c:pt>
                <c:pt idx="5153" formatCode="m/d/yyyy">
                  <c:v>42775</c:v>
                </c:pt>
                <c:pt idx="5154" formatCode="m/d/yyyy">
                  <c:v>42776</c:v>
                </c:pt>
                <c:pt idx="5155" formatCode="m/d/yyyy">
                  <c:v>42777</c:v>
                </c:pt>
                <c:pt idx="5156" formatCode="m/d/yyyy">
                  <c:v>42778</c:v>
                </c:pt>
                <c:pt idx="5157" formatCode="m/d/yyyy">
                  <c:v>42779</c:v>
                </c:pt>
                <c:pt idx="5158" formatCode="m/d/yyyy">
                  <c:v>42780</c:v>
                </c:pt>
                <c:pt idx="5159" formatCode="m/d/yyyy">
                  <c:v>42781</c:v>
                </c:pt>
                <c:pt idx="5160" formatCode="m/d/yyyy">
                  <c:v>42782</c:v>
                </c:pt>
                <c:pt idx="5161" formatCode="m/d/yyyy">
                  <c:v>42783</c:v>
                </c:pt>
                <c:pt idx="5162" formatCode="m/d/yyyy">
                  <c:v>42784</c:v>
                </c:pt>
                <c:pt idx="5163" formatCode="m/d/yyyy">
                  <c:v>42785</c:v>
                </c:pt>
                <c:pt idx="5164" formatCode="m/d/yyyy">
                  <c:v>42786</c:v>
                </c:pt>
                <c:pt idx="5165" formatCode="m/d/yyyy">
                  <c:v>42787</c:v>
                </c:pt>
                <c:pt idx="5166" formatCode="m/d/yyyy">
                  <c:v>42788</c:v>
                </c:pt>
                <c:pt idx="5167" formatCode="m/d/yyyy">
                  <c:v>42789</c:v>
                </c:pt>
                <c:pt idx="5168" formatCode="m/d/yyyy">
                  <c:v>42790</c:v>
                </c:pt>
                <c:pt idx="5169" formatCode="m/d/yyyy">
                  <c:v>42791</c:v>
                </c:pt>
                <c:pt idx="5170" formatCode="m/d/yyyy">
                  <c:v>42792</c:v>
                </c:pt>
                <c:pt idx="5171" formatCode="m/d/yyyy">
                  <c:v>42793</c:v>
                </c:pt>
                <c:pt idx="5172" formatCode="m/d/yyyy">
                  <c:v>42794</c:v>
                </c:pt>
                <c:pt idx="5173" formatCode="m/d/yyyy">
                  <c:v>42795</c:v>
                </c:pt>
                <c:pt idx="5174" formatCode="m/d/yyyy">
                  <c:v>42796</c:v>
                </c:pt>
                <c:pt idx="5175" formatCode="m/d/yyyy">
                  <c:v>42797</c:v>
                </c:pt>
                <c:pt idx="5176" formatCode="m/d/yyyy">
                  <c:v>42798</c:v>
                </c:pt>
                <c:pt idx="5177" formatCode="m/d/yyyy">
                  <c:v>42799</c:v>
                </c:pt>
                <c:pt idx="5178" formatCode="m/d/yyyy">
                  <c:v>42800</c:v>
                </c:pt>
                <c:pt idx="5179" formatCode="m/d/yyyy">
                  <c:v>42801</c:v>
                </c:pt>
                <c:pt idx="5180" formatCode="m/d/yyyy">
                  <c:v>42802</c:v>
                </c:pt>
                <c:pt idx="5181" formatCode="m/d/yyyy">
                  <c:v>42803</c:v>
                </c:pt>
                <c:pt idx="5182" formatCode="m/d/yyyy">
                  <c:v>42804</c:v>
                </c:pt>
                <c:pt idx="5183" formatCode="m/d/yyyy">
                  <c:v>42805</c:v>
                </c:pt>
                <c:pt idx="5184" formatCode="m/d/yyyy">
                  <c:v>42806</c:v>
                </c:pt>
                <c:pt idx="5185" formatCode="m/d/yyyy">
                  <c:v>42807</c:v>
                </c:pt>
                <c:pt idx="5186" formatCode="m/d/yyyy">
                  <c:v>42808</c:v>
                </c:pt>
                <c:pt idx="5187" formatCode="m/d/yyyy">
                  <c:v>42809</c:v>
                </c:pt>
                <c:pt idx="5188" formatCode="m/d/yyyy">
                  <c:v>42810</c:v>
                </c:pt>
                <c:pt idx="5189" formatCode="m/d/yyyy">
                  <c:v>42811</c:v>
                </c:pt>
                <c:pt idx="5190" formatCode="m/d/yyyy">
                  <c:v>42812</c:v>
                </c:pt>
                <c:pt idx="5191" formatCode="m/d/yyyy">
                  <c:v>42813</c:v>
                </c:pt>
                <c:pt idx="5192" formatCode="m/d/yyyy">
                  <c:v>42814</c:v>
                </c:pt>
                <c:pt idx="5193" formatCode="m/d/yyyy">
                  <c:v>42815</c:v>
                </c:pt>
                <c:pt idx="5194" formatCode="m/d/yyyy">
                  <c:v>42816</c:v>
                </c:pt>
                <c:pt idx="5195" formatCode="m/d/yyyy">
                  <c:v>42817</c:v>
                </c:pt>
                <c:pt idx="5196" formatCode="m/d/yyyy">
                  <c:v>42818</c:v>
                </c:pt>
                <c:pt idx="5197" formatCode="m/d/yyyy">
                  <c:v>42819</c:v>
                </c:pt>
                <c:pt idx="5198" formatCode="m/d/yyyy">
                  <c:v>42820</c:v>
                </c:pt>
                <c:pt idx="5199" formatCode="m/d/yyyy">
                  <c:v>42821</c:v>
                </c:pt>
                <c:pt idx="5200" formatCode="m/d/yyyy">
                  <c:v>42822</c:v>
                </c:pt>
                <c:pt idx="5201" formatCode="m/d/yyyy">
                  <c:v>42823</c:v>
                </c:pt>
                <c:pt idx="5202" formatCode="m/d/yyyy">
                  <c:v>42824</c:v>
                </c:pt>
                <c:pt idx="5203" formatCode="m/d/yyyy">
                  <c:v>42825</c:v>
                </c:pt>
                <c:pt idx="5204" formatCode="m/d/yyyy">
                  <c:v>42826</c:v>
                </c:pt>
                <c:pt idx="5205" formatCode="m/d/yyyy">
                  <c:v>42827</c:v>
                </c:pt>
                <c:pt idx="5206" formatCode="m/d/yyyy">
                  <c:v>42828</c:v>
                </c:pt>
                <c:pt idx="5207" formatCode="m/d/yyyy">
                  <c:v>42829</c:v>
                </c:pt>
                <c:pt idx="5208" formatCode="m/d/yyyy">
                  <c:v>42830</c:v>
                </c:pt>
                <c:pt idx="5209" formatCode="m/d/yyyy">
                  <c:v>42831</c:v>
                </c:pt>
                <c:pt idx="5210" formatCode="m/d/yyyy">
                  <c:v>42832</c:v>
                </c:pt>
                <c:pt idx="5211" formatCode="m/d/yyyy">
                  <c:v>42833</c:v>
                </c:pt>
                <c:pt idx="5212" formatCode="m/d/yyyy">
                  <c:v>42834</c:v>
                </c:pt>
                <c:pt idx="5213" formatCode="m/d/yyyy">
                  <c:v>42835</c:v>
                </c:pt>
                <c:pt idx="5214" formatCode="m/d/yyyy">
                  <c:v>42836</c:v>
                </c:pt>
                <c:pt idx="5215" formatCode="m/d/yyyy">
                  <c:v>42837</c:v>
                </c:pt>
                <c:pt idx="5216" formatCode="m/d/yyyy">
                  <c:v>42838</c:v>
                </c:pt>
                <c:pt idx="5217" formatCode="m/d/yyyy">
                  <c:v>42839</c:v>
                </c:pt>
                <c:pt idx="5218" formatCode="m/d/yyyy">
                  <c:v>42840</c:v>
                </c:pt>
                <c:pt idx="5219" formatCode="m/d/yyyy">
                  <c:v>42841</c:v>
                </c:pt>
                <c:pt idx="5220" formatCode="m/d/yyyy">
                  <c:v>42842</c:v>
                </c:pt>
                <c:pt idx="5221" formatCode="m/d/yyyy">
                  <c:v>42843</c:v>
                </c:pt>
                <c:pt idx="5222" formatCode="m/d/yyyy">
                  <c:v>42844</c:v>
                </c:pt>
                <c:pt idx="5223" formatCode="m/d/yyyy">
                  <c:v>42845</c:v>
                </c:pt>
                <c:pt idx="5224" formatCode="m/d/yyyy">
                  <c:v>42846</c:v>
                </c:pt>
                <c:pt idx="5225" formatCode="m/d/yyyy">
                  <c:v>42847</c:v>
                </c:pt>
                <c:pt idx="5226" formatCode="m/d/yyyy">
                  <c:v>42848</c:v>
                </c:pt>
                <c:pt idx="5227" formatCode="m/d/yyyy">
                  <c:v>42849</c:v>
                </c:pt>
                <c:pt idx="5228" formatCode="m/d/yyyy">
                  <c:v>42850</c:v>
                </c:pt>
                <c:pt idx="5229" formatCode="m/d/yyyy">
                  <c:v>42851</c:v>
                </c:pt>
                <c:pt idx="5230" formatCode="m/d/yyyy">
                  <c:v>42852</c:v>
                </c:pt>
                <c:pt idx="5231" formatCode="m/d/yyyy">
                  <c:v>42853</c:v>
                </c:pt>
                <c:pt idx="5232" formatCode="m/d/yyyy">
                  <c:v>42854</c:v>
                </c:pt>
                <c:pt idx="5233" formatCode="m/d/yyyy">
                  <c:v>42855</c:v>
                </c:pt>
                <c:pt idx="5234" formatCode="m/d/yyyy">
                  <c:v>42856</c:v>
                </c:pt>
                <c:pt idx="5235" formatCode="m/d/yyyy">
                  <c:v>42857</c:v>
                </c:pt>
                <c:pt idx="5236" formatCode="m/d/yyyy">
                  <c:v>42858</c:v>
                </c:pt>
                <c:pt idx="5237" formatCode="m/d/yyyy">
                  <c:v>42859</c:v>
                </c:pt>
                <c:pt idx="5238" formatCode="m/d/yyyy">
                  <c:v>42860</c:v>
                </c:pt>
                <c:pt idx="5239" formatCode="m/d/yyyy">
                  <c:v>42861</c:v>
                </c:pt>
                <c:pt idx="5240" formatCode="m/d/yyyy">
                  <c:v>42862</c:v>
                </c:pt>
                <c:pt idx="5241" formatCode="m/d/yyyy">
                  <c:v>42863</c:v>
                </c:pt>
                <c:pt idx="5242" formatCode="m/d/yyyy">
                  <c:v>42864</c:v>
                </c:pt>
                <c:pt idx="5243" formatCode="m/d/yyyy">
                  <c:v>42865</c:v>
                </c:pt>
                <c:pt idx="5244" formatCode="m/d/yyyy">
                  <c:v>42866</c:v>
                </c:pt>
                <c:pt idx="5245" formatCode="m/d/yyyy">
                  <c:v>42867</c:v>
                </c:pt>
                <c:pt idx="5246" formatCode="m/d/yyyy">
                  <c:v>42868</c:v>
                </c:pt>
                <c:pt idx="5247" formatCode="m/d/yyyy">
                  <c:v>42869</c:v>
                </c:pt>
                <c:pt idx="5248" formatCode="m/d/yyyy">
                  <c:v>42870</c:v>
                </c:pt>
                <c:pt idx="5249" formatCode="m/d/yyyy">
                  <c:v>42871</c:v>
                </c:pt>
                <c:pt idx="5250" formatCode="m/d/yyyy">
                  <c:v>42872</c:v>
                </c:pt>
                <c:pt idx="5251" formatCode="m/d/yyyy">
                  <c:v>42873</c:v>
                </c:pt>
                <c:pt idx="5252" formatCode="m/d/yyyy">
                  <c:v>42874</c:v>
                </c:pt>
                <c:pt idx="5253" formatCode="m/d/yyyy">
                  <c:v>42875</c:v>
                </c:pt>
                <c:pt idx="5254" formatCode="m/d/yyyy">
                  <c:v>42876</c:v>
                </c:pt>
                <c:pt idx="5255" formatCode="m/d/yyyy">
                  <c:v>42877</c:v>
                </c:pt>
                <c:pt idx="5256" formatCode="m/d/yyyy">
                  <c:v>42878</c:v>
                </c:pt>
                <c:pt idx="5257" formatCode="m/d/yyyy">
                  <c:v>42879</c:v>
                </c:pt>
                <c:pt idx="5258" formatCode="m/d/yyyy">
                  <c:v>42880</c:v>
                </c:pt>
                <c:pt idx="5259" formatCode="m/d/yyyy">
                  <c:v>42881</c:v>
                </c:pt>
                <c:pt idx="5260" formatCode="m/d/yyyy">
                  <c:v>42882</c:v>
                </c:pt>
                <c:pt idx="5261" formatCode="m/d/yyyy">
                  <c:v>42883</c:v>
                </c:pt>
                <c:pt idx="5262" formatCode="m/d/yyyy">
                  <c:v>42884</c:v>
                </c:pt>
                <c:pt idx="5263" formatCode="m/d/yyyy">
                  <c:v>42885</c:v>
                </c:pt>
                <c:pt idx="5264" formatCode="m/d/yyyy">
                  <c:v>42886</c:v>
                </c:pt>
                <c:pt idx="5265" formatCode="m/d/yyyy">
                  <c:v>42887</c:v>
                </c:pt>
                <c:pt idx="5266" formatCode="m/d/yyyy">
                  <c:v>42888</c:v>
                </c:pt>
                <c:pt idx="5267" formatCode="m/d/yyyy">
                  <c:v>42889</c:v>
                </c:pt>
                <c:pt idx="5268" formatCode="m/d/yyyy">
                  <c:v>42890</c:v>
                </c:pt>
                <c:pt idx="5269" formatCode="m/d/yyyy">
                  <c:v>42891</c:v>
                </c:pt>
                <c:pt idx="5270" formatCode="m/d/yyyy">
                  <c:v>42892</c:v>
                </c:pt>
                <c:pt idx="5271" formatCode="m/d/yyyy">
                  <c:v>42893</c:v>
                </c:pt>
                <c:pt idx="5272" formatCode="m/d/yyyy">
                  <c:v>42894</c:v>
                </c:pt>
                <c:pt idx="5273" formatCode="m/d/yyyy">
                  <c:v>42895</c:v>
                </c:pt>
                <c:pt idx="5274" formatCode="m/d/yyyy">
                  <c:v>42896</c:v>
                </c:pt>
                <c:pt idx="5275" formatCode="m/d/yyyy">
                  <c:v>42897</c:v>
                </c:pt>
                <c:pt idx="5276" formatCode="m/d/yyyy">
                  <c:v>42898</c:v>
                </c:pt>
                <c:pt idx="5277" formatCode="m/d/yyyy">
                  <c:v>42899</c:v>
                </c:pt>
                <c:pt idx="5278" formatCode="m/d/yyyy">
                  <c:v>42900</c:v>
                </c:pt>
                <c:pt idx="5279" formatCode="m/d/yyyy">
                  <c:v>42901</c:v>
                </c:pt>
                <c:pt idx="5280" formatCode="m/d/yyyy">
                  <c:v>42902</c:v>
                </c:pt>
                <c:pt idx="5281" formatCode="m/d/yyyy">
                  <c:v>42903</c:v>
                </c:pt>
                <c:pt idx="5282" formatCode="m/d/yyyy">
                  <c:v>42904</c:v>
                </c:pt>
                <c:pt idx="5283" formatCode="m/d/yyyy">
                  <c:v>42905</c:v>
                </c:pt>
                <c:pt idx="5284" formatCode="m/d/yyyy">
                  <c:v>42906</c:v>
                </c:pt>
                <c:pt idx="5285" formatCode="m/d/yyyy">
                  <c:v>42907</c:v>
                </c:pt>
                <c:pt idx="5286" formatCode="m/d/yyyy">
                  <c:v>42908</c:v>
                </c:pt>
                <c:pt idx="5287" formatCode="m/d/yyyy">
                  <c:v>42909</c:v>
                </c:pt>
                <c:pt idx="5288" formatCode="m/d/yyyy">
                  <c:v>42910</c:v>
                </c:pt>
                <c:pt idx="5289" formatCode="m/d/yyyy">
                  <c:v>42911</c:v>
                </c:pt>
                <c:pt idx="5290" formatCode="m/d/yyyy">
                  <c:v>42912</c:v>
                </c:pt>
                <c:pt idx="5291" formatCode="m/d/yyyy">
                  <c:v>42913</c:v>
                </c:pt>
                <c:pt idx="5292" formatCode="m/d/yyyy">
                  <c:v>42914</c:v>
                </c:pt>
                <c:pt idx="5293" formatCode="m/d/yyyy">
                  <c:v>42915</c:v>
                </c:pt>
                <c:pt idx="5294" formatCode="m/d/yyyy">
                  <c:v>42916</c:v>
                </c:pt>
                <c:pt idx="5295" formatCode="m/d/yyyy">
                  <c:v>42917</c:v>
                </c:pt>
                <c:pt idx="5296" formatCode="m/d/yyyy">
                  <c:v>42918</c:v>
                </c:pt>
                <c:pt idx="5297" formatCode="m/d/yyyy">
                  <c:v>42919</c:v>
                </c:pt>
                <c:pt idx="5298" formatCode="m/d/yyyy">
                  <c:v>42920</c:v>
                </c:pt>
                <c:pt idx="5299" formatCode="m/d/yyyy">
                  <c:v>42921</c:v>
                </c:pt>
                <c:pt idx="5300" formatCode="m/d/yyyy">
                  <c:v>42922</c:v>
                </c:pt>
                <c:pt idx="5301" formatCode="m/d/yyyy">
                  <c:v>42923</c:v>
                </c:pt>
                <c:pt idx="5302" formatCode="m/d/yyyy">
                  <c:v>42924</c:v>
                </c:pt>
                <c:pt idx="5303" formatCode="m/d/yyyy">
                  <c:v>42925</c:v>
                </c:pt>
                <c:pt idx="5304" formatCode="m/d/yyyy">
                  <c:v>42926</c:v>
                </c:pt>
                <c:pt idx="5305" formatCode="m/d/yyyy">
                  <c:v>42927</c:v>
                </c:pt>
                <c:pt idx="5306" formatCode="m/d/yyyy">
                  <c:v>42928</c:v>
                </c:pt>
                <c:pt idx="5307" formatCode="m/d/yyyy">
                  <c:v>42929</c:v>
                </c:pt>
                <c:pt idx="5308" formatCode="m/d/yyyy">
                  <c:v>42930</c:v>
                </c:pt>
                <c:pt idx="5309" formatCode="m/d/yyyy">
                  <c:v>42931</c:v>
                </c:pt>
                <c:pt idx="5310" formatCode="m/d/yyyy">
                  <c:v>42932</c:v>
                </c:pt>
                <c:pt idx="5311" formatCode="m/d/yyyy">
                  <c:v>42933</c:v>
                </c:pt>
                <c:pt idx="5312" formatCode="m/d/yyyy">
                  <c:v>42934</c:v>
                </c:pt>
                <c:pt idx="5313" formatCode="m/d/yyyy">
                  <c:v>42935</c:v>
                </c:pt>
                <c:pt idx="5314" formatCode="m/d/yyyy">
                  <c:v>42936</c:v>
                </c:pt>
                <c:pt idx="5315" formatCode="m/d/yyyy">
                  <c:v>42937</c:v>
                </c:pt>
                <c:pt idx="5316" formatCode="m/d/yyyy">
                  <c:v>42938</c:v>
                </c:pt>
                <c:pt idx="5317" formatCode="m/d/yyyy">
                  <c:v>42939</c:v>
                </c:pt>
                <c:pt idx="5318" formatCode="m/d/yyyy">
                  <c:v>42940</c:v>
                </c:pt>
                <c:pt idx="5319" formatCode="m/d/yyyy">
                  <c:v>42941</c:v>
                </c:pt>
                <c:pt idx="5320" formatCode="m/d/yyyy">
                  <c:v>42942</c:v>
                </c:pt>
                <c:pt idx="5321" formatCode="m/d/yyyy">
                  <c:v>42943</c:v>
                </c:pt>
                <c:pt idx="5322" formatCode="m/d/yyyy">
                  <c:v>42944</c:v>
                </c:pt>
                <c:pt idx="5323" formatCode="m/d/yyyy">
                  <c:v>42945</c:v>
                </c:pt>
                <c:pt idx="5324" formatCode="m/d/yyyy">
                  <c:v>42946</c:v>
                </c:pt>
                <c:pt idx="5325" formatCode="m/d/yyyy">
                  <c:v>42947</c:v>
                </c:pt>
                <c:pt idx="5326" formatCode="m/d/yyyy">
                  <c:v>42948</c:v>
                </c:pt>
                <c:pt idx="5327" formatCode="m/d/yyyy">
                  <c:v>42949</c:v>
                </c:pt>
                <c:pt idx="5328" formatCode="m/d/yyyy">
                  <c:v>42950</c:v>
                </c:pt>
                <c:pt idx="5329" formatCode="m/d/yyyy">
                  <c:v>42951</c:v>
                </c:pt>
                <c:pt idx="5330" formatCode="m/d/yyyy">
                  <c:v>42952</c:v>
                </c:pt>
                <c:pt idx="5331" formatCode="m/d/yyyy">
                  <c:v>42953</c:v>
                </c:pt>
                <c:pt idx="5332" formatCode="m/d/yyyy">
                  <c:v>42954</c:v>
                </c:pt>
                <c:pt idx="5333" formatCode="m/d/yyyy">
                  <c:v>42955</c:v>
                </c:pt>
                <c:pt idx="5334" formatCode="m/d/yyyy">
                  <c:v>42956</c:v>
                </c:pt>
                <c:pt idx="5335" formatCode="m/d/yyyy">
                  <c:v>42957</c:v>
                </c:pt>
                <c:pt idx="5336" formatCode="m/d/yyyy">
                  <c:v>42958</c:v>
                </c:pt>
                <c:pt idx="5337" formatCode="m/d/yyyy">
                  <c:v>42959</c:v>
                </c:pt>
                <c:pt idx="5338" formatCode="m/d/yyyy">
                  <c:v>42960</c:v>
                </c:pt>
                <c:pt idx="5339" formatCode="m/d/yyyy">
                  <c:v>42961</c:v>
                </c:pt>
                <c:pt idx="5340" formatCode="m/d/yyyy">
                  <c:v>42962</c:v>
                </c:pt>
                <c:pt idx="5341" formatCode="m/d/yyyy">
                  <c:v>42963</c:v>
                </c:pt>
                <c:pt idx="5342" formatCode="m/d/yyyy">
                  <c:v>42964</c:v>
                </c:pt>
                <c:pt idx="5343" formatCode="m/d/yyyy">
                  <c:v>42965</c:v>
                </c:pt>
                <c:pt idx="5344" formatCode="m/d/yyyy">
                  <c:v>42966</c:v>
                </c:pt>
                <c:pt idx="5345" formatCode="m/d/yyyy">
                  <c:v>42967</c:v>
                </c:pt>
                <c:pt idx="5346" formatCode="m/d/yyyy">
                  <c:v>42968</c:v>
                </c:pt>
                <c:pt idx="5347" formatCode="m/d/yyyy">
                  <c:v>42969</c:v>
                </c:pt>
                <c:pt idx="5348" formatCode="m/d/yyyy">
                  <c:v>42970</c:v>
                </c:pt>
                <c:pt idx="5349" formatCode="m/d/yyyy">
                  <c:v>42971</c:v>
                </c:pt>
                <c:pt idx="5350" formatCode="m/d/yyyy">
                  <c:v>42972</c:v>
                </c:pt>
                <c:pt idx="5351" formatCode="m/d/yyyy">
                  <c:v>42973</c:v>
                </c:pt>
                <c:pt idx="5352" formatCode="m/d/yyyy">
                  <c:v>42974</c:v>
                </c:pt>
                <c:pt idx="5353" formatCode="m/d/yyyy">
                  <c:v>42975</c:v>
                </c:pt>
                <c:pt idx="5354" formatCode="m/d/yyyy">
                  <c:v>42976</c:v>
                </c:pt>
                <c:pt idx="5355" formatCode="m/d/yyyy">
                  <c:v>42977</c:v>
                </c:pt>
                <c:pt idx="5356" formatCode="m/d/yyyy">
                  <c:v>42978</c:v>
                </c:pt>
                <c:pt idx="5357" formatCode="m/d/yyyy">
                  <c:v>42979</c:v>
                </c:pt>
                <c:pt idx="5358" formatCode="m/d/yyyy">
                  <c:v>42980</c:v>
                </c:pt>
                <c:pt idx="5359" formatCode="m/d/yyyy">
                  <c:v>42981</c:v>
                </c:pt>
                <c:pt idx="5360" formatCode="m/d/yyyy">
                  <c:v>42982</c:v>
                </c:pt>
                <c:pt idx="5361" formatCode="m/d/yyyy">
                  <c:v>42983</c:v>
                </c:pt>
                <c:pt idx="5362" formatCode="m/d/yyyy">
                  <c:v>42984</c:v>
                </c:pt>
                <c:pt idx="5363" formatCode="m/d/yyyy">
                  <c:v>42985</c:v>
                </c:pt>
                <c:pt idx="5364" formatCode="m/d/yyyy">
                  <c:v>42986</c:v>
                </c:pt>
                <c:pt idx="5365" formatCode="m/d/yyyy">
                  <c:v>42987</c:v>
                </c:pt>
                <c:pt idx="5366" formatCode="m/d/yyyy">
                  <c:v>42988</c:v>
                </c:pt>
                <c:pt idx="5367" formatCode="m/d/yyyy">
                  <c:v>42989</c:v>
                </c:pt>
                <c:pt idx="5368" formatCode="m/d/yyyy">
                  <c:v>42990</c:v>
                </c:pt>
                <c:pt idx="5369" formatCode="m/d/yyyy">
                  <c:v>42991</c:v>
                </c:pt>
                <c:pt idx="5370" formatCode="m/d/yyyy">
                  <c:v>42992</c:v>
                </c:pt>
                <c:pt idx="5371" formatCode="m/d/yyyy">
                  <c:v>42993</c:v>
                </c:pt>
                <c:pt idx="5372" formatCode="m/d/yyyy">
                  <c:v>42994</c:v>
                </c:pt>
                <c:pt idx="5373" formatCode="m/d/yyyy">
                  <c:v>42995</c:v>
                </c:pt>
                <c:pt idx="5374" formatCode="m/d/yyyy">
                  <c:v>42996</c:v>
                </c:pt>
                <c:pt idx="5375" formatCode="m/d/yyyy">
                  <c:v>42997</c:v>
                </c:pt>
                <c:pt idx="5376" formatCode="m/d/yyyy">
                  <c:v>42998</c:v>
                </c:pt>
                <c:pt idx="5377" formatCode="m/d/yyyy">
                  <c:v>42999</c:v>
                </c:pt>
                <c:pt idx="5378" formatCode="m/d/yyyy">
                  <c:v>43000</c:v>
                </c:pt>
                <c:pt idx="5379" formatCode="m/d/yyyy">
                  <c:v>43001</c:v>
                </c:pt>
                <c:pt idx="5380" formatCode="m/d/yyyy">
                  <c:v>43002</c:v>
                </c:pt>
                <c:pt idx="5381" formatCode="m/d/yyyy">
                  <c:v>43003</c:v>
                </c:pt>
                <c:pt idx="5382" formatCode="m/d/yyyy">
                  <c:v>43004</c:v>
                </c:pt>
                <c:pt idx="5383" formatCode="m/d/yyyy">
                  <c:v>43005</c:v>
                </c:pt>
                <c:pt idx="5384" formatCode="m/d/yyyy">
                  <c:v>43006</c:v>
                </c:pt>
                <c:pt idx="5385" formatCode="m/d/yyyy">
                  <c:v>43007</c:v>
                </c:pt>
                <c:pt idx="5386" formatCode="m/d/yyyy">
                  <c:v>43008</c:v>
                </c:pt>
                <c:pt idx="5387" formatCode="m/d/yyyy">
                  <c:v>43009</c:v>
                </c:pt>
                <c:pt idx="5388" formatCode="m/d/yyyy">
                  <c:v>43010</c:v>
                </c:pt>
                <c:pt idx="5389" formatCode="m/d/yyyy">
                  <c:v>43011</c:v>
                </c:pt>
                <c:pt idx="5390" formatCode="m/d/yyyy">
                  <c:v>43012</c:v>
                </c:pt>
                <c:pt idx="5391" formatCode="m/d/yyyy">
                  <c:v>43013</c:v>
                </c:pt>
                <c:pt idx="5392" formatCode="m/d/yyyy">
                  <c:v>43014</c:v>
                </c:pt>
                <c:pt idx="5393" formatCode="m/d/yyyy">
                  <c:v>43015</c:v>
                </c:pt>
                <c:pt idx="5394" formatCode="m/d/yyyy">
                  <c:v>43016</c:v>
                </c:pt>
                <c:pt idx="5395" formatCode="m/d/yyyy">
                  <c:v>43017</c:v>
                </c:pt>
                <c:pt idx="5396" formatCode="m/d/yyyy">
                  <c:v>43018</c:v>
                </c:pt>
                <c:pt idx="5397" formatCode="m/d/yyyy">
                  <c:v>43019</c:v>
                </c:pt>
                <c:pt idx="5398" formatCode="m/d/yyyy">
                  <c:v>43020</c:v>
                </c:pt>
                <c:pt idx="5399" formatCode="m/d/yyyy">
                  <c:v>43021</c:v>
                </c:pt>
                <c:pt idx="5400" formatCode="m/d/yyyy">
                  <c:v>43022</c:v>
                </c:pt>
                <c:pt idx="5401" formatCode="m/d/yyyy">
                  <c:v>43023</c:v>
                </c:pt>
                <c:pt idx="5402" formatCode="m/d/yyyy">
                  <c:v>43024</c:v>
                </c:pt>
                <c:pt idx="5403" formatCode="m/d/yyyy">
                  <c:v>43025</c:v>
                </c:pt>
                <c:pt idx="5404" formatCode="m/d/yyyy">
                  <c:v>43026</c:v>
                </c:pt>
                <c:pt idx="5405" formatCode="m/d/yyyy">
                  <c:v>43027</c:v>
                </c:pt>
                <c:pt idx="5406" formatCode="m/d/yyyy">
                  <c:v>43028</c:v>
                </c:pt>
                <c:pt idx="5407" formatCode="m/d/yyyy">
                  <c:v>43029</c:v>
                </c:pt>
                <c:pt idx="5408" formatCode="m/d/yyyy">
                  <c:v>43030</c:v>
                </c:pt>
                <c:pt idx="5409" formatCode="m/d/yyyy">
                  <c:v>43031</c:v>
                </c:pt>
                <c:pt idx="5410" formatCode="m/d/yyyy">
                  <c:v>43032</c:v>
                </c:pt>
                <c:pt idx="5411" formatCode="m/d/yyyy">
                  <c:v>43033</c:v>
                </c:pt>
                <c:pt idx="5412" formatCode="m/d/yyyy">
                  <c:v>43034</c:v>
                </c:pt>
                <c:pt idx="5413" formatCode="m/d/yyyy">
                  <c:v>43035</c:v>
                </c:pt>
                <c:pt idx="5414" formatCode="m/d/yyyy">
                  <c:v>43036</c:v>
                </c:pt>
                <c:pt idx="5415" formatCode="m/d/yyyy">
                  <c:v>43037</c:v>
                </c:pt>
                <c:pt idx="5416" formatCode="m/d/yyyy">
                  <c:v>43038</c:v>
                </c:pt>
                <c:pt idx="5417" formatCode="m/d/yyyy">
                  <c:v>43039</c:v>
                </c:pt>
                <c:pt idx="5418" formatCode="m/d/yyyy">
                  <c:v>43040</c:v>
                </c:pt>
                <c:pt idx="5419" formatCode="m/d/yyyy">
                  <c:v>43041</c:v>
                </c:pt>
                <c:pt idx="5420" formatCode="m/d/yyyy">
                  <c:v>43042</c:v>
                </c:pt>
                <c:pt idx="5421" formatCode="m/d/yyyy">
                  <c:v>43043</c:v>
                </c:pt>
                <c:pt idx="5422" formatCode="m/d/yyyy">
                  <c:v>43044</c:v>
                </c:pt>
                <c:pt idx="5423" formatCode="m/d/yyyy">
                  <c:v>43045</c:v>
                </c:pt>
                <c:pt idx="5424" formatCode="m/d/yyyy">
                  <c:v>43046</c:v>
                </c:pt>
                <c:pt idx="5425" formatCode="m/d/yyyy">
                  <c:v>43047</c:v>
                </c:pt>
                <c:pt idx="5426" formatCode="m/d/yyyy">
                  <c:v>43048</c:v>
                </c:pt>
                <c:pt idx="5427" formatCode="m/d/yyyy">
                  <c:v>43049</c:v>
                </c:pt>
                <c:pt idx="5428" formatCode="m/d/yyyy">
                  <c:v>43050</c:v>
                </c:pt>
                <c:pt idx="5429" formatCode="m/d/yyyy">
                  <c:v>43051</c:v>
                </c:pt>
                <c:pt idx="5430" formatCode="m/d/yyyy">
                  <c:v>43052</c:v>
                </c:pt>
                <c:pt idx="5431" formatCode="m/d/yyyy">
                  <c:v>43053</c:v>
                </c:pt>
                <c:pt idx="5432" formatCode="m/d/yyyy">
                  <c:v>43054</c:v>
                </c:pt>
                <c:pt idx="5433" formatCode="m/d/yyyy">
                  <c:v>43055</c:v>
                </c:pt>
                <c:pt idx="5434" formatCode="m/d/yyyy">
                  <c:v>43056</c:v>
                </c:pt>
                <c:pt idx="5435" formatCode="m/d/yyyy">
                  <c:v>43057</c:v>
                </c:pt>
                <c:pt idx="5436" formatCode="m/d/yyyy">
                  <c:v>43058</c:v>
                </c:pt>
                <c:pt idx="5437" formatCode="m/d/yyyy">
                  <c:v>43059</c:v>
                </c:pt>
                <c:pt idx="5438" formatCode="m/d/yyyy">
                  <c:v>43060</c:v>
                </c:pt>
                <c:pt idx="5439" formatCode="m/d/yyyy">
                  <c:v>43061</c:v>
                </c:pt>
                <c:pt idx="5440" formatCode="m/d/yyyy">
                  <c:v>43062</c:v>
                </c:pt>
                <c:pt idx="5441" formatCode="m/d/yyyy">
                  <c:v>43063</c:v>
                </c:pt>
                <c:pt idx="5442" formatCode="m/d/yyyy">
                  <c:v>43064</c:v>
                </c:pt>
                <c:pt idx="5443" formatCode="m/d/yyyy">
                  <c:v>43065</c:v>
                </c:pt>
                <c:pt idx="5444" formatCode="m/d/yyyy">
                  <c:v>43066</c:v>
                </c:pt>
                <c:pt idx="5445" formatCode="m/d/yyyy">
                  <c:v>43067</c:v>
                </c:pt>
                <c:pt idx="5446" formatCode="m/d/yyyy">
                  <c:v>43068</c:v>
                </c:pt>
                <c:pt idx="5447" formatCode="m/d/yyyy">
                  <c:v>43069</c:v>
                </c:pt>
                <c:pt idx="5448" formatCode="m/d/yyyy">
                  <c:v>43070</c:v>
                </c:pt>
                <c:pt idx="5449" formatCode="m/d/yyyy">
                  <c:v>43071</c:v>
                </c:pt>
                <c:pt idx="5450" formatCode="m/d/yyyy">
                  <c:v>43072</c:v>
                </c:pt>
                <c:pt idx="5451" formatCode="m/d/yyyy">
                  <c:v>43073</c:v>
                </c:pt>
                <c:pt idx="5452" formatCode="m/d/yyyy">
                  <c:v>43074</c:v>
                </c:pt>
                <c:pt idx="5453" formatCode="m/d/yyyy">
                  <c:v>43075</c:v>
                </c:pt>
                <c:pt idx="5454" formatCode="m/d/yyyy">
                  <c:v>43076</c:v>
                </c:pt>
                <c:pt idx="5455" formatCode="m/d/yyyy">
                  <c:v>43077</c:v>
                </c:pt>
                <c:pt idx="5456" formatCode="m/d/yyyy">
                  <c:v>43078</c:v>
                </c:pt>
                <c:pt idx="5457" formatCode="m/d/yyyy">
                  <c:v>43079</c:v>
                </c:pt>
                <c:pt idx="5458" formatCode="m/d/yyyy">
                  <c:v>43080</c:v>
                </c:pt>
                <c:pt idx="5459" formatCode="m/d/yyyy">
                  <c:v>43081</c:v>
                </c:pt>
                <c:pt idx="5460" formatCode="m/d/yyyy">
                  <c:v>43082</c:v>
                </c:pt>
                <c:pt idx="5461" formatCode="m/d/yyyy">
                  <c:v>43083</c:v>
                </c:pt>
                <c:pt idx="5462" formatCode="m/d/yyyy">
                  <c:v>43084</c:v>
                </c:pt>
                <c:pt idx="5463" formatCode="m/d/yyyy">
                  <c:v>43085</c:v>
                </c:pt>
                <c:pt idx="5464" formatCode="m/d/yyyy">
                  <c:v>43086</c:v>
                </c:pt>
                <c:pt idx="5465" formatCode="m/d/yyyy">
                  <c:v>43087</c:v>
                </c:pt>
                <c:pt idx="5466" formatCode="m/d/yyyy">
                  <c:v>43088</c:v>
                </c:pt>
                <c:pt idx="5467" formatCode="m/d/yyyy">
                  <c:v>43089</c:v>
                </c:pt>
                <c:pt idx="5468" formatCode="m/d/yyyy">
                  <c:v>43090</c:v>
                </c:pt>
                <c:pt idx="5469" formatCode="m/d/yyyy">
                  <c:v>43091</c:v>
                </c:pt>
                <c:pt idx="5470" formatCode="m/d/yyyy">
                  <c:v>43092</c:v>
                </c:pt>
                <c:pt idx="5471" formatCode="m/d/yyyy">
                  <c:v>43093</c:v>
                </c:pt>
                <c:pt idx="5472" formatCode="m/d/yyyy">
                  <c:v>43094</c:v>
                </c:pt>
                <c:pt idx="5473" formatCode="m/d/yyyy">
                  <c:v>43095</c:v>
                </c:pt>
                <c:pt idx="5474" formatCode="m/d/yyyy">
                  <c:v>43096</c:v>
                </c:pt>
                <c:pt idx="5475" formatCode="m/d/yyyy">
                  <c:v>43097</c:v>
                </c:pt>
                <c:pt idx="5476" formatCode="m/d/yyyy">
                  <c:v>43098</c:v>
                </c:pt>
                <c:pt idx="5477" formatCode="m/d/yyyy">
                  <c:v>43099</c:v>
                </c:pt>
                <c:pt idx="5478" formatCode="m/d/yyyy">
                  <c:v>43100</c:v>
                </c:pt>
                <c:pt idx="5479" formatCode="m/d/yyyy">
                  <c:v>43101</c:v>
                </c:pt>
                <c:pt idx="5480" formatCode="m/d/yyyy">
                  <c:v>43102</c:v>
                </c:pt>
                <c:pt idx="5481" formatCode="m/d/yyyy">
                  <c:v>43103</c:v>
                </c:pt>
                <c:pt idx="5482" formatCode="m/d/yyyy">
                  <c:v>43104</c:v>
                </c:pt>
                <c:pt idx="5483" formatCode="m/d/yyyy">
                  <c:v>43105</c:v>
                </c:pt>
                <c:pt idx="5484" formatCode="m/d/yyyy">
                  <c:v>43106</c:v>
                </c:pt>
                <c:pt idx="5485" formatCode="m/d/yyyy">
                  <c:v>43107</c:v>
                </c:pt>
                <c:pt idx="5486" formatCode="m/d/yyyy">
                  <c:v>43108</c:v>
                </c:pt>
                <c:pt idx="5487" formatCode="m/d/yyyy">
                  <c:v>43109</c:v>
                </c:pt>
                <c:pt idx="5488" formatCode="m/d/yyyy">
                  <c:v>43110</c:v>
                </c:pt>
                <c:pt idx="5489" formatCode="m/d/yyyy">
                  <c:v>43111</c:v>
                </c:pt>
                <c:pt idx="5490" formatCode="m/d/yyyy">
                  <c:v>43112</c:v>
                </c:pt>
                <c:pt idx="5491" formatCode="m/d/yyyy">
                  <c:v>43113</c:v>
                </c:pt>
                <c:pt idx="5492" formatCode="m/d/yyyy">
                  <c:v>43114</c:v>
                </c:pt>
                <c:pt idx="5493" formatCode="m/d/yyyy">
                  <c:v>43115</c:v>
                </c:pt>
                <c:pt idx="5494" formatCode="m/d/yyyy">
                  <c:v>43116</c:v>
                </c:pt>
                <c:pt idx="5495" formatCode="m/d/yyyy">
                  <c:v>43117</c:v>
                </c:pt>
                <c:pt idx="5496" formatCode="m/d/yyyy">
                  <c:v>43118</c:v>
                </c:pt>
                <c:pt idx="5497" formatCode="m/d/yyyy">
                  <c:v>43119</c:v>
                </c:pt>
                <c:pt idx="5498" formatCode="m/d/yyyy">
                  <c:v>43120</c:v>
                </c:pt>
                <c:pt idx="5499" formatCode="m/d/yyyy">
                  <c:v>43121</c:v>
                </c:pt>
                <c:pt idx="5500" formatCode="m/d/yyyy">
                  <c:v>43122</c:v>
                </c:pt>
                <c:pt idx="5501" formatCode="m/d/yyyy">
                  <c:v>43123</c:v>
                </c:pt>
                <c:pt idx="5502" formatCode="m/d/yyyy">
                  <c:v>43124</c:v>
                </c:pt>
                <c:pt idx="5503" formatCode="m/d/yyyy">
                  <c:v>43125</c:v>
                </c:pt>
                <c:pt idx="5504" formatCode="m/d/yyyy">
                  <c:v>43126</c:v>
                </c:pt>
                <c:pt idx="5505" formatCode="m/d/yyyy">
                  <c:v>43127</c:v>
                </c:pt>
                <c:pt idx="5506" formatCode="m/d/yyyy">
                  <c:v>43128</c:v>
                </c:pt>
                <c:pt idx="5507" formatCode="m/d/yyyy">
                  <c:v>43129</c:v>
                </c:pt>
                <c:pt idx="5508" formatCode="m/d/yyyy">
                  <c:v>43130</c:v>
                </c:pt>
                <c:pt idx="5509" formatCode="m/d/yyyy">
                  <c:v>43131</c:v>
                </c:pt>
                <c:pt idx="5510" formatCode="m/d/yyyy">
                  <c:v>43132</c:v>
                </c:pt>
                <c:pt idx="5511" formatCode="m/d/yyyy">
                  <c:v>43133</c:v>
                </c:pt>
                <c:pt idx="5512" formatCode="m/d/yyyy">
                  <c:v>43134</c:v>
                </c:pt>
                <c:pt idx="5513" formatCode="m/d/yyyy">
                  <c:v>43135</c:v>
                </c:pt>
                <c:pt idx="5514" formatCode="m/d/yyyy">
                  <c:v>43136</c:v>
                </c:pt>
                <c:pt idx="5515" formatCode="m/d/yyyy">
                  <c:v>43137</c:v>
                </c:pt>
                <c:pt idx="5516" formatCode="m/d/yyyy">
                  <c:v>43138</c:v>
                </c:pt>
                <c:pt idx="5517" formatCode="m/d/yyyy">
                  <c:v>43139</c:v>
                </c:pt>
                <c:pt idx="5518" formatCode="m/d/yyyy">
                  <c:v>43140</c:v>
                </c:pt>
                <c:pt idx="5519" formatCode="m/d/yyyy">
                  <c:v>43141</c:v>
                </c:pt>
                <c:pt idx="5520" formatCode="m/d/yyyy">
                  <c:v>43142</c:v>
                </c:pt>
                <c:pt idx="5521" formatCode="m/d/yyyy">
                  <c:v>43143</c:v>
                </c:pt>
                <c:pt idx="5522" formatCode="m/d/yyyy">
                  <c:v>43144</c:v>
                </c:pt>
                <c:pt idx="5523" formatCode="m/d/yyyy">
                  <c:v>43145</c:v>
                </c:pt>
                <c:pt idx="5524" formatCode="m/d/yyyy">
                  <c:v>43146</c:v>
                </c:pt>
                <c:pt idx="5525" formatCode="m/d/yyyy">
                  <c:v>43147</c:v>
                </c:pt>
                <c:pt idx="5526" formatCode="m/d/yyyy">
                  <c:v>43148</c:v>
                </c:pt>
                <c:pt idx="5527" formatCode="m/d/yyyy">
                  <c:v>43149</c:v>
                </c:pt>
                <c:pt idx="5528" formatCode="m/d/yyyy">
                  <c:v>43150</c:v>
                </c:pt>
                <c:pt idx="5529" formatCode="m/d/yyyy">
                  <c:v>43151</c:v>
                </c:pt>
                <c:pt idx="5530" formatCode="m/d/yyyy">
                  <c:v>43152</c:v>
                </c:pt>
                <c:pt idx="5531" formatCode="m/d/yyyy">
                  <c:v>43153</c:v>
                </c:pt>
                <c:pt idx="5532" formatCode="m/d/yyyy">
                  <c:v>43154</c:v>
                </c:pt>
                <c:pt idx="5533" formatCode="m/d/yyyy">
                  <c:v>43155</c:v>
                </c:pt>
                <c:pt idx="5534" formatCode="m/d/yyyy">
                  <c:v>43156</c:v>
                </c:pt>
                <c:pt idx="5535" formatCode="m/d/yyyy">
                  <c:v>43157</c:v>
                </c:pt>
                <c:pt idx="5536" formatCode="m/d/yyyy">
                  <c:v>43158</c:v>
                </c:pt>
                <c:pt idx="5537" formatCode="m/d/yyyy">
                  <c:v>43159</c:v>
                </c:pt>
                <c:pt idx="5538" formatCode="m/d/yyyy">
                  <c:v>43160</c:v>
                </c:pt>
                <c:pt idx="5539" formatCode="m/d/yyyy">
                  <c:v>43161</c:v>
                </c:pt>
                <c:pt idx="5540" formatCode="m/d/yyyy">
                  <c:v>43162</c:v>
                </c:pt>
                <c:pt idx="5541" formatCode="m/d/yyyy">
                  <c:v>43163</c:v>
                </c:pt>
                <c:pt idx="5542" formatCode="m/d/yyyy">
                  <c:v>43164</c:v>
                </c:pt>
                <c:pt idx="5543" formatCode="m/d/yyyy">
                  <c:v>43165</c:v>
                </c:pt>
                <c:pt idx="5544" formatCode="m/d/yyyy">
                  <c:v>43166</c:v>
                </c:pt>
                <c:pt idx="5545" formatCode="m/d/yyyy">
                  <c:v>43167</c:v>
                </c:pt>
                <c:pt idx="5546" formatCode="m/d/yyyy">
                  <c:v>43168</c:v>
                </c:pt>
                <c:pt idx="5547" formatCode="m/d/yyyy">
                  <c:v>43169</c:v>
                </c:pt>
                <c:pt idx="5548" formatCode="m/d/yyyy">
                  <c:v>43170</c:v>
                </c:pt>
                <c:pt idx="5549" formatCode="m/d/yyyy">
                  <c:v>43171</c:v>
                </c:pt>
                <c:pt idx="5550" formatCode="m/d/yyyy">
                  <c:v>43172</c:v>
                </c:pt>
                <c:pt idx="5551" formatCode="m/d/yyyy">
                  <c:v>43173</c:v>
                </c:pt>
                <c:pt idx="5552" formatCode="m/d/yyyy">
                  <c:v>43174</c:v>
                </c:pt>
                <c:pt idx="5553" formatCode="m/d/yyyy">
                  <c:v>43175</c:v>
                </c:pt>
                <c:pt idx="5554" formatCode="m/d/yyyy">
                  <c:v>43176</c:v>
                </c:pt>
                <c:pt idx="5555" formatCode="m/d/yyyy">
                  <c:v>43177</c:v>
                </c:pt>
                <c:pt idx="5556" formatCode="m/d/yyyy">
                  <c:v>43178</c:v>
                </c:pt>
                <c:pt idx="5557" formatCode="m/d/yyyy">
                  <c:v>43179</c:v>
                </c:pt>
                <c:pt idx="5558" formatCode="m/d/yyyy">
                  <c:v>43180</c:v>
                </c:pt>
                <c:pt idx="5559" formatCode="m/d/yyyy">
                  <c:v>43181</c:v>
                </c:pt>
                <c:pt idx="5560" formatCode="m/d/yyyy">
                  <c:v>43182</c:v>
                </c:pt>
                <c:pt idx="5561" formatCode="m/d/yyyy">
                  <c:v>43183</c:v>
                </c:pt>
                <c:pt idx="5562" formatCode="m/d/yyyy">
                  <c:v>43184</c:v>
                </c:pt>
                <c:pt idx="5563" formatCode="m/d/yyyy">
                  <c:v>43185</c:v>
                </c:pt>
                <c:pt idx="5564" formatCode="m/d/yyyy">
                  <c:v>43186</c:v>
                </c:pt>
                <c:pt idx="5565" formatCode="m/d/yyyy">
                  <c:v>43187</c:v>
                </c:pt>
                <c:pt idx="5566" formatCode="m/d/yyyy">
                  <c:v>43188</c:v>
                </c:pt>
                <c:pt idx="5567" formatCode="m/d/yyyy">
                  <c:v>43189</c:v>
                </c:pt>
                <c:pt idx="5568" formatCode="m/d/yyyy">
                  <c:v>43190</c:v>
                </c:pt>
                <c:pt idx="5569" formatCode="m/d/yyyy">
                  <c:v>43191</c:v>
                </c:pt>
                <c:pt idx="5570" formatCode="m/d/yyyy">
                  <c:v>43192</c:v>
                </c:pt>
                <c:pt idx="5571" formatCode="m/d/yyyy">
                  <c:v>43193</c:v>
                </c:pt>
                <c:pt idx="5572" formatCode="m/d/yyyy">
                  <c:v>43194</c:v>
                </c:pt>
                <c:pt idx="5573" formatCode="m/d/yyyy">
                  <c:v>43195</c:v>
                </c:pt>
                <c:pt idx="5574" formatCode="m/d/yyyy">
                  <c:v>43196</c:v>
                </c:pt>
                <c:pt idx="5575" formatCode="m/d/yyyy">
                  <c:v>43197</c:v>
                </c:pt>
                <c:pt idx="5576" formatCode="m/d/yyyy">
                  <c:v>43198</c:v>
                </c:pt>
                <c:pt idx="5577" formatCode="m/d/yyyy">
                  <c:v>43199</c:v>
                </c:pt>
                <c:pt idx="5578" formatCode="m/d/yyyy">
                  <c:v>43200</c:v>
                </c:pt>
                <c:pt idx="5579" formatCode="m/d/yyyy">
                  <c:v>43201</c:v>
                </c:pt>
                <c:pt idx="5580" formatCode="m/d/yyyy">
                  <c:v>43202</c:v>
                </c:pt>
                <c:pt idx="5581" formatCode="m/d/yyyy">
                  <c:v>43203</c:v>
                </c:pt>
                <c:pt idx="5582" formatCode="m/d/yyyy">
                  <c:v>43204</c:v>
                </c:pt>
                <c:pt idx="5583" formatCode="m/d/yyyy">
                  <c:v>43205</c:v>
                </c:pt>
                <c:pt idx="5584" formatCode="m/d/yyyy">
                  <c:v>43206</c:v>
                </c:pt>
                <c:pt idx="5585" formatCode="m/d/yyyy">
                  <c:v>43207</c:v>
                </c:pt>
                <c:pt idx="5586" formatCode="m/d/yyyy">
                  <c:v>43208</c:v>
                </c:pt>
                <c:pt idx="5587" formatCode="m/d/yyyy">
                  <c:v>43209</c:v>
                </c:pt>
                <c:pt idx="5588" formatCode="m/d/yyyy">
                  <c:v>43210</c:v>
                </c:pt>
                <c:pt idx="5589" formatCode="m/d/yyyy">
                  <c:v>43211</c:v>
                </c:pt>
                <c:pt idx="5590" formatCode="m/d/yyyy">
                  <c:v>43212</c:v>
                </c:pt>
                <c:pt idx="5591" formatCode="m/d/yyyy">
                  <c:v>43213</c:v>
                </c:pt>
                <c:pt idx="5592" formatCode="m/d/yyyy">
                  <c:v>43214</c:v>
                </c:pt>
                <c:pt idx="5593" formatCode="m/d/yyyy">
                  <c:v>43215</c:v>
                </c:pt>
                <c:pt idx="5594" formatCode="m/d/yyyy">
                  <c:v>43216</c:v>
                </c:pt>
                <c:pt idx="5595" formatCode="m/d/yyyy">
                  <c:v>43217</c:v>
                </c:pt>
                <c:pt idx="5596" formatCode="m/d/yyyy">
                  <c:v>43218</c:v>
                </c:pt>
                <c:pt idx="5597" formatCode="m/d/yyyy">
                  <c:v>43219</c:v>
                </c:pt>
                <c:pt idx="5598" formatCode="m/d/yyyy">
                  <c:v>43220</c:v>
                </c:pt>
                <c:pt idx="5599" formatCode="m/d/yyyy">
                  <c:v>43221</c:v>
                </c:pt>
                <c:pt idx="5600" formatCode="m/d/yyyy">
                  <c:v>43222</c:v>
                </c:pt>
                <c:pt idx="5601" formatCode="m/d/yyyy">
                  <c:v>43223</c:v>
                </c:pt>
                <c:pt idx="5602" formatCode="m/d/yyyy">
                  <c:v>43224</c:v>
                </c:pt>
                <c:pt idx="5603" formatCode="m/d/yyyy">
                  <c:v>43225</c:v>
                </c:pt>
                <c:pt idx="5604" formatCode="m/d/yyyy">
                  <c:v>43226</c:v>
                </c:pt>
                <c:pt idx="5605" formatCode="m/d/yyyy">
                  <c:v>43227</c:v>
                </c:pt>
                <c:pt idx="5606" formatCode="m/d/yyyy">
                  <c:v>43228</c:v>
                </c:pt>
                <c:pt idx="5607" formatCode="m/d/yyyy">
                  <c:v>43229</c:v>
                </c:pt>
                <c:pt idx="5608" formatCode="m/d/yyyy">
                  <c:v>43230</c:v>
                </c:pt>
                <c:pt idx="5609" formatCode="m/d/yyyy">
                  <c:v>43231</c:v>
                </c:pt>
                <c:pt idx="5610" formatCode="m/d/yyyy">
                  <c:v>43232</c:v>
                </c:pt>
                <c:pt idx="5611" formatCode="m/d/yyyy">
                  <c:v>43233</c:v>
                </c:pt>
                <c:pt idx="5612" formatCode="m/d/yyyy">
                  <c:v>43234</c:v>
                </c:pt>
                <c:pt idx="5613" formatCode="m/d/yyyy">
                  <c:v>43235</c:v>
                </c:pt>
                <c:pt idx="5614" formatCode="m/d/yyyy">
                  <c:v>43236</c:v>
                </c:pt>
                <c:pt idx="5615" formatCode="m/d/yyyy">
                  <c:v>43237</c:v>
                </c:pt>
                <c:pt idx="5616" formatCode="m/d/yyyy">
                  <c:v>43238</c:v>
                </c:pt>
                <c:pt idx="5617" formatCode="m/d/yyyy">
                  <c:v>43239</c:v>
                </c:pt>
                <c:pt idx="5618" formatCode="m/d/yyyy">
                  <c:v>43240</c:v>
                </c:pt>
                <c:pt idx="5619" formatCode="m/d/yyyy">
                  <c:v>43241</c:v>
                </c:pt>
                <c:pt idx="5620" formatCode="m/d/yyyy">
                  <c:v>43242</c:v>
                </c:pt>
                <c:pt idx="5621" formatCode="m/d/yyyy">
                  <c:v>43243</c:v>
                </c:pt>
                <c:pt idx="5622" formatCode="m/d/yyyy">
                  <c:v>43244</c:v>
                </c:pt>
                <c:pt idx="5623" formatCode="m/d/yyyy">
                  <c:v>43245</c:v>
                </c:pt>
                <c:pt idx="5624" formatCode="m/d/yyyy">
                  <c:v>43246</c:v>
                </c:pt>
                <c:pt idx="5625" formatCode="m/d/yyyy">
                  <c:v>43247</c:v>
                </c:pt>
                <c:pt idx="5626" formatCode="m/d/yyyy">
                  <c:v>43248</c:v>
                </c:pt>
                <c:pt idx="5627" formatCode="m/d/yyyy">
                  <c:v>43249</c:v>
                </c:pt>
                <c:pt idx="5628" formatCode="m/d/yyyy">
                  <c:v>43250</c:v>
                </c:pt>
                <c:pt idx="5629" formatCode="m/d/yyyy">
                  <c:v>43251</c:v>
                </c:pt>
                <c:pt idx="5630" formatCode="m/d/yyyy">
                  <c:v>43252</c:v>
                </c:pt>
                <c:pt idx="5631" formatCode="m/d/yyyy">
                  <c:v>43253</c:v>
                </c:pt>
                <c:pt idx="5632" formatCode="m/d/yyyy">
                  <c:v>43254</c:v>
                </c:pt>
                <c:pt idx="5633" formatCode="m/d/yyyy">
                  <c:v>43255</c:v>
                </c:pt>
                <c:pt idx="5634" formatCode="m/d/yyyy">
                  <c:v>43256</c:v>
                </c:pt>
                <c:pt idx="5635" formatCode="m/d/yyyy">
                  <c:v>43257</c:v>
                </c:pt>
                <c:pt idx="5636" formatCode="m/d/yyyy">
                  <c:v>43258</c:v>
                </c:pt>
                <c:pt idx="5637" formatCode="m/d/yyyy">
                  <c:v>43259</c:v>
                </c:pt>
                <c:pt idx="5638" formatCode="m/d/yyyy">
                  <c:v>43260</c:v>
                </c:pt>
                <c:pt idx="5639" formatCode="m/d/yyyy">
                  <c:v>43261</c:v>
                </c:pt>
                <c:pt idx="5640" formatCode="m/d/yyyy">
                  <c:v>43262</c:v>
                </c:pt>
                <c:pt idx="5641" formatCode="m/d/yyyy">
                  <c:v>43263</c:v>
                </c:pt>
                <c:pt idx="5642" formatCode="m/d/yyyy">
                  <c:v>43264</c:v>
                </c:pt>
                <c:pt idx="5643" formatCode="m/d/yyyy">
                  <c:v>43265</c:v>
                </c:pt>
                <c:pt idx="5644" formatCode="m/d/yyyy">
                  <c:v>43266</c:v>
                </c:pt>
                <c:pt idx="5645" formatCode="m/d/yyyy">
                  <c:v>43267</c:v>
                </c:pt>
                <c:pt idx="5646" formatCode="m/d/yyyy">
                  <c:v>43268</c:v>
                </c:pt>
                <c:pt idx="5647" formatCode="m/d/yyyy">
                  <c:v>43269</c:v>
                </c:pt>
                <c:pt idx="5648" formatCode="m/d/yyyy">
                  <c:v>43270</c:v>
                </c:pt>
                <c:pt idx="5649" formatCode="m/d/yyyy">
                  <c:v>43271</c:v>
                </c:pt>
                <c:pt idx="5650" formatCode="m/d/yyyy">
                  <c:v>43272</c:v>
                </c:pt>
                <c:pt idx="5651" formatCode="m/d/yyyy">
                  <c:v>43273</c:v>
                </c:pt>
                <c:pt idx="5652" formatCode="m/d/yyyy">
                  <c:v>43274</c:v>
                </c:pt>
                <c:pt idx="5653" formatCode="m/d/yyyy">
                  <c:v>43275</c:v>
                </c:pt>
                <c:pt idx="5654" formatCode="m/d/yyyy">
                  <c:v>43276</c:v>
                </c:pt>
                <c:pt idx="5655" formatCode="m/d/yyyy">
                  <c:v>43277</c:v>
                </c:pt>
                <c:pt idx="5656" formatCode="m/d/yyyy">
                  <c:v>43278</c:v>
                </c:pt>
                <c:pt idx="5657" formatCode="m/d/yyyy">
                  <c:v>43279</c:v>
                </c:pt>
                <c:pt idx="5658" formatCode="m/d/yyyy">
                  <c:v>43280</c:v>
                </c:pt>
                <c:pt idx="5659" formatCode="m/d/yyyy">
                  <c:v>43281</c:v>
                </c:pt>
                <c:pt idx="5660" formatCode="m/d/yyyy">
                  <c:v>43282</c:v>
                </c:pt>
                <c:pt idx="5661" formatCode="m/d/yyyy">
                  <c:v>43283</c:v>
                </c:pt>
                <c:pt idx="5662" formatCode="m/d/yyyy">
                  <c:v>43284</c:v>
                </c:pt>
                <c:pt idx="5663" formatCode="m/d/yyyy">
                  <c:v>43285</c:v>
                </c:pt>
                <c:pt idx="5664" formatCode="m/d/yyyy">
                  <c:v>43286</c:v>
                </c:pt>
                <c:pt idx="5665" formatCode="m/d/yyyy">
                  <c:v>43287</c:v>
                </c:pt>
                <c:pt idx="5666" formatCode="m/d/yyyy">
                  <c:v>43288</c:v>
                </c:pt>
                <c:pt idx="5667" formatCode="m/d/yyyy">
                  <c:v>43289</c:v>
                </c:pt>
                <c:pt idx="5668" formatCode="m/d/yyyy">
                  <c:v>43290</c:v>
                </c:pt>
                <c:pt idx="5669" formatCode="m/d/yyyy">
                  <c:v>43291</c:v>
                </c:pt>
                <c:pt idx="5670" formatCode="m/d/yyyy">
                  <c:v>43292</c:v>
                </c:pt>
                <c:pt idx="5671" formatCode="m/d/yyyy">
                  <c:v>43293</c:v>
                </c:pt>
                <c:pt idx="5672" formatCode="m/d/yyyy">
                  <c:v>43294</c:v>
                </c:pt>
                <c:pt idx="5673" formatCode="m/d/yyyy">
                  <c:v>43295</c:v>
                </c:pt>
                <c:pt idx="5674" formatCode="m/d/yyyy">
                  <c:v>43296</c:v>
                </c:pt>
                <c:pt idx="5675" formatCode="m/d/yyyy">
                  <c:v>43297</c:v>
                </c:pt>
                <c:pt idx="5676" formatCode="m/d/yyyy">
                  <c:v>43298</c:v>
                </c:pt>
                <c:pt idx="5677" formatCode="m/d/yyyy">
                  <c:v>43299</c:v>
                </c:pt>
                <c:pt idx="5678" formatCode="m/d/yyyy">
                  <c:v>43300</c:v>
                </c:pt>
                <c:pt idx="5679" formatCode="m/d/yyyy">
                  <c:v>43301</c:v>
                </c:pt>
                <c:pt idx="5680" formatCode="m/d/yyyy">
                  <c:v>43302</c:v>
                </c:pt>
                <c:pt idx="5681" formatCode="m/d/yyyy">
                  <c:v>43303</c:v>
                </c:pt>
                <c:pt idx="5682" formatCode="m/d/yyyy">
                  <c:v>43304</c:v>
                </c:pt>
                <c:pt idx="5683" formatCode="m/d/yyyy">
                  <c:v>43305</c:v>
                </c:pt>
                <c:pt idx="5684" formatCode="m/d/yyyy">
                  <c:v>43306</c:v>
                </c:pt>
                <c:pt idx="5685" formatCode="m/d/yyyy">
                  <c:v>43307</c:v>
                </c:pt>
                <c:pt idx="5686" formatCode="m/d/yyyy">
                  <c:v>43308</c:v>
                </c:pt>
                <c:pt idx="5687" formatCode="m/d/yyyy">
                  <c:v>43309</c:v>
                </c:pt>
                <c:pt idx="5688" formatCode="m/d/yyyy">
                  <c:v>43310</c:v>
                </c:pt>
                <c:pt idx="5689" formatCode="m/d/yyyy">
                  <c:v>43311</c:v>
                </c:pt>
                <c:pt idx="5690" formatCode="m/d/yyyy">
                  <c:v>43312</c:v>
                </c:pt>
                <c:pt idx="5691" formatCode="m/d/yyyy">
                  <c:v>43313</c:v>
                </c:pt>
                <c:pt idx="5692" formatCode="m/d/yyyy">
                  <c:v>43314</c:v>
                </c:pt>
                <c:pt idx="5693" formatCode="m/d/yyyy">
                  <c:v>43315</c:v>
                </c:pt>
                <c:pt idx="5694" formatCode="m/d/yyyy">
                  <c:v>43316</c:v>
                </c:pt>
                <c:pt idx="5695" formatCode="m/d/yyyy">
                  <c:v>43317</c:v>
                </c:pt>
                <c:pt idx="5696" formatCode="m/d/yyyy">
                  <c:v>43318</c:v>
                </c:pt>
                <c:pt idx="5697" formatCode="m/d/yyyy">
                  <c:v>43319</c:v>
                </c:pt>
                <c:pt idx="5698" formatCode="m/d/yyyy">
                  <c:v>43320</c:v>
                </c:pt>
                <c:pt idx="5699" formatCode="m/d/yyyy">
                  <c:v>43321</c:v>
                </c:pt>
                <c:pt idx="5700" formatCode="m/d/yyyy">
                  <c:v>43322</c:v>
                </c:pt>
                <c:pt idx="5701" formatCode="m/d/yyyy">
                  <c:v>43323</c:v>
                </c:pt>
                <c:pt idx="5702" formatCode="m/d/yyyy">
                  <c:v>43324</c:v>
                </c:pt>
                <c:pt idx="5703" formatCode="m/d/yyyy">
                  <c:v>43325</c:v>
                </c:pt>
                <c:pt idx="5704" formatCode="m/d/yyyy">
                  <c:v>43326</c:v>
                </c:pt>
                <c:pt idx="5705" formatCode="m/d/yyyy">
                  <c:v>43327</c:v>
                </c:pt>
                <c:pt idx="5706" formatCode="m/d/yyyy">
                  <c:v>43328</c:v>
                </c:pt>
                <c:pt idx="5707" formatCode="m/d/yyyy">
                  <c:v>43329</c:v>
                </c:pt>
                <c:pt idx="5708" formatCode="m/d/yyyy">
                  <c:v>43330</c:v>
                </c:pt>
                <c:pt idx="5709" formatCode="m/d/yyyy">
                  <c:v>43331</c:v>
                </c:pt>
                <c:pt idx="5710" formatCode="m/d/yyyy">
                  <c:v>43332</c:v>
                </c:pt>
                <c:pt idx="5711" formatCode="m/d/yyyy">
                  <c:v>43333</c:v>
                </c:pt>
                <c:pt idx="5712" formatCode="m/d/yyyy">
                  <c:v>43334</c:v>
                </c:pt>
                <c:pt idx="5713" formatCode="m/d/yyyy">
                  <c:v>43335</c:v>
                </c:pt>
                <c:pt idx="5714" formatCode="m/d/yyyy">
                  <c:v>43336</c:v>
                </c:pt>
                <c:pt idx="5715" formatCode="m/d/yyyy">
                  <c:v>43337</c:v>
                </c:pt>
                <c:pt idx="5716" formatCode="m/d/yyyy">
                  <c:v>43338</c:v>
                </c:pt>
                <c:pt idx="5717" formatCode="m/d/yyyy">
                  <c:v>43339</c:v>
                </c:pt>
                <c:pt idx="5718" formatCode="m/d/yyyy">
                  <c:v>43340</c:v>
                </c:pt>
                <c:pt idx="5719" formatCode="m/d/yyyy">
                  <c:v>43341</c:v>
                </c:pt>
                <c:pt idx="5720" formatCode="m/d/yyyy">
                  <c:v>43342</c:v>
                </c:pt>
                <c:pt idx="5721" formatCode="m/d/yyyy">
                  <c:v>43343</c:v>
                </c:pt>
                <c:pt idx="5722" formatCode="m/d/yyyy">
                  <c:v>43344</c:v>
                </c:pt>
                <c:pt idx="5723" formatCode="m/d/yyyy">
                  <c:v>43345</c:v>
                </c:pt>
                <c:pt idx="5724" formatCode="m/d/yyyy">
                  <c:v>43346</c:v>
                </c:pt>
                <c:pt idx="5725" formatCode="m/d/yyyy">
                  <c:v>43347</c:v>
                </c:pt>
                <c:pt idx="5726" formatCode="m/d/yyyy">
                  <c:v>43348</c:v>
                </c:pt>
                <c:pt idx="5727" formatCode="m/d/yyyy">
                  <c:v>43349</c:v>
                </c:pt>
                <c:pt idx="5728" formatCode="m/d/yyyy">
                  <c:v>43350</c:v>
                </c:pt>
                <c:pt idx="5729" formatCode="m/d/yyyy">
                  <c:v>43351</c:v>
                </c:pt>
                <c:pt idx="5730" formatCode="m/d/yyyy">
                  <c:v>43352</c:v>
                </c:pt>
                <c:pt idx="5731" formatCode="m/d/yyyy">
                  <c:v>43353</c:v>
                </c:pt>
                <c:pt idx="5732" formatCode="m/d/yyyy">
                  <c:v>43354</c:v>
                </c:pt>
                <c:pt idx="5733" formatCode="m/d/yyyy">
                  <c:v>43355</c:v>
                </c:pt>
                <c:pt idx="5734" formatCode="m/d/yyyy">
                  <c:v>43356</c:v>
                </c:pt>
                <c:pt idx="5735" formatCode="m/d/yyyy">
                  <c:v>43357</c:v>
                </c:pt>
                <c:pt idx="5736" formatCode="m/d/yyyy">
                  <c:v>43358</c:v>
                </c:pt>
                <c:pt idx="5737" formatCode="m/d/yyyy">
                  <c:v>43359</c:v>
                </c:pt>
                <c:pt idx="5738" formatCode="m/d/yyyy">
                  <c:v>43360</c:v>
                </c:pt>
                <c:pt idx="5739" formatCode="m/d/yyyy">
                  <c:v>43361</c:v>
                </c:pt>
                <c:pt idx="5740" formatCode="m/d/yyyy">
                  <c:v>43362</c:v>
                </c:pt>
                <c:pt idx="5741" formatCode="m/d/yyyy">
                  <c:v>43363</c:v>
                </c:pt>
                <c:pt idx="5742" formatCode="m/d/yyyy">
                  <c:v>43364</c:v>
                </c:pt>
                <c:pt idx="5743" formatCode="m/d/yyyy">
                  <c:v>43365</c:v>
                </c:pt>
                <c:pt idx="5744" formatCode="m/d/yyyy">
                  <c:v>43366</c:v>
                </c:pt>
                <c:pt idx="5745" formatCode="m/d/yyyy">
                  <c:v>43367</c:v>
                </c:pt>
                <c:pt idx="5746" formatCode="m/d/yyyy">
                  <c:v>43368</c:v>
                </c:pt>
                <c:pt idx="5747" formatCode="m/d/yyyy">
                  <c:v>43369</c:v>
                </c:pt>
                <c:pt idx="5748" formatCode="m/d/yyyy">
                  <c:v>43370</c:v>
                </c:pt>
                <c:pt idx="5749" formatCode="m/d/yyyy">
                  <c:v>43371</c:v>
                </c:pt>
                <c:pt idx="5750" formatCode="m/d/yyyy">
                  <c:v>43372</c:v>
                </c:pt>
                <c:pt idx="5751" formatCode="m/d/yyyy">
                  <c:v>43373</c:v>
                </c:pt>
                <c:pt idx="5752" formatCode="m/d/yyyy">
                  <c:v>43374</c:v>
                </c:pt>
                <c:pt idx="5753" formatCode="m/d/yyyy">
                  <c:v>43375</c:v>
                </c:pt>
                <c:pt idx="5754" formatCode="m/d/yyyy">
                  <c:v>43376</c:v>
                </c:pt>
                <c:pt idx="5755" formatCode="m/d/yyyy">
                  <c:v>43377</c:v>
                </c:pt>
                <c:pt idx="5756" formatCode="m/d/yyyy">
                  <c:v>43378</c:v>
                </c:pt>
                <c:pt idx="5757" formatCode="m/d/yyyy">
                  <c:v>43379</c:v>
                </c:pt>
                <c:pt idx="5758" formatCode="m/d/yyyy">
                  <c:v>43380</c:v>
                </c:pt>
                <c:pt idx="5759" formatCode="m/d/yyyy">
                  <c:v>43381</c:v>
                </c:pt>
                <c:pt idx="5760" formatCode="m/d/yyyy">
                  <c:v>43382</c:v>
                </c:pt>
                <c:pt idx="5761" formatCode="m/d/yyyy">
                  <c:v>43383</c:v>
                </c:pt>
                <c:pt idx="5762" formatCode="m/d/yyyy">
                  <c:v>43384</c:v>
                </c:pt>
                <c:pt idx="5763" formatCode="m/d/yyyy">
                  <c:v>43385</c:v>
                </c:pt>
                <c:pt idx="5764" formatCode="m/d/yyyy">
                  <c:v>43386</c:v>
                </c:pt>
                <c:pt idx="5765" formatCode="m/d/yyyy">
                  <c:v>43387</c:v>
                </c:pt>
                <c:pt idx="5766" formatCode="m/d/yyyy">
                  <c:v>43388</c:v>
                </c:pt>
                <c:pt idx="5767" formatCode="m/d/yyyy">
                  <c:v>43389</c:v>
                </c:pt>
                <c:pt idx="5768" formatCode="m/d/yyyy">
                  <c:v>43390</c:v>
                </c:pt>
                <c:pt idx="5769" formatCode="m/d/yyyy">
                  <c:v>43391</c:v>
                </c:pt>
                <c:pt idx="5770" formatCode="m/d/yyyy">
                  <c:v>43392</c:v>
                </c:pt>
                <c:pt idx="5771" formatCode="m/d/yyyy">
                  <c:v>43393</c:v>
                </c:pt>
                <c:pt idx="5772" formatCode="m/d/yyyy">
                  <c:v>43394</c:v>
                </c:pt>
                <c:pt idx="5773" formatCode="m/d/yyyy">
                  <c:v>43395</c:v>
                </c:pt>
                <c:pt idx="5774" formatCode="m/d/yyyy">
                  <c:v>43396</c:v>
                </c:pt>
                <c:pt idx="5775" formatCode="m/d/yyyy">
                  <c:v>43397</c:v>
                </c:pt>
                <c:pt idx="5776" formatCode="m/d/yyyy">
                  <c:v>43398</c:v>
                </c:pt>
                <c:pt idx="5777" formatCode="m/d/yyyy">
                  <c:v>43399</c:v>
                </c:pt>
                <c:pt idx="5778" formatCode="m/d/yyyy">
                  <c:v>43400</c:v>
                </c:pt>
                <c:pt idx="5779" formatCode="m/d/yyyy">
                  <c:v>43401</c:v>
                </c:pt>
                <c:pt idx="5780" formatCode="m/d/yyyy">
                  <c:v>43402</c:v>
                </c:pt>
                <c:pt idx="5781" formatCode="m/d/yyyy">
                  <c:v>43403</c:v>
                </c:pt>
                <c:pt idx="5782" formatCode="m/d/yyyy">
                  <c:v>43404</c:v>
                </c:pt>
                <c:pt idx="5783" formatCode="m/d/yyyy">
                  <c:v>43405</c:v>
                </c:pt>
                <c:pt idx="5784" formatCode="m/d/yyyy">
                  <c:v>43406</c:v>
                </c:pt>
                <c:pt idx="5785" formatCode="m/d/yyyy">
                  <c:v>43407</c:v>
                </c:pt>
                <c:pt idx="5786" formatCode="m/d/yyyy">
                  <c:v>43408</c:v>
                </c:pt>
                <c:pt idx="5787" formatCode="m/d/yyyy">
                  <c:v>43409</c:v>
                </c:pt>
                <c:pt idx="5788" formatCode="m/d/yyyy">
                  <c:v>43410</c:v>
                </c:pt>
                <c:pt idx="5789" formatCode="m/d/yyyy">
                  <c:v>43411</c:v>
                </c:pt>
                <c:pt idx="5790" formatCode="m/d/yyyy">
                  <c:v>43412</c:v>
                </c:pt>
                <c:pt idx="5791" formatCode="m/d/yyyy">
                  <c:v>43413</c:v>
                </c:pt>
                <c:pt idx="5792" formatCode="m/d/yyyy">
                  <c:v>43414</c:v>
                </c:pt>
                <c:pt idx="5793" formatCode="m/d/yyyy">
                  <c:v>43415</c:v>
                </c:pt>
                <c:pt idx="5794" formatCode="m/d/yyyy">
                  <c:v>43416</c:v>
                </c:pt>
                <c:pt idx="5795" formatCode="m/d/yyyy">
                  <c:v>43417</c:v>
                </c:pt>
                <c:pt idx="5796" formatCode="m/d/yyyy">
                  <c:v>43418</c:v>
                </c:pt>
                <c:pt idx="5797" formatCode="m/d/yyyy">
                  <c:v>43419</c:v>
                </c:pt>
                <c:pt idx="5798" formatCode="m/d/yyyy">
                  <c:v>43420</c:v>
                </c:pt>
                <c:pt idx="5799" formatCode="m/d/yyyy">
                  <c:v>43421</c:v>
                </c:pt>
                <c:pt idx="5800" formatCode="m/d/yyyy">
                  <c:v>43422</c:v>
                </c:pt>
                <c:pt idx="5801" formatCode="m/d/yyyy">
                  <c:v>43423</c:v>
                </c:pt>
                <c:pt idx="5802" formatCode="m/d/yyyy">
                  <c:v>43424</c:v>
                </c:pt>
                <c:pt idx="5803" formatCode="m/d/yyyy">
                  <c:v>43425</c:v>
                </c:pt>
                <c:pt idx="5804" formatCode="m/d/yyyy">
                  <c:v>43426</c:v>
                </c:pt>
                <c:pt idx="5805" formatCode="m/d/yyyy">
                  <c:v>43427</c:v>
                </c:pt>
                <c:pt idx="5806" formatCode="m/d/yyyy">
                  <c:v>43428</c:v>
                </c:pt>
                <c:pt idx="5807" formatCode="m/d/yyyy">
                  <c:v>43429</c:v>
                </c:pt>
                <c:pt idx="5808" formatCode="m/d/yyyy">
                  <c:v>43430</c:v>
                </c:pt>
                <c:pt idx="5809" formatCode="m/d/yyyy">
                  <c:v>43431</c:v>
                </c:pt>
                <c:pt idx="5810" formatCode="m/d/yyyy">
                  <c:v>43432</c:v>
                </c:pt>
                <c:pt idx="5811" formatCode="m/d/yyyy">
                  <c:v>43433</c:v>
                </c:pt>
                <c:pt idx="5812" formatCode="m/d/yyyy">
                  <c:v>43434</c:v>
                </c:pt>
                <c:pt idx="5813" formatCode="m/d/yyyy">
                  <c:v>43435</c:v>
                </c:pt>
                <c:pt idx="5814" formatCode="m/d/yyyy">
                  <c:v>43436</c:v>
                </c:pt>
                <c:pt idx="5815" formatCode="m/d/yyyy">
                  <c:v>43437</c:v>
                </c:pt>
                <c:pt idx="5816" formatCode="m/d/yyyy">
                  <c:v>43438</c:v>
                </c:pt>
                <c:pt idx="5817" formatCode="m/d/yyyy">
                  <c:v>43439</c:v>
                </c:pt>
                <c:pt idx="5818" formatCode="m/d/yyyy">
                  <c:v>43440</c:v>
                </c:pt>
                <c:pt idx="5819" formatCode="m/d/yyyy">
                  <c:v>43441</c:v>
                </c:pt>
                <c:pt idx="5820" formatCode="m/d/yyyy">
                  <c:v>43442</c:v>
                </c:pt>
                <c:pt idx="5821" formatCode="m/d/yyyy">
                  <c:v>43443</c:v>
                </c:pt>
                <c:pt idx="5822" formatCode="m/d/yyyy">
                  <c:v>43444</c:v>
                </c:pt>
                <c:pt idx="5823" formatCode="m/d/yyyy">
                  <c:v>43445</c:v>
                </c:pt>
                <c:pt idx="5824" formatCode="m/d/yyyy">
                  <c:v>43446</c:v>
                </c:pt>
                <c:pt idx="5825" formatCode="m/d/yyyy">
                  <c:v>43447</c:v>
                </c:pt>
                <c:pt idx="5826" formatCode="m/d/yyyy">
                  <c:v>43448</c:v>
                </c:pt>
                <c:pt idx="5827" formatCode="m/d/yyyy">
                  <c:v>43449</c:v>
                </c:pt>
                <c:pt idx="5828" formatCode="m/d/yyyy">
                  <c:v>43450</c:v>
                </c:pt>
                <c:pt idx="5829" formatCode="m/d/yyyy">
                  <c:v>43451</c:v>
                </c:pt>
                <c:pt idx="5830" formatCode="m/d/yyyy">
                  <c:v>43452</c:v>
                </c:pt>
                <c:pt idx="5831" formatCode="m/d/yyyy">
                  <c:v>43453</c:v>
                </c:pt>
                <c:pt idx="5832" formatCode="m/d/yyyy">
                  <c:v>43454</c:v>
                </c:pt>
                <c:pt idx="5833" formatCode="m/d/yyyy">
                  <c:v>43455</c:v>
                </c:pt>
                <c:pt idx="5834" formatCode="m/d/yyyy">
                  <c:v>43456</c:v>
                </c:pt>
                <c:pt idx="5835" formatCode="m/d/yyyy">
                  <c:v>43457</c:v>
                </c:pt>
                <c:pt idx="5836" formatCode="m/d/yyyy">
                  <c:v>43458</c:v>
                </c:pt>
                <c:pt idx="5837" formatCode="m/d/yyyy">
                  <c:v>43459</c:v>
                </c:pt>
                <c:pt idx="5838" formatCode="m/d/yyyy">
                  <c:v>43460</c:v>
                </c:pt>
                <c:pt idx="5839" formatCode="m/d/yyyy">
                  <c:v>43461</c:v>
                </c:pt>
                <c:pt idx="5840" formatCode="m/d/yyyy">
                  <c:v>43462</c:v>
                </c:pt>
                <c:pt idx="5841" formatCode="m/d/yyyy">
                  <c:v>43463</c:v>
                </c:pt>
                <c:pt idx="5842" formatCode="m/d/yyyy">
                  <c:v>43464</c:v>
                </c:pt>
                <c:pt idx="5843" formatCode="m/d/yyyy">
                  <c:v>43465</c:v>
                </c:pt>
                <c:pt idx="5844" formatCode="m/d/yyyy">
                  <c:v>43466</c:v>
                </c:pt>
                <c:pt idx="5845" formatCode="m/d/yyyy">
                  <c:v>43467</c:v>
                </c:pt>
                <c:pt idx="5846" formatCode="m/d/yyyy">
                  <c:v>43468</c:v>
                </c:pt>
                <c:pt idx="5847" formatCode="m/d/yyyy">
                  <c:v>43469</c:v>
                </c:pt>
                <c:pt idx="5848" formatCode="m/d/yyyy">
                  <c:v>43470</c:v>
                </c:pt>
                <c:pt idx="5849" formatCode="m/d/yyyy">
                  <c:v>43471</c:v>
                </c:pt>
                <c:pt idx="5850" formatCode="m/d/yyyy">
                  <c:v>43472</c:v>
                </c:pt>
                <c:pt idx="5851" formatCode="m/d/yyyy">
                  <c:v>43473</c:v>
                </c:pt>
                <c:pt idx="5852" formatCode="m/d/yyyy">
                  <c:v>43474</c:v>
                </c:pt>
                <c:pt idx="5853" formatCode="m/d/yyyy">
                  <c:v>43475</c:v>
                </c:pt>
                <c:pt idx="5854" formatCode="m/d/yyyy">
                  <c:v>43476</c:v>
                </c:pt>
                <c:pt idx="5855" formatCode="m/d/yyyy">
                  <c:v>43477</c:v>
                </c:pt>
                <c:pt idx="5856" formatCode="m/d/yyyy">
                  <c:v>43478</c:v>
                </c:pt>
                <c:pt idx="5857" formatCode="m/d/yyyy">
                  <c:v>43479</c:v>
                </c:pt>
                <c:pt idx="5858" formatCode="m/d/yyyy">
                  <c:v>43480</c:v>
                </c:pt>
                <c:pt idx="5859" formatCode="m/d/yyyy">
                  <c:v>43481</c:v>
                </c:pt>
                <c:pt idx="5860" formatCode="m/d/yyyy">
                  <c:v>43482</c:v>
                </c:pt>
                <c:pt idx="5861" formatCode="m/d/yyyy">
                  <c:v>43483</c:v>
                </c:pt>
                <c:pt idx="5862" formatCode="m/d/yyyy">
                  <c:v>43484</c:v>
                </c:pt>
                <c:pt idx="5863" formatCode="m/d/yyyy">
                  <c:v>43485</c:v>
                </c:pt>
                <c:pt idx="5864" formatCode="m/d/yyyy">
                  <c:v>43486</c:v>
                </c:pt>
                <c:pt idx="5865" formatCode="m/d/yyyy">
                  <c:v>43487</c:v>
                </c:pt>
                <c:pt idx="5866" formatCode="m/d/yyyy">
                  <c:v>43488</c:v>
                </c:pt>
                <c:pt idx="5867" formatCode="m/d/yyyy">
                  <c:v>43489</c:v>
                </c:pt>
                <c:pt idx="5868" formatCode="m/d/yyyy">
                  <c:v>43490</c:v>
                </c:pt>
                <c:pt idx="5869" formatCode="m/d/yyyy">
                  <c:v>43491</c:v>
                </c:pt>
                <c:pt idx="5870" formatCode="m/d/yyyy">
                  <c:v>43492</c:v>
                </c:pt>
                <c:pt idx="5871" formatCode="m/d/yyyy">
                  <c:v>43493</c:v>
                </c:pt>
                <c:pt idx="5872" formatCode="m/d/yyyy">
                  <c:v>43494</c:v>
                </c:pt>
                <c:pt idx="5873" formatCode="m/d/yyyy">
                  <c:v>43495</c:v>
                </c:pt>
                <c:pt idx="5874" formatCode="m/d/yyyy">
                  <c:v>43496</c:v>
                </c:pt>
                <c:pt idx="5875" formatCode="m/d/yyyy">
                  <c:v>43497</c:v>
                </c:pt>
                <c:pt idx="5876" formatCode="m/d/yyyy">
                  <c:v>43498</c:v>
                </c:pt>
                <c:pt idx="5877" formatCode="m/d/yyyy">
                  <c:v>43499</c:v>
                </c:pt>
                <c:pt idx="5878" formatCode="m/d/yyyy">
                  <c:v>43500</c:v>
                </c:pt>
                <c:pt idx="5879" formatCode="m/d/yyyy">
                  <c:v>43501</c:v>
                </c:pt>
                <c:pt idx="5880" formatCode="m/d/yyyy">
                  <c:v>43502</c:v>
                </c:pt>
                <c:pt idx="5881" formatCode="m/d/yyyy">
                  <c:v>43503</c:v>
                </c:pt>
                <c:pt idx="5882" formatCode="m/d/yyyy">
                  <c:v>43504</c:v>
                </c:pt>
                <c:pt idx="5883" formatCode="m/d/yyyy">
                  <c:v>43505</c:v>
                </c:pt>
                <c:pt idx="5884" formatCode="m/d/yyyy">
                  <c:v>43506</c:v>
                </c:pt>
                <c:pt idx="5885" formatCode="m/d/yyyy">
                  <c:v>43507</c:v>
                </c:pt>
                <c:pt idx="5886" formatCode="m/d/yyyy">
                  <c:v>43508</c:v>
                </c:pt>
                <c:pt idx="5887" formatCode="m/d/yyyy">
                  <c:v>43509</c:v>
                </c:pt>
                <c:pt idx="5888" formatCode="m/d/yyyy">
                  <c:v>43510</c:v>
                </c:pt>
                <c:pt idx="5889" formatCode="m/d/yyyy">
                  <c:v>43511</c:v>
                </c:pt>
                <c:pt idx="5890" formatCode="m/d/yyyy">
                  <c:v>43512</c:v>
                </c:pt>
                <c:pt idx="5891" formatCode="m/d/yyyy">
                  <c:v>43513</c:v>
                </c:pt>
                <c:pt idx="5892" formatCode="m/d/yyyy">
                  <c:v>43514</c:v>
                </c:pt>
                <c:pt idx="5893" formatCode="m/d/yyyy">
                  <c:v>43515</c:v>
                </c:pt>
                <c:pt idx="5894" formatCode="m/d/yyyy">
                  <c:v>43516</c:v>
                </c:pt>
                <c:pt idx="5895" formatCode="m/d/yyyy">
                  <c:v>43517</c:v>
                </c:pt>
                <c:pt idx="5896" formatCode="m/d/yyyy">
                  <c:v>43518</c:v>
                </c:pt>
                <c:pt idx="5897" formatCode="m/d/yyyy">
                  <c:v>43519</c:v>
                </c:pt>
                <c:pt idx="5898" formatCode="m/d/yyyy">
                  <c:v>43520</c:v>
                </c:pt>
                <c:pt idx="5899" formatCode="m/d/yyyy">
                  <c:v>43521</c:v>
                </c:pt>
                <c:pt idx="5900" formatCode="m/d/yyyy">
                  <c:v>43522</c:v>
                </c:pt>
                <c:pt idx="5901" formatCode="m/d/yyyy">
                  <c:v>43523</c:v>
                </c:pt>
                <c:pt idx="5902" formatCode="m/d/yyyy">
                  <c:v>43524</c:v>
                </c:pt>
                <c:pt idx="5903" formatCode="m/d/yyyy">
                  <c:v>43525</c:v>
                </c:pt>
                <c:pt idx="5904" formatCode="m/d/yyyy">
                  <c:v>43526</c:v>
                </c:pt>
                <c:pt idx="5905" formatCode="m/d/yyyy">
                  <c:v>43527</c:v>
                </c:pt>
                <c:pt idx="5906" formatCode="m/d/yyyy">
                  <c:v>43528</c:v>
                </c:pt>
                <c:pt idx="5907" formatCode="m/d/yyyy">
                  <c:v>43529</c:v>
                </c:pt>
                <c:pt idx="5908" formatCode="m/d/yyyy">
                  <c:v>43530</c:v>
                </c:pt>
                <c:pt idx="5909" formatCode="m/d/yyyy">
                  <c:v>43531</c:v>
                </c:pt>
                <c:pt idx="5910" formatCode="m/d/yyyy">
                  <c:v>43532</c:v>
                </c:pt>
                <c:pt idx="5911" formatCode="m/d/yyyy">
                  <c:v>43533</c:v>
                </c:pt>
                <c:pt idx="5912" formatCode="m/d/yyyy">
                  <c:v>43534</c:v>
                </c:pt>
                <c:pt idx="5913" formatCode="m/d/yyyy">
                  <c:v>43535</c:v>
                </c:pt>
                <c:pt idx="5914" formatCode="m/d/yyyy">
                  <c:v>43536</c:v>
                </c:pt>
                <c:pt idx="5915" formatCode="m/d/yyyy">
                  <c:v>43537</c:v>
                </c:pt>
                <c:pt idx="5916" formatCode="m/d/yyyy">
                  <c:v>43538</c:v>
                </c:pt>
                <c:pt idx="5917" formatCode="m/d/yyyy">
                  <c:v>43539</c:v>
                </c:pt>
                <c:pt idx="5918" formatCode="m/d/yyyy">
                  <c:v>43540</c:v>
                </c:pt>
                <c:pt idx="5919" formatCode="m/d/yyyy">
                  <c:v>43541</c:v>
                </c:pt>
                <c:pt idx="5920" formatCode="m/d/yyyy">
                  <c:v>43542</c:v>
                </c:pt>
                <c:pt idx="5921" formatCode="m/d/yyyy">
                  <c:v>43543</c:v>
                </c:pt>
                <c:pt idx="5922" formatCode="m/d/yyyy">
                  <c:v>43544</c:v>
                </c:pt>
                <c:pt idx="5923" formatCode="m/d/yyyy">
                  <c:v>43545</c:v>
                </c:pt>
                <c:pt idx="5924" formatCode="m/d/yyyy">
                  <c:v>43546</c:v>
                </c:pt>
                <c:pt idx="5925" formatCode="m/d/yyyy">
                  <c:v>43547</c:v>
                </c:pt>
                <c:pt idx="5926" formatCode="m/d/yyyy">
                  <c:v>43548</c:v>
                </c:pt>
                <c:pt idx="5927" formatCode="m/d/yyyy">
                  <c:v>43549</c:v>
                </c:pt>
                <c:pt idx="5928" formatCode="m/d/yyyy">
                  <c:v>43550</c:v>
                </c:pt>
                <c:pt idx="5929" formatCode="m/d/yyyy">
                  <c:v>43551</c:v>
                </c:pt>
                <c:pt idx="5930" formatCode="m/d/yyyy">
                  <c:v>43552</c:v>
                </c:pt>
                <c:pt idx="5931" formatCode="m/d/yyyy">
                  <c:v>43553</c:v>
                </c:pt>
                <c:pt idx="5932" formatCode="m/d/yyyy">
                  <c:v>43554</c:v>
                </c:pt>
                <c:pt idx="5933" formatCode="m/d/yyyy">
                  <c:v>43555</c:v>
                </c:pt>
                <c:pt idx="5934" formatCode="m/d/yyyy">
                  <c:v>43556</c:v>
                </c:pt>
                <c:pt idx="5935" formatCode="m/d/yyyy">
                  <c:v>43557</c:v>
                </c:pt>
                <c:pt idx="5936" formatCode="m/d/yyyy">
                  <c:v>43558</c:v>
                </c:pt>
                <c:pt idx="5937" formatCode="m/d/yyyy">
                  <c:v>43559</c:v>
                </c:pt>
                <c:pt idx="5938" formatCode="m/d/yyyy">
                  <c:v>43560</c:v>
                </c:pt>
                <c:pt idx="5939" formatCode="m/d/yyyy">
                  <c:v>43561</c:v>
                </c:pt>
                <c:pt idx="5940" formatCode="m/d/yyyy">
                  <c:v>43562</c:v>
                </c:pt>
                <c:pt idx="5941" formatCode="m/d/yyyy">
                  <c:v>43563</c:v>
                </c:pt>
                <c:pt idx="5942" formatCode="m/d/yyyy">
                  <c:v>43564</c:v>
                </c:pt>
                <c:pt idx="5943" formatCode="m/d/yyyy">
                  <c:v>43565</c:v>
                </c:pt>
                <c:pt idx="5944" formatCode="m/d/yyyy">
                  <c:v>43566</c:v>
                </c:pt>
                <c:pt idx="5945" formatCode="m/d/yyyy">
                  <c:v>43567</c:v>
                </c:pt>
                <c:pt idx="5946" formatCode="m/d/yyyy">
                  <c:v>43568</c:v>
                </c:pt>
                <c:pt idx="5947" formatCode="m/d/yyyy">
                  <c:v>43569</c:v>
                </c:pt>
                <c:pt idx="5948" formatCode="m/d/yyyy">
                  <c:v>43570</c:v>
                </c:pt>
                <c:pt idx="5949" formatCode="m/d/yyyy">
                  <c:v>43571</c:v>
                </c:pt>
                <c:pt idx="5950" formatCode="m/d/yyyy">
                  <c:v>43572</c:v>
                </c:pt>
                <c:pt idx="5951" formatCode="m/d/yyyy">
                  <c:v>43573</c:v>
                </c:pt>
                <c:pt idx="5952" formatCode="m/d/yyyy">
                  <c:v>43574</c:v>
                </c:pt>
                <c:pt idx="5953" formatCode="m/d/yyyy">
                  <c:v>43575</c:v>
                </c:pt>
                <c:pt idx="5954" formatCode="m/d/yyyy">
                  <c:v>43576</c:v>
                </c:pt>
                <c:pt idx="5955" formatCode="m/d/yyyy">
                  <c:v>43577</c:v>
                </c:pt>
                <c:pt idx="5956" formatCode="m/d/yyyy">
                  <c:v>43578</c:v>
                </c:pt>
                <c:pt idx="5957" formatCode="m/d/yyyy">
                  <c:v>43579</c:v>
                </c:pt>
                <c:pt idx="5958" formatCode="m/d/yyyy">
                  <c:v>43580</c:v>
                </c:pt>
                <c:pt idx="5959" formatCode="m/d/yyyy">
                  <c:v>43581</c:v>
                </c:pt>
                <c:pt idx="5960" formatCode="m/d/yyyy">
                  <c:v>43582</c:v>
                </c:pt>
                <c:pt idx="5961" formatCode="m/d/yyyy">
                  <c:v>43583</c:v>
                </c:pt>
                <c:pt idx="5962" formatCode="m/d/yyyy">
                  <c:v>43584</c:v>
                </c:pt>
                <c:pt idx="5963" formatCode="m/d/yyyy">
                  <c:v>43585</c:v>
                </c:pt>
                <c:pt idx="5964" formatCode="m/d/yyyy">
                  <c:v>43586</c:v>
                </c:pt>
                <c:pt idx="5965" formatCode="m/d/yyyy">
                  <c:v>43587</c:v>
                </c:pt>
                <c:pt idx="5966" formatCode="m/d/yyyy">
                  <c:v>43588</c:v>
                </c:pt>
                <c:pt idx="5967" formatCode="m/d/yyyy">
                  <c:v>43589</c:v>
                </c:pt>
                <c:pt idx="5968" formatCode="m/d/yyyy">
                  <c:v>43590</c:v>
                </c:pt>
                <c:pt idx="5969" formatCode="m/d/yyyy">
                  <c:v>43591</c:v>
                </c:pt>
                <c:pt idx="5970" formatCode="m/d/yyyy">
                  <c:v>43592</c:v>
                </c:pt>
                <c:pt idx="5971" formatCode="m/d/yyyy">
                  <c:v>43593</c:v>
                </c:pt>
                <c:pt idx="5972" formatCode="m/d/yyyy">
                  <c:v>43594</c:v>
                </c:pt>
                <c:pt idx="5973" formatCode="m/d/yyyy">
                  <c:v>43595</c:v>
                </c:pt>
                <c:pt idx="5974" formatCode="m/d/yyyy">
                  <c:v>43596</c:v>
                </c:pt>
                <c:pt idx="5975" formatCode="m/d/yyyy">
                  <c:v>43597</c:v>
                </c:pt>
                <c:pt idx="5976" formatCode="m/d/yyyy">
                  <c:v>43598</c:v>
                </c:pt>
                <c:pt idx="5977" formatCode="m/d/yyyy">
                  <c:v>43599</c:v>
                </c:pt>
                <c:pt idx="5978" formatCode="m/d/yyyy">
                  <c:v>43600</c:v>
                </c:pt>
                <c:pt idx="5979" formatCode="m/d/yyyy">
                  <c:v>43601</c:v>
                </c:pt>
                <c:pt idx="5980" formatCode="m/d/yyyy">
                  <c:v>43602</c:v>
                </c:pt>
                <c:pt idx="5981" formatCode="m/d/yyyy">
                  <c:v>43603</c:v>
                </c:pt>
                <c:pt idx="5982" formatCode="m/d/yyyy">
                  <c:v>43604</c:v>
                </c:pt>
                <c:pt idx="5983" formatCode="m/d/yyyy">
                  <c:v>43605</c:v>
                </c:pt>
                <c:pt idx="5984" formatCode="m/d/yyyy">
                  <c:v>43606</c:v>
                </c:pt>
                <c:pt idx="5985" formatCode="m/d/yyyy">
                  <c:v>43607</c:v>
                </c:pt>
                <c:pt idx="5986" formatCode="m/d/yyyy">
                  <c:v>43608</c:v>
                </c:pt>
                <c:pt idx="5987" formatCode="m/d/yyyy">
                  <c:v>43609</c:v>
                </c:pt>
                <c:pt idx="5988" formatCode="m/d/yyyy">
                  <c:v>43610</c:v>
                </c:pt>
                <c:pt idx="5989" formatCode="m/d/yyyy">
                  <c:v>43611</c:v>
                </c:pt>
                <c:pt idx="5990" formatCode="m/d/yyyy">
                  <c:v>43612</c:v>
                </c:pt>
                <c:pt idx="5991" formatCode="m/d/yyyy">
                  <c:v>43613</c:v>
                </c:pt>
                <c:pt idx="5992" formatCode="m/d/yyyy">
                  <c:v>43614</c:v>
                </c:pt>
                <c:pt idx="5993" formatCode="m/d/yyyy">
                  <c:v>43615</c:v>
                </c:pt>
                <c:pt idx="5994" formatCode="m/d/yyyy">
                  <c:v>43616</c:v>
                </c:pt>
                <c:pt idx="5995" formatCode="m/d/yyyy">
                  <c:v>43617</c:v>
                </c:pt>
                <c:pt idx="5996" formatCode="m/d/yyyy">
                  <c:v>43618</c:v>
                </c:pt>
                <c:pt idx="5997" formatCode="m/d/yyyy">
                  <c:v>43619</c:v>
                </c:pt>
                <c:pt idx="5998" formatCode="m/d/yyyy">
                  <c:v>43620</c:v>
                </c:pt>
                <c:pt idx="5999" formatCode="m/d/yyyy">
                  <c:v>43621</c:v>
                </c:pt>
                <c:pt idx="6000" formatCode="m/d/yyyy">
                  <c:v>43622</c:v>
                </c:pt>
                <c:pt idx="6001" formatCode="m/d/yyyy">
                  <c:v>43623</c:v>
                </c:pt>
                <c:pt idx="6002" formatCode="m/d/yyyy">
                  <c:v>43624</c:v>
                </c:pt>
                <c:pt idx="6003" formatCode="m/d/yyyy">
                  <c:v>43625</c:v>
                </c:pt>
                <c:pt idx="6004" formatCode="m/d/yyyy">
                  <c:v>43626</c:v>
                </c:pt>
                <c:pt idx="6005" formatCode="m/d/yyyy">
                  <c:v>43627</c:v>
                </c:pt>
                <c:pt idx="6006" formatCode="m/d/yyyy">
                  <c:v>43628</c:v>
                </c:pt>
                <c:pt idx="6007" formatCode="m/d/yyyy">
                  <c:v>43629</c:v>
                </c:pt>
                <c:pt idx="6008" formatCode="m/d/yyyy">
                  <c:v>43630</c:v>
                </c:pt>
                <c:pt idx="6009" formatCode="m/d/yyyy">
                  <c:v>43631</c:v>
                </c:pt>
                <c:pt idx="6010" formatCode="m/d/yyyy">
                  <c:v>43632</c:v>
                </c:pt>
                <c:pt idx="6011" formatCode="m/d/yyyy">
                  <c:v>43633</c:v>
                </c:pt>
                <c:pt idx="6012" formatCode="m/d/yyyy">
                  <c:v>43634</c:v>
                </c:pt>
                <c:pt idx="6013" formatCode="m/d/yyyy">
                  <c:v>43635</c:v>
                </c:pt>
                <c:pt idx="6014" formatCode="m/d/yyyy">
                  <c:v>43636</c:v>
                </c:pt>
                <c:pt idx="6015" formatCode="m/d/yyyy">
                  <c:v>43637</c:v>
                </c:pt>
                <c:pt idx="6016" formatCode="m/d/yyyy">
                  <c:v>43638</c:v>
                </c:pt>
                <c:pt idx="6017" formatCode="m/d/yyyy">
                  <c:v>43639</c:v>
                </c:pt>
                <c:pt idx="6018" formatCode="m/d/yyyy">
                  <c:v>43640</c:v>
                </c:pt>
                <c:pt idx="6019" formatCode="m/d/yyyy">
                  <c:v>43641</c:v>
                </c:pt>
                <c:pt idx="6020" formatCode="m/d/yyyy">
                  <c:v>43642</c:v>
                </c:pt>
                <c:pt idx="6021" formatCode="m/d/yyyy">
                  <c:v>43643</c:v>
                </c:pt>
                <c:pt idx="6022" formatCode="m/d/yyyy">
                  <c:v>43644</c:v>
                </c:pt>
                <c:pt idx="6023" formatCode="m/d/yyyy">
                  <c:v>43645</c:v>
                </c:pt>
                <c:pt idx="6024" formatCode="m/d/yyyy">
                  <c:v>43646</c:v>
                </c:pt>
                <c:pt idx="6025" formatCode="m/d/yyyy">
                  <c:v>43647</c:v>
                </c:pt>
                <c:pt idx="6026" formatCode="m/d/yyyy">
                  <c:v>43648</c:v>
                </c:pt>
                <c:pt idx="6027" formatCode="m/d/yyyy">
                  <c:v>43649</c:v>
                </c:pt>
                <c:pt idx="6028" formatCode="m/d/yyyy">
                  <c:v>43650</c:v>
                </c:pt>
                <c:pt idx="6029" formatCode="m/d/yyyy">
                  <c:v>43651</c:v>
                </c:pt>
                <c:pt idx="6030" formatCode="m/d/yyyy">
                  <c:v>43652</c:v>
                </c:pt>
                <c:pt idx="6031" formatCode="m/d/yyyy">
                  <c:v>43653</c:v>
                </c:pt>
                <c:pt idx="6032" formatCode="m/d/yyyy">
                  <c:v>43654</c:v>
                </c:pt>
                <c:pt idx="6033" formatCode="m/d/yyyy">
                  <c:v>43655</c:v>
                </c:pt>
                <c:pt idx="6034" formatCode="m/d/yyyy">
                  <c:v>43656</c:v>
                </c:pt>
                <c:pt idx="6035" formatCode="m/d/yyyy">
                  <c:v>43657</c:v>
                </c:pt>
                <c:pt idx="6036" formatCode="m/d/yyyy">
                  <c:v>43658</c:v>
                </c:pt>
                <c:pt idx="6037" formatCode="m/d/yyyy">
                  <c:v>43659</c:v>
                </c:pt>
                <c:pt idx="6038" formatCode="m/d/yyyy">
                  <c:v>43660</c:v>
                </c:pt>
                <c:pt idx="6039" formatCode="m/d/yyyy">
                  <c:v>43661</c:v>
                </c:pt>
                <c:pt idx="6040" formatCode="m/d/yyyy">
                  <c:v>43662</c:v>
                </c:pt>
                <c:pt idx="6041" formatCode="m/d/yyyy">
                  <c:v>43663</c:v>
                </c:pt>
                <c:pt idx="6042" formatCode="m/d/yyyy">
                  <c:v>43664</c:v>
                </c:pt>
                <c:pt idx="6043" formatCode="m/d/yyyy">
                  <c:v>43665</c:v>
                </c:pt>
                <c:pt idx="6044" formatCode="m/d/yyyy">
                  <c:v>43666</c:v>
                </c:pt>
                <c:pt idx="6045" formatCode="m/d/yyyy">
                  <c:v>43667</c:v>
                </c:pt>
                <c:pt idx="6046" formatCode="m/d/yyyy">
                  <c:v>43668</c:v>
                </c:pt>
                <c:pt idx="6047" formatCode="m/d/yyyy">
                  <c:v>43669</c:v>
                </c:pt>
                <c:pt idx="6048" formatCode="m/d/yyyy">
                  <c:v>43670</c:v>
                </c:pt>
                <c:pt idx="6049" formatCode="m/d/yyyy">
                  <c:v>43671</c:v>
                </c:pt>
                <c:pt idx="6050" formatCode="m/d/yyyy">
                  <c:v>43672</c:v>
                </c:pt>
                <c:pt idx="6051" formatCode="m/d/yyyy">
                  <c:v>43673</c:v>
                </c:pt>
                <c:pt idx="6052" formatCode="m/d/yyyy">
                  <c:v>43674</c:v>
                </c:pt>
                <c:pt idx="6053" formatCode="m/d/yyyy">
                  <c:v>43675</c:v>
                </c:pt>
                <c:pt idx="6054" formatCode="m/d/yyyy">
                  <c:v>43676</c:v>
                </c:pt>
                <c:pt idx="6055" formatCode="m/d/yyyy">
                  <c:v>43677</c:v>
                </c:pt>
                <c:pt idx="6056" formatCode="m/d/yyyy">
                  <c:v>43678</c:v>
                </c:pt>
                <c:pt idx="6057" formatCode="m/d/yyyy">
                  <c:v>43679</c:v>
                </c:pt>
                <c:pt idx="6058" formatCode="m/d/yyyy">
                  <c:v>43680</c:v>
                </c:pt>
                <c:pt idx="6059" formatCode="m/d/yyyy">
                  <c:v>43681</c:v>
                </c:pt>
                <c:pt idx="6060" formatCode="m/d/yyyy">
                  <c:v>43682</c:v>
                </c:pt>
                <c:pt idx="6061" formatCode="m/d/yyyy">
                  <c:v>43683</c:v>
                </c:pt>
                <c:pt idx="6062" formatCode="m/d/yyyy">
                  <c:v>43684</c:v>
                </c:pt>
                <c:pt idx="6063" formatCode="m/d/yyyy">
                  <c:v>43685</c:v>
                </c:pt>
                <c:pt idx="6064" formatCode="m/d/yyyy">
                  <c:v>43686</c:v>
                </c:pt>
                <c:pt idx="6065" formatCode="m/d/yyyy">
                  <c:v>43687</c:v>
                </c:pt>
                <c:pt idx="6066" formatCode="m/d/yyyy">
                  <c:v>43688</c:v>
                </c:pt>
                <c:pt idx="6067" formatCode="m/d/yyyy">
                  <c:v>43689</c:v>
                </c:pt>
                <c:pt idx="6068" formatCode="m/d/yyyy">
                  <c:v>43690</c:v>
                </c:pt>
                <c:pt idx="6069" formatCode="m/d/yyyy">
                  <c:v>43691</c:v>
                </c:pt>
                <c:pt idx="6070" formatCode="m/d/yyyy">
                  <c:v>43692</c:v>
                </c:pt>
                <c:pt idx="6071" formatCode="m/d/yyyy">
                  <c:v>43693</c:v>
                </c:pt>
                <c:pt idx="6072" formatCode="m/d/yyyy">
                  <c:v>43694</c:v>
                </c:pt>
                <c:pt idx="6073" formatCode="m/d/yyyy">
                  <c:v>43695</c:v>
                </c:pt>
                <c:pt idx="6074" formatCode="m/d/yyyy">
                  <c:v>43696</c:v>
                </c:pt>
                <c:pt idx="6075" formatCode="m/d/yyyy">
                  <c:v>43697</c:v>
                </c:pt>
                <c:pt idx="6076" formatCode="m/d/yyyy">
                  <c:v>43698</c:v>
                </c:pt>
                <c:pt idx="6077" formatCode="m/d/yyyy">
                  <c:v>43699</c:v>
                </c:pt>
                <c:pt idx="6078" formatCode="m/d/yyyy">
                  <c:v>43700</c:v>
                </c:pt>
                <c:pt idx="6079" formatCode="m/d/yyyy">
                  <c:v>43701</c:v>
                </c:pt>
                <c:pt idx="6080" formatCode="m/d/yyyy">
                  <c:v>43702</c:v>
                </c:pt>
                <c:pt idx="6081" formatCode="m/d/yyyy">
                  <c:v>43703</c:v>
                </c:pt>
                <c:pt idx="6082" formatCode="m/d/yyyy">
                  <c:v>43704</c:v>
                </c:pt>
                <c:pt idx="6083" formatCode="m/d/yyyy">
                  <c:v>43705</c:v>
                </c:pt>
                <c:pt idx="6084" formatCode="m/d/yyyy">
                  <c:v>43706</c:v>
                </c:pt>
                <c:pt idx="6085" formatCode="m/d/yyyy">
                  <c:v>43707</c:v>
                </c:pt>
                <c:pt idx="6086" formatCode="m/d/yyyy">
                  <c:v>43708</c:v>
                </c:pt>
                <c:pt idx="6087" formatCode="m/d/yyyy">
                  <c:v>43709</c:v>
                </c:pt>
                <c:pt idx="6088" formatCode="m/d/yyyy">
                  <c:v>43710</c:v>
                </c:pt>
                <c:pt idx="6089" formatCode="m/d/yyyy">
                  <c:v>43711</c:v>
                </c:pt>
                <c:pt idx="6090" formatCode="m/d/yyyy">
                  <c:v>43712</c:v>
                </c:pt>
                <c:pt idx="6091" formatCode="m/d/yyyy">
                  <c:v>43713</c:v>
                </c:pt>
                <c:pt idx="6092" formatCode="m/d/yyyy">
                  <c:v>43714</c:v>
                </c:pt>
                <c:pt idx="6093" formatCode="m/d/yyyy">
                  <c:v>43715</c:v>
                </c:pt>
                <c:pt idx="6094" formatCode="m/d/yyyy">
                  <c:v>43716</c:v>
                </c:pt>
                <c:pt idx="6095" formatCode="m/d/yyyy">
                  <c:v>43717</c:v>
                </c:pt>
                <c:pt idx="6096" formatCode="m/d/yyyy">
                  <c:v>43718</c:v>
                </c:pt>
                <c:pt idx="6097" formatCode="m/d/yyyy">
                  <c:v>43719</c:v>
                </c:pt>
                <c:pt idx="6098" formatCode="m/d/yyyy">
                  <c:v>43720</c:v>
                </c:pt>
                <c:pt idx="6099" formatCode="m/d/yyyy">
                  <c:v>43721</c:v>
                </c:pt>
                <c:pt idx="6100" formatCode="m/d/yyyy">
                  <c:v>43722</c:v>
                </c:pt>
                <c:pt idx="6101" formatCode="m/d/yyyy">
                  <c:v>43723</c:v>
                </c:pt>
                <c:pt idx="6102" formatCode="m/d/yyyy">
                  <c:v>43724</c:v>
                </c:pt>
                <c:pt idx="6103" formatCode="m/d/yyyy">
                  <c:v>43725</c:v>
                </c:pt>
                <c:pt idx="6104" formatCode="m/d/yyyy">
                  <c:v>43726</c:v>
                </c:pt>
                <c:pt idx="6105" formatCode="m/d/yyyy">
                  <c:v>43727</c:v>
                </c:pt>
                <c:pt idx="6106" formatCode="m/d/yyyy">
                  <c:v>43728</c:v>
                </c:pt>
                <c:pt idx="6107" formatCode="m/d/yyyy">
                  <c:v>43729</c:v>
                </c:pt>
                <c:pt idx="6108" formatCode="m/d/yyyy">
                  <c:v>43730</c:v>
                </c:pt>
                <c:pt idx="6109" formatCode="m/d/yyyy">
                  <c:v>43731</c:v>
                </c:pt>
                <c:pt idx="6110" formatCode="m/d/yyyy">
                  <c:v>43732</c:v>
                </c:pt>
                <c:pt idx="6111" formatCode="m/d/yyyy">
                  <c:v>43733</c:v>
                </c:pt>
                <c:pt idx="6112" formatCode="m/d/yyyy">
                  <c:v>43734</c:v>
                </c:pt>
                <c:pt idx="6113" formatCode="m/d/yyyy">
                  <c:v>43735</c:v>
                </c:pt>
                <c:pt idx="6114" formatCode="m/d/yyyy">
                  <c:v>43736</c:v>
                </c:pt>
                <c:pt idx="6115" formatCode="m/d/yyyy">
                  <c:v>43737</c:v>
                </c:pt>
                <c:pt idx="6116" formatCode="m/d/yyyy">
                  <c:v>43738</c:v>
                </c:pt>
                <c:pt idx="6117" formatCode="m/d/yyyy">
                  <c:v>43739</c:v>
                </c:pt>
                <c:pt idx="6118" formatCode="m/d/yyyy">
                  <c:v>43740</c:v>
                </c:pt>
                <c:pt idx="6119" formatCode="m/d/yyyy">
                  <c:v>43741</c:v>
                </c:pt>
                <c:pt idx="6120" formatCode="m/d/yyyy">
                  <c:v>43742</c:v>
                </c:pt>
                <c:pt idx="6121" formatCode="m/d/yyyy">
                  <c:v>43743</c:v>
                </c:pt>
                <c:pt idx="6122" formatCode="m/d/yyyy">
                  <c:v>43744</c:v>
                </c:pt>
                <c:pt idx="6123" formatCode="m/d/yyyy">
                  <c:v>43745</c:v>
                </c:pt>
                <c:pt idx="6124" formatCode="m/d/yyyy">
                  <c:v>43746</c:v>
                </c:pt>
                <c:pt idx="6125" formatCode="m/d/yyyy">
                  <c:v>43747</c:v>
                </c:pt>
                <c:pt idx="6126" formatCode="m/d/yyyy">
                  <c:v>43748</c:v>
                </c:pt>
                <c:pt idx="6127" formatCode="m/d/yyyy">
                  <c:v>43749</c:v>
                </c:pt>
                <c:pt idx="6128" formatCode="m/d/yyyy">
                  <c:v>43750</c:v>
                </c:pt>
                <c:pt idx="6129" formatCode="m/d/yyyy">
                  <c:v>43751</c:v>
                </c:pt>
                <c:pt idx="6130" formatCode="m/d/yyyy">
                  <c:v>43752</c:v>
                </c:pt>
                <c:pt idx="6131" formatCode="m/d/yyyy">
                  <c:v>43753</c:v>
                </c:pt>
                <c:pt idx="6132" formatCode="m/d/yyyy">
                  <c:v>43754</c:v>
                </c:pt>
                <c:pt idx="6133" formatCode="m/d/yyyy">
                  <c:v>43755</c:v>
                </c:pt>
                <c:pt idx="6134" formatCode="m/d/yyyy">
                  <c:v>43756</c:v>
                </c:pt>
                <c:pt idx="6135" formatCode="m/d/yyyy">
                  <c:v>43757</c:v>
                </c:pt>
                <c:pt idx="6136" formatCode="m/d/yyyy">
                  <c:v>43758</c:v>
                </c:pt>
                <c:pt idx="6137" formatCode="m/d/yyyy">
                  <c:v>43759</c:v>
                </c:pt>
                <c:pt idx="6138" formatCode="m/d/yyyy">
                  <c:v>43760</c:v>
                </c:pt>
                <c:pt idx="6139" formatCode="m/d/yyyy">
                  <c:v>43761</c:v>
                </c:pt>
                <c:pt idx="6140" formatCode="m/d/yyyy">
                  <c:v>43762</c:v>
                </c:pt>
                <c:pt idx="6141" formatCode="m/d/yyyy">
                  <c:v>43763</c:v>
                </c:pt>
                <c:pt idx="6142" formatCode="m/d/yyyy">
                  <c:v>43764</c:v>
                </c:pt>
                <c:pt idx="6143" formatCode="m/d/yyyy">
                  <c:v>43765</c:v>
                </c:pt>
                <c:pt idx="6144" formatCode="m/d/yyyy">
                  <c:v>43766</c:v>
                </c:pt>
                <c:pt idx="6145" formatCode="m/d/yyyy">
                  <c:v>43767</c:v>
                </c:pt>
                <c:pt idx="6146" formatCode="m/d/yyyy">
                  <c:v>43768</c:v>
                </c:pt>
                <c:pt idx="6147" formatCode="m/d/yyyy">
                  <c:v>43769</c:v>
                </c:pt>
                <c:pt idx="6148" formatCode="m/d/yyyy">
                  <c:v>43770</c:v>
                </c:pt>
                <c:pt idx="6149" formatCode="m/d/yyyy">
                  <c:v>43771</c:v>
                </c:pt>
                <c:pt idx="6150" formatCode="m/d/yyyy">
                  <c:v>43772</c:v>
                </c:pt>
                <c:pt idx="6151" formatCode="m/d/yyyy">
                  <c:v>43773</c:v>
                </c:pt>
                <c:pt idx="6152" formatCode="m/d/yyyy">
                  <c:v>43774</c:v>
                </c:pt>
                <c:pt idx="6153" formatCode="m/d/yyyy">
                  <c:v>43775</c:v>
                </c:pt>
                <c:pt idx="6154" formatCode="m/d/yyyy">
                  <c:v>43776</c:v>
                </c:pt>
                <c:pt idx="6155" formatCode="m/d/yyyy">
                  <c:v>43777</c:v>
                </c:pt>
                <c:pt idx="6156" formatCode="m/d/yyyy">
                  <c:v>43778</c:v>
                </c:pt>
                <c:pt idx="6157" formatCode="m/d/yyyy">
                  <c:v>43779</c:v>
                </c:pt>
                <c:pt idx="6158" formatCode="m/d/yyyy">
                  <c:v>43780</c:v>
                </c:pt>
                <c:pt idx="6159" formatCode="m/d/yyyy">
                  <c:v>43781</c:v>
                </c:pt>
                <c:pt idx="6160" formatCode="m/d/yyyy">
                  <c:v>43782</c:v>
                </c:pt>
                <c:pt idx="6161" formatCode="m/d/yyyy">
                  <c:v>43783</c:v>
                </c:pt>
                <c:pt idx="6162" formatCode="m/d/yyyy">
                  <c:v>43784</c:v>
                </c:pt>
                <c:pt idx="6163" formatCode="m/d/yyyy">
                  <c:v>43785</c:v>
                </c:pt>
                <c:pt idx="6164" formatCode="m/d/yyyy">
                  <c:v>43786</c:v>
                </c:pt>
                <c:pt idx="6165" formatCode="m/d/yyyy">
                  <c:v>43787</c:v>
                </c:pt>
                <c:pt idx="6166" formatCode="m/d/yyyy">
                  <c:v>43788</c:v>
                </c:pt>
                <c:pt idx="6167" formatCode="m/d/yyyy">
                  <c:v>43789</c:v>
                </c:pt>
                <c:pt idx="6168" formatCode="m/d/yyyy">
                  <c:v>43790</c:v>
                </c:pt>
                <c:pt idx="6169" formatCode="m/d/yyyy">
                  <c:v>43791</c:v>
                </c:pt>
                <c:pt idx="6170" formatCode="m/d/yyyy">
                  <c:v>43792</c:v>
                </c:pt>
                <c:pt idx="6171" formatCode="m/d/yyyy">
                  <c:v>43793</c:v>
                </c:pt>
                <c:pt idx="6172" formatCode="m/d/yyyy">
                  <c:v>43794</c:v>
                </c:pt>
                <c:pt idx="6173" formatCode="m/d/yyyy">
                  <c:v>43795</c:v>
                </c:pt>
                <c:pt idx="6174" formatCode="m/d/yyyy">
                  <c:v>43796</c:v>
                </c:pt>
                <c:pt idx="6175" formatCode="m/d/yyyy">
                  <c:v>43797</c:v>
                </c:pt>
                <c:pt idx="6176" formatCode="m/d/yyyy">
                  <c:v>43798</c:v>
                </c:pt>
                <c:pt idx="6177" formatCode="m/d/yyyy">
                  <c:v>43799</c:v>
                </c:pt>
                <c:pt idx="6178" formatCode="m/d/yyyy">
                  <c:v>43800</c:v>
                </c:pt>
                <c:pt idx="6179" formatCode="m/d/yyyy">
                  <c:v>43801</c:v>
                </c:pt>
                <c:pt idx="6180" formatCode="m/d/yyyy">
                  <c:v>43802</c:v>
                </c:pt>
                <c:pt idx="6181" formatCode="m/d/yyyy">
                  <c:v>43803</c:v>
                </c:pt>
                <c:pt idx="6182" formatCode="m/d/yyyy">
                  <c:v>43804</c:v>
                </c:pt>
                <c:pt idx="6183" formatCode="m/d/yyyy">
                  <c:v>43805</c:v>
                </c:pt>
                <c:pt idx="6184" formatCode="m/d/yyyy">
                  <c:v>43806</c:v>
                </c:pt>
                <c:pt idx="6185" formatCode="m/d/yyyy">
                  <c:v>43807</c:v>
                </c:pt>
                <c:pt idx="6186" formatCode="m/d/yyyy">
                  <c:v>43808</c:v>
                </c:pt>
                <c:pt idx="6187" formatCode="m/d/yyyy">
                  <c:v>43809</c:v>
                </c:pt>
                <c:pt idx="6188" formatCode="m/d/yyyy">
                  <c:v>43810</c:v>
                </c:pt>
                <c:pt idx="6189" formatCode="m/d/yyyy">
                  <c:v>43811</c:v>
                </c:pt>
                <c:pt idx="6190" formatCode="m/d/yyyy">
                  <c:v>43812</c:v>
                </c:pt>
                <c:pt idx="6191" formatCode="m/d/yyyy">
                  <c:v>43813</c:v>
                </c:pt>
                <c:pt idx="6192" formatCode="m/d/yyyy">
                  <c:v>43814</c:v>
                </c:pt>
                <c:pt idx="6193" formatCode="m/d/yyyy">
                  <c:v>43815</c:v>
                </c:pt>
                <c:pt idx="6194" formatCode="m/d/yyyy">
                  <c:v>43816</c:v>
                </c:pt>
                <c:pt idx="6195" formatCode="m/d/yyyy">
                  <c:v>43817</c:v>
                </c:pt>
                <c:pt idx="6196" formatCode="m/d/yyyy">
                  <c:v>43818</c:v>
                </c:pt>
                <c:pt idx="6197" formatCode="m/d/yyyy">
                  <c:v>43819</c:v>
                </c:pt>
                <c:pt idx="6198" formatCode="m/d/yyyy">
                  <c:v>43820</c:v>
                </c:pt>
                <c:pt idx="6199" formatCode="m/d/yyyy">
                  <c:v>43821</c:v>
                </c:pt>
                <c:pt idx="6200" formatCode="m/d/yyyy">
                  <c:v>43822</c:v>
                </c:pt>
                <c:pt idx="6201" formatCode="m/d/yyyy">
                  <c:v>43823</c:v>
                </c:pt>
                <c:pt idx="6202" formatCode="m/d/yyyy">
                  <c:v>43824</c:v>
                </c:pt>
                <c:pt idx="6203" formatCode="m/d/yyyy">
                  <c:v>43825</c:v>
                </c:pt>
                <c:pt idx="6204" formatCode="m/d/yyyy">
                  <c:v>43826</c:v>
                </c:pt>
                <c:pt idx="6205" formatCode="m/d/yyyy">
                  <c:v>43827</c:v>
                </c:pt>
                <c:pt idx="6206" formatCode="m/d/yyyy">
                  <c:v>43828</c:v>
                </c:pt>
                <c:pt idx="6207" formatCode="m/d/yyyy">
                  <c:v>43829</c:v>
                </c:pt>
                <c:pt idx="6208" formatCode="m/d/yyyy">
                  <c:v>43830</c:v>
                </c:pt>
                <c:pt idx="6209" formatCode="m/d/yyyy">
                  <c:v>43831</c:v>
                </c:pt>
                <c:pt idx="6210" formatCode="m/d/yyyy">
                  <c:v>43832</c:v>
                </c:pt>
                <c:pt idx="6211" formatCode="m/d/yyyy">
                  <c:v>43833</c:v>
                </c:pt>
                <c:pt idx="6212" formatCode="m/d/yyyy">
                  <c:v>43834</c:v>
                </c:pt>
                <c:pt idx="6213" formatCode="m/d/yyyy">
                  <c:v>43835</c:v>
                </c:pt>
                <c:pt idx="6214" formatCode="m/d/yyyy">
                  <c:v>43836</c:v>
                </c:pt>
                <c:pt idx="6215" formatCode="m/d/yyyy">
                  <c:v>43837</c:v>
                </c:pt>
                <c:pt idx="6216" formatCode="m/d/yyyy">
                  <c:v>43838</c:v>
                </c:pt>
                <c:pt idx="6217" formatCode="m/d/yyyy">
                  <c:v>43839</c:v>
                </c:pt>
                <c:pt idx="6218" formatCode="m/d/yyyy">
                  <c:v>43840</c:v>
                </c:pt>
                <c:pt idx="6219" formatCode="m/d/yyyy">
                  <c:v>43841</c:v>
                </c:pt>
                <c:pt idx="6220" formatCode="m/d/yyyy">
                  <c:v>43842</c:v>
                </c:pt>
                <c:pt idx="6221" formatCode="m/d/yyyy">
                  <c:v>43843</c:v>
                </c:pt>
                <c:pt idx="6222" formatCode="m/d/yyyy">
                  <c:v>43844</c:v>
                </c:pt>
                <c:pt idx="6223" formatCode="m/d/yyyy">
                  <c:v>43845</c:v>
                </c:pt>
                <c:pt idx="6224" formatCode="m/d/yyyy">
                  <c:v>43846</c:v>
                </c:pt>
                <c:pt idx="6225" formatCode="m/d/yyyy">
                  <c:v>43847</c:v>
                </c:pt>
                <c:pt idx="6226" formatCode="m/d/yyyy">
                  <c:v>43848</c:v>
                </c:pt>
                <c:pt idx="6227" formatCode="m/d/yyyy">
                  <c:v>43849</c:v>
                </c:pt>
                <c:pt idx="6228" formatCode="m/d/yyyy">
                  <c:v>43850</c:v>
                </c:pt>
                <c:pt idx="6229" formatCode="m/d/yyyy">
                  <c:v>43851</c:v>
                </c:pt>
                <c:pt idx="6230" formatCode="m/d/yyyy">
                  <c:v>43852</c:v>
                </c:pt>
                <c:pt idx="6231" formatCode="m/d/yyyy">
                  <c:v>43853</c:v>
                </c:pt>
                <c:pt idx="6232" formatCode="m/d/yyyy">
                  <c:v>43854</c:v>
                </c:pt>
                <c:pt idx="6233" formatCode="m/d/yyyy">
                  <c:v>43855</c:v>
                </c:pt>
                <c:pt idx="6234" formatCode="m/d/yyyy">
                  <c:v>43856</c:v>
                </c:pt>
                <c:pt idx="6235" formatCode="m/d/yyyy">
                  <c:v>43857</c:v>
                </c:pt>
                <c:pt idx="6236" formatCode="m/d/yyyy">
                  <c:v>43858</c:v>
                </c:pt>
                <c:pt idx="6237" formatCode="m/d/yyyy">
                  <c:v>43859</c:v>
                </c:pt>
                <c:pt idx="6238" formatCode="m/d/yyyy">
                  <c:v>43860</c:v>
                </c:pt>
                <c:pt idx="6239" formatCode="m/d/yyyy">
                  <c:v>43861</c:v>
                </c:pt>
                <c:pt idx="6240" formatCode="m/d/yyyy">
                  <c:v>43862</c:v>
                </c:pt>
                <c:pt idx="6241" formatCode="m/d/yyyy">
                  <c:v>43863</c:v>
                </c:pt>
                <c:pt idx="6242" formatCode="m/d/yyyy">
                  <c:v>43864</c:v>
                </c:pt>
                <c:pt idx="6243" formatCode="m/d/yyyy">
                  <c:v>43865</c:v>
                </c:pt>
                <c:pt idx="6244" formatCode="m/d/yyyy">
                  <c:v>43866</c:v>
                </c:pt>
                <c:pt idx="6245" formatCode="m/d/yyyy">
                  <c:v>43867</c:v>
                </c:pt>
                <c:pt idx="6246" formatCode="m/d/yyyy">
                  <c:v>43868</c:v>
                </c:pt>
                <c:pt idx="6247" formatCode="m/d/yyyy">
                  <c:v>43869</c:v>
                </c:pt>
                <c:pt idx="6248" formatCode="m/d/yyyy">
                  <c:v>43870</c:v>
                </c:pt>
                <c:pt idx="6249" formatCode="m/d/yyyy">
                  <c:v>43871</c:v>
                </c:pt>
                <c:pt idx="6250" formatCode="m/d/yyyy">
                  <c:v>43872</c:v>
                </c:pt>
                <c:pt idx="6251" formatCode="m/d/yyyy">
                  <c:v>43873</c:v>
                </c:pt>
                <c:pt idx="6252" formatCode="m/d/yyyy">
                  <c:v>43874</c:v>
                </c:pt>
                <c:pt idx="6253" formatCode="m/d/yyyy">
                  <c:v>43875</c:v>
                </c:pt>
                <c:pt idx="6254" formatCode="m/d/yyyy">
                  <c:v>43876</c:v>
                </c:pt>
                <c:pt idx="6255" formatCode="m/d/yyyy">
                  <c:v>43877</c:v>
                </c:pt>
                <c:pt idx="6256" formatCode="m/d/yyyy">
                  <c:v>43878</c:v>
                </c:pt>
                <c:pt idx="6257" formatCode="m/d/yyyy">
                  <c:v>43879</c:v>
                </c:pt>
                <c:pt idx="6258" formatCode="m/d/yyyy">
                  <c:v>43880</c:v>
                </c:pt>
                <c:pt idx="6259" formatCode="m/d/yyyy">
                  <c:v>43881</c:v>
                </c:pt>
                <c:pt idx="6260" formatCode="m/d/yyyy">
                  <c:v>43882</c:v>
                </c:pt>
                <c:pt idx="6261" formatCode="m/d/yyyy">
                  <c:v>43883</c:v>
                </c:pt>
                <c:pt idx="6262" formatCode="m/d/yyyy">
                  <c:v>43884</c:v>
                </c:pt>
                <c:pt idx="6263" formatCode="m/d/yyyy">
                  <c:v>43885</c:v>
                </c:pt>
                <c:pt idx="6264" formatCode="m/d/yyyy">
                  <c:v>43886</c:v>
                </c:pt>
                <c:pt idx="6265" formatCode="m/d/yyyy">
                  <c:v>43887</c:v>
                </c:pt>
                <c:pt idx="6266" formatCode="m/d/yyyy">
                  <c:v>43888</c:v>
                </c:pt>
                <c:pt idx="6267" formatCode="m/d/yyyy">
                  <c:v>43889</c:v>
                </c:pt>
                <c:pt idx="6268" formatCode="m/d/yyyy">
                  <c:v>43890</c:v>
                </c:pt>
                <c:pt idx="6269" formatCode="m/d/yyyy">
                  <c:v>43891</c:v>
                </c:pt>
                <c:pt idx="6270" formatCode="m/d/yyyy">
                  <c:v>43892</c:v>
                </c:pt>
                <c:pt idx="6271" formatCode="m/d/yyyy">
                  <c:v>43893</c:v>
                </c:pt>
                <c:pt idx="6272" formatCode="m/d/yyyy">
                  <c:v>43894</c:v>
                </c:pt>
                <c:pt idx="6273" formatCode="m/d/yyyy">
                  <c:v>43895</c:v>
                </c:pt>
                <c:pt idx="6274" formatCode="m/d/yyyy">
                  <c:v>43896</c:v>
                </c:pt>
                <c:pt idx="6275" formatCode="m/d/yyyy">
                  <c:v>43897</c:v>
                </c:pt>
                <c:pt idx="6276" formatCode="m/d/yyyy">
                  <c:v>43898</c:v>
                </c:pt>
                <c:pt idx="6277" formatCode="m/d/yyyy">
                  <c:v>43899</c:v>
                </c:pt>
                <c:pt idx="6278" formatCode="m/d/yyyy">
                  <c:v>43900</c:v>
                </c:pt>
                <c:pt idx="6279" formatCode="m/d/yyyy">
                  <c:v>43901</c:v>
                </c:pt>
                <c:pt idx="6280" formatCode="m/d/yyyy">
                  <c:v>43902</c:v>
                </c:pt>
                <c:pt idx="6281" formatCode="m/d/yyyy">
                  <c:v>43903</c:v>
                </c:pt>
                <c:pt idx="6282" formatCode="m/d/yyyy">
                  <c:v>43904</c:v>
                </c:pt>
                <c:pt idx="6283" formatCode="m/d/yyyy">
                  <c:v>43905</c:v>
                </c:pt>
                <c:pt idx="6284" formatCode="m/d/yyyy">
                  <c:v>43906</c:v>
                </c:pt>
                <c:pt idx="6285" formatCode="m/d/yyyy">
                  <c:v>43907</c:v>
                </c:pt>
                <c:pt idx="6286" formatCode="m/d/yyyy">
                  <c:v>43908</c:v>
                </c:pt>
                <c:pt idx="6287" formatCode="m/d/yyyy">
                  <c:v>43909</c:v>
                </c:pt>
                <c:pt idx="6288" formatCode="m/d/yyyy">
                  <c:v>43910</c:v>
                </c:pt>
                <c:pt idx="6289" formatCode="m/d/yyyy">
                  <c:v>43911</c:v>
                </c:pt>
                <c:pt idx="6290" formatCode="m/d/yyyy">
                  <c:v>43912</c:v>
                </c:pt>
                <c:pt idx="6291" formatCode="m/d/yyyy">
                  <c:v>43913</c:v>
                </c:pt>
                <c:pt idx="6292" formatCode="m/d/yyyy">
                  <c:v>43914</c:v>
                </c:pt>
                <c:pt idx="6293" formatCode="m/d/yyyy">
                  <c:v>43915</c:v>
                </c:pt>
                <c:pt idx="6294" formatCode="m/d/yyyy">
                  <c:v>43916</c:v>
                </c:pt>
                <c:pt idx="6295" formatCode="m/d/yyyy">
                  <c:v>43917</c:v>
                </c:pt>
                <c:pt idx="6296" formatCode="m/d/yyyy">
                  <c:v>43918</c:v>
                </c:pt>
                <c:pt idx="6297" formatCode="m/d/yyyy">
                  <c:v>43919</c:v>
                </c:pt>
                <c:pt idx="6298" formatCode="m/d/yyyy">
                  <c:v>43920</c:v>
                </c:pt>
                <c:pt idx="6299" formatCode="m/d/yyyy">
                  <c:v>43921</c:v>
                </c:pt>
                <c:pt idx="6300" formatCode="m/d/yyyy">
                  <c:v>43922</c:v>
                </c:pt>
                <c:pt idx="6301" formatCode="m/d/yyyy">
                  <c:v>43923</c:v>
                </c:pt>
                <c:pt idx="6302" formatCode="m/d/yyyy">
                  <c:v>43924</c:v>
                </c:pt>
                <c:pt idx="6303" formatCode="m/d/yyyy">
                  <c:v>43925</c:v>
                </c:pt>
                <c:pt idx="6304" formatCode="m/d/yyyy">
                  <c:v>43926</c:v>
                </c:pt>
                <c:pt idx="6305" formatCode="m/d/yyyy">
                  <c:v>43927</c:v>
                </c:pt>
                <c:pt idx="6306" formatCode="m/d/yyyy">
                  <c:v>43928</c:v>
                </c:pt>
                <c:pt idx="6307" formatCode="m/d/yyyy">
                  <c:v>43929</c:v>
                </c:pt>
                <c:pt idx="6308" formatCode="m/d/yyyy">
                  <c:v>43930</c:v>
                </c:pt>
                <c:pt idx="6309" formatCode="m/d/yyyy">
                  <c:v>43931</c:v>
                </c:pt>
                <c:pt idx="6310" formatCode="m/d/yyyy">
                  <c:v>43932</c:v>
                </c:pt>
                <c:pt idx="6311" formatCode="m/d/yyyy">
                  <c:v>43933</c:v>
                </c:pt>
                <c:pt idx="6312" formatCode="m/d/yyyy">
                  <c:v>43934</c:v>
                </c:pt>
                <c:pt idx="6313" formatCode="m/d/yyyy">
                  <c:v>43935</c:v>
                </c:pt>
                <c:pt idx="6314" formatCode="m/d/yyyy">
                  <c:v>43936</c:v>
                </c:pt>
                <c:pt idx="6315" formatCode="m/d/yyyy">
                  <c:v>43937</c:v>
                </c:pt>
                <c:pt idx="6316" formatCode="m/d/yyyy">
                  <c:v>43938</c:v>
                </c:pt>
                <c:pt idx="6317" formatCode="m/d/yyyy">
                  <c:v>43939</c:v>
                </c:pt>
                <c:pt idx="6318" formatCode="m/d/yyyy">
                  <c:v>43940</c:v>
                </c:pt>
                <c:pt idx="6319" formatCode="m/d/yyyy">
                  <c:v>43941</c:v>
                </c:pt>
                <c:pt idx="6320" formatCode="m/d/yyyy">
                  <c:v>43942</c:v>
                </c:pt>
                <c:pt idx="6321" formatCode="m/d/yyyy">
                  <c:v>43943</c:v>
                </c:pt>
                <c:pt idx="6322" formatCode="m/d/yyyy">
                  <c:v>43944</c:v>
                </c:pt>
                <c:pt idx="6323" formatCode="m/d/yyyy">
                  <c:v>43945</c:v>
                </c:pt>
                <c:pt idx="6324" formatCode="m/d/yyyy">
                  <c:v>43946</c:v>
                </c:pt>
                <c:pt idx="6325" formatCode="m/d/yyyy">
                  <c:v>43947</c:v>
                </c:pt>
                <c:pt idx="6326" formatCode="m/d/yyyy">
                  <c:v>43948</c:v>
                </c:pt>
                <c:pt idx="6327" formatCode="m/d/yyyy">
                  <c:v>43949</c:v>
                </c:pt>
                <c:pt idx="6328" formatCode="m/d/yyyy">
                  <c:v>43950</c:v>
                </c:pt>
                <c:pt idx="6329" formatCode="m/d/yyyy">
                  <c:v>43951</c:v>
                </c:pt>
                <c:pt idx="6330" formatCode="m/d/yyyy">
                  <c:v>43952</c:v>
                </c:pt>
                <c:pt idx="6331" formatCode="m/d/yyyy">
                  <c:v>43953</c:v>
                </c:pt>
                <c:pt idx="6332" formatCode="m/d/yyyy">
                  <c:v>43954</c:v>
                </c:pt>
                <c:pt idx="6333" formatCode="m/d/yyyy">
                  <c:v>43955</c:v>
                </c:pt>
                <c:pt idx="6334" formatCode="m/d/yyyy">
                  <c:v>43956</c:v>
                </c:pt>
                <c:pt idx="6335" formatCode="m/d/yyyy">
                  <c:v>43957</c:v>
                </c:pt>
                <c:pt idx="6336" formatCode="m/d/yyyy">
                  <c:v>43958</c:v>
                </c:pt>
                <c:pt idx="6337" formatCode="m/d/yyyy">
                  <c:v>43959</c:v>
                </c:pt>
                <c:pt idx="6338" formatCode="m/d/yyyy">
                  <c:v>43960</c:v>
                </c:pt>
                <c:pt idx="6339" formatCode="m/d/yyyy">
                  <c:v>43961</c:v>
                </c:pt>
                <c:pt idx="6340" formatCode="m/d/yyyy">
                  <c:v>43962</c:v>
                </c:pt>
                <c:pt idx="6341" formatCode="m/d/yyyy">
                  <c:v>43963</c:v>
                </c:pt>
                <c:pt idx="6342" formatCode="m/d/yyyy">
                  <c:v>43964</c:v>
                </c:pt>
                <c:pt idx="6343" formatCode="m/d/yyyy">
                  <c:v>43965</c:v>
                </c:pt>
                <c:pt idx="6344" formatCode="m/d/yyyy">
                  <c:v>43966</c:v>
                </c:pt>
                <c:pt idx="6345" formatCode="m/d/yyyy">
                  <c:v>43967</c:v>
                </c:pt>
                <c:pt idx="6346" formatCode="m/d/yyyy">
                  <c:v>43968</c:v>
                </c:pt>
                <c:pt idx="6347" formatCode="m/d/yyyy">
                  <c:v>43969</c:v>
                </c:pt>
                <c:pt idx="6348" formatCode="m/d/yyyy">
                  <c:v>43970</c:v>
                </c:pt>
                <c:pt idx="6349" formatCode="m/d/yyyy">
                  <c:v>43971</c:v>
                </c:pt>
                <c:pt idx="6350" formatCode="m/d/yyyy">
                  <c:v>43972</c:v>
                </c:pt>
                <c:pt idx="6351" formatCode="m/d/yyyy">
                  <c:v>43973</c:v>
                </c:pt>
                <c:pt idx="6352" formatCode="m/d/yyyy">
                  <c:v>43974</c:v>
                </c:pt>
                <c:pt idx="6353" formatCode="m/d/yyyy">
                  <c:v>43975</c:v>
                </c:pt>
                <c:pt idx="6354" formatCode="m/d/yyyy">
                  <c:v>43976</c:v>
                </c:pt>
                <c:pt idx="6355" formatCode="m/d/yyyy">
                  <c:v>43977</c:v>
                </c:pt>
                <c:pt idx="6356" formatCode="m/d/yyyy">
                  <c:v>43978</c:v>
                </c:pt>
                <c:pt idx="6357" formatCode="m/d/yyyy">
                  <c:v>43979</c:v>
                </c:pt>
                <c:pt idx="6358" formatCode="m/d/yyyy">
                  <c:v>43980</c:v>
                </c:pt>
                <c:pt idx="6359" formatCode="m/d/yyyy">
                  <c:v>43981</c:v>
                </c:pt>
                <c:pt idx="6360" formatCode="m/d/yyyy">
                  <c:v>43982</c:v>
                </c:pt>
                <c:pt idx="6361" formatCode="m/d/yyyy">
                  <c:v>43983</c:v>
                </c:pt>
                <c:pt idx="6362" formatCode="m/d/yyyy">
                  <c:v>43984</c:v>
                </c:pt>
                <c:pt idx="6363" formatCode="m/d/yyyy">
                  <c:v>43985</c:v>
                </c:pt>
                <c:pt idx="6364" formatCode="m/d/yyyy">
                  <c:v>43986</c:v>
                </c:pt>
                <c:pt idx="6365" formatCode="m/d/yyyy">
                  <c:v>43987</c:v>
                </c:pt>
                <c:pt idx="6366" formatCode="m/d/yyyy">
                  <c:v>43988</c:v>
                </c:pt>
                <c:pt idx="6367" formatCode="m/d/yyyy">
                  <c:v>43989</c:v>
                </c:pt>
                <c:pt idx="6368" formatCode="m/d/yyyy">
                  <c:v>43990</c:v>
                </c:pt>
                <c:pt idx="6369" formatCode="m/d/yyyy">
                  <c:v>43991</c:v>
                </c:pt>
                <c:pt idx="6370" formatCode="m/d/yyyy">
                  <c:v>43992</c:v>
                </c:pt>
                <c:pt idx="6371" formatCode="m/d/yyyy">
                  <c:v>43993</c:v>
                </c:pt>
                <c:pt idx="6372" formatCode="m/d/yyyy">
                  <c:v>43994</c:v>
                </c:pt>
                <c:pt idx="6373" formatCode="m/d/yyyy">
                  <c:v>43995</c:v>
                </c:pt>
                <c:pt idx="6374" formatCode="m/d/yyyy">
                  <c:v>43996</c:v>
                </c:pt>
                <c:pt idx="6375" formatCode="m/d/yyyy">
                  <c:v>43997</c:v>
                </c:pt>
                <c:pt idx="6376" formatCode="m/d/yyyy">
                  <c:v>43998</c:v>
                </c:pt>
                <c:pt idx="6377" formatCode="m/d/yyyy">
                  <c:v>43999</c:v>
                </c:pt>
                <c:pt idx="6378" formatCode="m/d/yyyy">
                  <c:v>44000</c:v>
                </c:pt>
                <c:pt idx="6379" formatCode="m/d/yyyy">
                  <c:v>44001</c:v>
                </c:pt>
                <c:pt idx="6380" formatCode="m/d/yyyy">
                  <c:v>44002</c:v>
                </c:pt>
                <c:pt idx="6381" formatCode="m/d/yyyy">
                  <c:v>44003</c:v>
                </c:pt>
                <c:pt idx="6382" formatCode="m/d/yyyy">
                  <c:v>44004</c:v>
                </c:pt>
                <c:pt idx="6383" formatCode="m/d/yyyy">
                  <c:v>44005</c:v>
                </c:pt>
                <c:pt idx="6384" formatCode="m/d/yyyy">
                  <c:v>44006</c:v>
                </c:pt>
                <c:pt idx="6385" formatCode="m/d/yyyy">
                  <c:v>44007</c:v>
                </c:pt>
                <c:pt idx="6386" formatCode="m/d/yyyy">
                  <c:v>44008</c:v>
                </c:pt>
                <c:pt idx="6387" formatCode="m/d/yyyy">
                  <c:v>44009</c:v>
                </c:pt>
                <c:pt idx="6388" formatCode="m/d/yyyy">
                  <c:v>44010</c:v>
                </c:pt>
                <c:pt idx="6389" formatCode="m/d/yyyy">
                  <c:v>44011</c:v>
                </c:pt>
                <c:pt idx="6390" formatCode="m/d/yyyy">
                  <c:v>44012</c:v>
                </c:pt>
                <c:pt idx="6391" formatCode="m/d/yyyy">
                  <c:v>44013</c:v>
                </c:pt>
                <c:pt idx="6392" formatCode="m/d/yyyy">
                  <c:v>44014</c:v>
                </c:pt>
                <c:pt idx="6393" formatCode="m/d/yyyy">
                  <c:v>44015</c:v>
                </c:pt>
                <c:pt idx="6394" formatCode="m/d/yyyy">
                  <c:v>44016</c:v>
                </c:pt>
                <c:pt idx="6395" formatCode="m/d/yyyy">
                  <c:v>44017</c:v>
                </c:pt>
                <c:pt idx="6396" formatCode="m/d/yyyy">
                  <c:v>44018</c:v>
                </c:pt>
                <c:pt idx="6397" formatCode="m/d/yyyy">
                  <c:v>44019</c:v>
                </c:pt>
                <c:pt idx="6398" formatCode="m/d/yyyy">
                  <c:v>44020</c:v>
                </c:pt>
                <c:pt idx="6399" formatCode="m/d/yyyy">
                  <c:v>44021</c:v>
                </c:pt>
                <c:pt idx="6400" formatCode="m/d/yyyy">
                  <c:v>44022</c:v>
                </c:pt>
                <c:pt idx="6401" formatCode="m/d/yyyy">
                  <c:v>44023</c:v>
                </c:pt>
                <c:pt idx="6402" formatCode="m/d/yyyy">
                  <c:v>44024</c:v>
                </c:pt>
                <c:pt idx="6403" formatCode="m/d/yyyy">
                  <c:v>44025</c:v>
                </c:pt>
                <c:pt idx="6404" formatCode="m/d/yyyy">
                  <c:v>44026</c:v>
                </c:pt>
                <c:pt idx="6405" formatCode="m/d/yyyy">
                  <c:v>44027</c:v>
                </c:pt>
                <c:pt idx="6406" formatCode="m/d/yyyy">
                  <c:v>44028</c:v>
                </c:pt>
                <c:pt idx="6407" formatCode="m/d/yyyy">
                  <c:v>44029</c:v>
                </c:pt>
                <c:pt idx="6408" formatCode="m/d/yyyy">
                  <c:v>44030</c:v>
                </c:pt>
                <c:pt idx="6409" formatCode="m/d/yyyy">
                  <c:v>44031</c:v>
                </c:pt>
                <c:pt idx="6410" formatCode="m/d/yyyy">
                  <c:v>44032</c:v>
                </c:pt>
                <c:pt idx="6411" formatCode="m/d/yyyy">
                  <c:v>44033</c:v>
                </c:pt>
                <c:pt idx="6412" formatCode="m/d/yyyy">
                  <c:v>44034</c:v>
                </c:pt>
                <c:pt idx="6413" formatCode="m/d/yyyy">
                  <c:v>44035</c:v>
                </c:pt>
                <c:pt idx="6414" formatCode="m/d/yyyy">
                  <c:v>44036</c:v>
                </c:pt>
                <c:pt idx="6415" formatCode="m/d/yyyy">
                  <c:v>44037</c:v>
                </c:pt>
                <c:pt idx="6416" formatCode="m/d/yyyy">
                  <c:v>44038</c:v>
                </c:pt>
                <c:pt idx="6417" formatCode="m/d/yyyy">
                  <c:v>44039</c:v>
                </c:pt>
                <c:pt idx="6418" formatCode="m/d/yyyy">
                  <c:v>44040</c:v>
                </c:pt>
                <c:pt idx="6419" formatCode="m/d/yyyy">
                  <c:v>44041</c:v>
                </c:pt>
                <c:pt idx="6420" formatCode="m/d/yyyy">
                  <c:v>44042</c:v>
                </c:pt>
                <c:pt idx="6421" formatCode="m/d/yyyy">
                  <c:v>44043</c:v>
                </c:pt>
                <c:pt idx="6422" formatCode="m/d/yyyy">
                  <c:v>44044</c:v>
                </c:pt>
                <c:pt idx="6423" formatCode="m/d/yyyy">
                  <c:v>44045</c:v>
                </c:pt>
                <c:pt idx="6424" formatCode="m/d/yyyy">
                  <c:v>44046</c:v>
                </c:pt>
                <c:pt idx="6425" formatCode="m/d/yyyy">
                  <c:v>44047</c:v>
                </c:pt>
                <c:pt idx="6426" formatCode="m/d/yyyy">
                  <c:v>44048</c:v>
                </c:pt>
                <c:pt idx="6427" formatCode="m/d/yyyy">
                  <c:v>44049</c:v>
                </c:pt>
                <c:pt idx="6428" formatCode="m/d/yyyy">
                  <c:v>44050</c:v>
                </c:pt>
                <c:pt idx="6429" formatCode="m/d/yyyy">
                  <c:v>44051</c:v>
                </c:pt>
                <c:pt idx="6430" formatCode="m/d/yyyy">
                  <c:v>44052</c:v>
                </c:pt>
                <c:pt idx="6431" formatCode="m/d/yyyy">
                  <c:v>44053</c:v>
                </c:pt>
                <c:pt idx="6432" formatCode="m/d/yyyy">
                  <c:v>44054</c:v>
                </c:pt>
                <c:pt idx="6433" formatCode="m/d/yyyy">
                  <c:v>44055</c:v>
                </c:pt>
                <c:pt idx="6434" formatCode="m/d/yyyy">
                  <c:v>44056</c:v>
                </c:pt>
                <c:pt idx="6435" formatCode="m/d/yyyy">
                  <c:v>44057</c:v>
                </c:pt>
                <c:pt idx="6436" formatCode="m/d/yyyy">
                  <c:v>44058</c:v>
                </c:pt>
                <c:pt idx="6437" formatCode="m/d/yyyy">
                  <c:v>44059</c:v>
                </c:pt>
                <c:pt idx="6438" formatCode="m/d/yyyy">
                  <c:v>44060</c:v>
                </c:pt>
                <c:pt idx="6439" formatCode="m/d/yyyy">
                  <c:v>44061</c:v>
                </c:pt>
                <c:pt idx="6440" formatCode="m/d/yyyy">
                  <c:v>44062</c:v>
                </c:pt>
                <c:pt idx="6441" formatCode="m/d/yyyy">
                  <c:v>44063</c:v>
                </c:pt>
                <c:pt idx="6442" formatCode="m/d/yyyy">
                  <c:v>44064</c:v>
                </c:pt>
                <c:pt idx="6443" formatCode="m/d/yyyy">
                  <c:v>44065</c:v>
                </c:pt>
                <c:pt idx="6444" formatCode="m/d/yyyy">
                  <c:v>44066</c:v>
                </c:pt>
                <c:pt idx="6445" formatCode="m/d/yyyy">
                  <c:v>44067</c:v>
                </c:pt>
                <c:pt idx="6446" formatCode="m/d/yyyy">
                  <c:v>44068</c:v>
                </c:pt>
                <c:pt idx="6447" formatCode="m/d/yyyy">
                  <c:v>44069</c:v>
                </c:pt>
                <c:pt idx="6448" formatCode="m/d/yyyy">
                  <c:v>44070</c:v>
                </c:pt>
                <c:pt idx="6449" formatCode="m/d/yyyy">
                  <c:v>44071</c:v>
                </c:pt>
                <c:pt idx="6450" formatCode="m/d/yyyy">
                  <c:v>44072</c:v>
                </c:pt>
                <c:pt idx="6451" formatCode="m/d/yyyy">
                  <c:v>44073</c:v>
                </c:pt>
                <c:pt idx="6452" formatCode="m/d/yyyy">
                  <c:v>44074</c:v>
                </c:pt>
                <c:pt idx="6453" formatCode="m/d/yyyy">
                  <c:v>44075</c:v>
                </c:pt>
                <c:pt idx="6454" formatCode="m/d/yyyy">
                  <c:v>44076</c:v>
                </c:pt>
                <c:pt idx="6455" formatCode="m/d/yyyy">
                  <c:v>44077</c:v>
                </c:pt>
                <c:pt idx="6456" formatCode="m/d/yyyy">
                  <c:v>44078</c:v>
                </c:pt>
                <c:pt idx="6457" formatCode="m/d/yyyy">
                  <c:v>44079</c:v>
                </c:pt>
                <c:pt idx="6458" formatCode="m/d/yyyy">
                  <c:v>44080</c:v>
                </c:pt>
                <c:pt idx="6459" formatCode="m/d/yyyy">
                  <c:v>44081</c:v>
                </c:pt>
                <c:pt idx="6460" formatCode="m/d/yyyy">
                  <c:v>44082</c:v>
                </c:pt>
                <c:pt idx="6461" formatCode="m/d/yyyy">
                  <c:v>44083</c:v>
                </c:pt>
                <c:pt idx="6462" formatCode="m/d/yyyy">
                  <c:v>44084</c:v>
                </c:pt>
                <c:pt idx="6463" formatCode="m/d/yyyy">
                  <c:v>44085</c:v>
                </c:pt>
                <c:pt idx="6464" formatCode="m/d/yyyy">
                  <c:v>44086</c:v>
                </c:pt>
                <c:pt idx="6465" formatCode="m/d/yyyy">
                  <c:v>44087</c:v>
                </c:pt>
                <c:pt idx="6466" formatCode="m/d/yyyy">
                  <c:v>44088</c:v>
                </c:pt>
                <c:pt idx="6467" formatCode="m/d/yyyy">
                  <c:v>44089</c:v>
                </c:pt>
                <c:pt idx="6468" formatCode="m/d/yyyy">
                  <c:v>44090</c:v>
                </c:pt>
                <c:pt idx="6469" formatCode="m/d/yyyy">
                  <c:v>44091</c:v>
                </c:pt>
                <c:pt idx="6470" formatCode="m/d/yyyy">
                  <c:v>44092</c:v>
                </c:pt>
                <c:pt idx="6471" formatCode="m/d/yyyy">
                  <c:v>44093</c:v>
                </c:pt>
                <c:pt idx="6472" formatCode="m/d/yyyy">
                  <c:v>44094</c:v>
                </c:pt>
                <c:pt idx="6473" formatCode="m/d/yyyy">
                  <c:v>44095</c:v>
                </c:pt>
                <c:pt idx="6474" formatCode="m/d/yyyy">
                  <c:v>44096</c:v>
                </c:pt>
                <c:pt idx="6475" formatCode="m/d/yyyy">
                  <c:v>44097</c:v>
                </c:pt>
                <c:pt idx="6476" formatCode="m/d/yyyy">
                  <c:v>44098</c:v>
                </c:pt>
                <c:pt idx="6477" formatCode="m/d/yyyy">
                  <c:v>44099</c:v>
                </c:pt>
                <c:pt idx="6478" formatCode="m/d/yyyy">
                  <c:v>44100</c:v>
                </c:pt>
                <c:pt idx="6479" formatCode="m/d/yyyy">
                  <c:v>44101</c:v>
                </c:pt>
                <c:pt idx="6480" formatCode="m/d/yyyy">
                  <c:v>44102</c:v>
                </c:pt>
                <c:pt idx="6481" formatCode="m/d/yyyy">
                  <c:v>44103</c:v>
                </c:pt>
                <c:pt idx="6482" formatCode="m/d/yyyy">
                  <c:v>44104</c:v>
                </c:pt>
                <c:pt idx="6483" formatCode="m/d/yyyy">
                  <c:v>44105</c:v>
                </c:pt>
                <c:pt idx="6484" formatCode="m/d/yyyy">
                  <c:v>44106</c:v>
                </c:pt>
                <c:pt idx="6485" formatCode="m/d/yyyy">
                  <c:v>44107</c:v>
                </c:pt>
                <c:pt idx="6486" formatCode="m/d/yyyy">
                  <c:v>44108</c:v>
                </c:pt>
                <c:pt idx="6487" formatCode="m/d/yyyy">
                  <c:v>44109</c:v>
                </c:pt>
                <c:pt idx="6488" formatCode="m/d/yyyy">
                  <c:v>44110</c:v>
                </c:pt>
                <c:pt idx="6489" formatCode="m/d/yyyy">
                  <c:v>44111</c:v>
                </c:pt>
                <c:pt idx="6490" formatCode="m/d/yyyy">
                  <c:v>44112</c:v>
                </c:pt>
                <c:pt idx="6491" formatCode="m/d/yyyy">
                  <c:v>44113</c:v>
                </c:pt>
                <c:pt idx="6492" formatCode="m/d/yyyy">
                  <c:v>44114</c:v>
                </c:pt>
                <c:pt idx="6493" formatCode="m/d/yyyy">
                  <c:v>44115</c:v>
                </c:pt>
                <c:pt idx="6494" formatCode="m/d/yyyy">
                  <c:v>44116</c:v>
                </c:pt>
                <c:pt idx="6495" formatCode="m/d/yyyy">
                  <c:v>44117</c:v>
                </c:pt>
                <c:pt idx="6496" formatCode="m/d/yyyy">
                  <c:v>44118</c:v>
                </c:pt>
                <c:pt idx="6497" formatCode="m/d/yyyy">
                  <c:v>44119</c:v>
                </c:pt>
                <c:pt idx="6498" formatCode="m/d/yyyy">
                  <c:v>44120</c:v>
                </c:pt>
                <c:pt idx="6499" formatCode="m/d/yyyy">
                  <c:v>44121</c:v>
                </c:pt>
                <c:pt idx="6500" formatCode="m/d/yyyy">
                  <c:v>44122</c:v>
                </c:pt>
                <c:pt idx="6501" formatCode="m/d/yyyy">
                  <c:v>44123</c:v>
                </c:pt>
                <c:pt idx="6502" formatCode="m/d/yyyy">
                  <c:v>44124</c:v>
                </c:pt>
                <c:pt idx="6503" formatCode="m/d/yyyy">
                  <c:v>44125</c:v>
                </c:pt>
                <c:pt idx="6504" formatCode="m/d/yyyy">
                  <c:v>44126</c:v>
                </c:pt>
                <c:pt idx="6505" formatCode="m/d/yyyy">
                  <c:v>44127</c:v>
                </c:pt>
                <c:pt idx="6506" formatCode="m/d/yyyy">
                  <c:v>44128</c:v>
                </c:pt>
                <c:pt idx="6507" formatCode="m/d/yyyy">
                  <c:v>44129</c:v>
                </c:pt>
                <c:pt idx="6508" formatCode="m/d/yyyy">
                  <c:v>44130</c:v>
                </c:pt>
                <c:pt idx="6509" formatCode="m/d/yyyy">
                  <c:v>44131</c:v>
                </c:pt>
                <c:pt idx="6510" formatCode="m/d/yyyy">
                  <c:v>44132</c:v>
                </c:pt>
                <c:pt idx="6511" formatCode="m/d/yyyy">
                  <c:v>44133</c:v>
                </c:pt>
                <c:pt idx="6512" formatCode="m/d/yyyy">
                  <c:v>44134</c:v>
                </c:pt>
                <c:pt idx="6513" formatCode="m/d/yyyy">
                  <c:v>44135</c:v>
                </c:pt>
                <c:pt idx="6514" formatCode="m/d/yyyy">
                  <c:v>44136</c:v>
                </c:pt>
                <c:pt idx="6515" formatCode="m/d/yyyy">
                  <c:v>44137</c:v>
                </c:pt>
                <c:pt idx="6516" formatCode="m/d/yyyy">
                  <c:v>44138</c:v>
                </c:pt>
                <c:pt idx="6517" formatCode="m/d/yyyy">
                  <c:v>44139</c:v>
                </c:pt>
                <c:pt idx="6518" formatCode="m/d/yyyy">
                  <c:v>44140</c:v>
                </c:pt>
                <c:pt idx="6519" formatCode="m/d/yyyy">
                  <c:v>44141</c:v>
                </c:pt>
                <c:pt idx="6520" formatCode="m/d/yyyy">
                  <c:v>44142</c:v>
                </c:pt>
                <c:pt idx="6521" formatCode="m/d/yyyy">
                  <c:v>44143</c:v>
                </c:pt>
                <c:pt idx="6522" formatCode="m/d/yyyy">
                  <c:v>44144</c:v>
                </c:pt>
                <c:pt idx="6523" formatCode="m/d/yyyy">
                  <c:v>44145</c:v>
                </c:pt>
                <c:pt idx="6524" formatCode="m/d/yyyy">
                  <c:v>44146</c:v>
                </c:pt>
                <c:pt idx="6525" formatCode="m/d/yyyy">
                  <c:v>44147</c:v>
                </c:pt>
                <c:pt idx="6526" formatCode="m/d/yyyy">
                  <c:v>44148</c:v>
                </c:pt>
                <c:pt idx="6527" formatCode="m/d/yyyy">
                  <c:v>44149</c:v>
                </c:pt>
                <c:pt idx="6528" formatCode="m/d/yyyy">
                  <c:v>44150</c:v>
                </c:pt>
                <c:pt idx="6529" formatCode="m/d/yyyy">
                  <c:v>44151</c:v>
                </c:pt>
                <c:pt idx="6530" formatCode="m/d/yyyy">
                  <c:v>44152</c:v>
                </c:pt>
                <c:pt idx="6531" formatCode="m/d/yyyy">
                  <c:v>44153</c:v>
                </c:pt>
                <c:pt idx="6532" formatCode="m/d/yyyy">
                  <c:v>44154</c:v>
                </c:pt>
                <c:pt idx="6533" formatCode="m/d/yyyy">
                  <c:v>44155</c:v>
                </c:pt>
                <c:pt idx="6534" formatCode="m/d/yyyy">
                  <c:v>44156</c:v>
                </c:pt>
                <c:pt idx="6535" formatCode="m/d/yyyy">
                  <c:v>44157</c:v>
                </c:pt>
                <c:pt idx="6536" formatCode="m/d/yyyy">
                  <c:v>44158</c:v>
                </c:pt>
                <c:pt idx="6537" formatCode="m/d/yyyy">
                  <c:v>44159</c:v>
                </c:pt>
                <c:pt idx="6538" formatCode="m/d/yyyy">
                  <c:v>44160</c:v>
                </c:pt>
                <c:pt idx="6539" formatCode="m/d/yyyy">
                  <c:v>44161</c:v>
                </c:pt>
                <c:pt idx="6540" formatCode="m/d/yyyy">
                  <c:v>44162</c:v>
                </c:pt>
                <c:pt idx="6541" formatCode="m/d/yyyy">
                  <c:v>44163</c:v>
                </c:pt>
                <c:pt idx="6542" formatCode="m/d/yyyy">
                  <c:v>44164</c:v>
                </c:pt>
                <c:pt idx="6543" formatCode="m/d/yyyy">
                  <c:v>44165</c:v>
                </c:pt>
                <c:pt idx="6544" formatCode="m/d/yyyy">
                  <c:v>44166</c:v>
                </c:pt>
                <c:pt idx="6545" formatCode="m/d/yyyy">
                  <c:v>44167</c:v>
                </c:pt>
                <c:pt idx="6546" formatCode="m/d/yyyy">
                  <c:v>44168</c:v>
                </c:pt>
                <c:pt idx="6547" formatCode="m/d/yyyy">
                  <c:v>44169</c:v>
                </c:pt>
                <c:pt idx="6548" formatCode="m/d/yyyy">
                  <c:v>44170</c:v>
                </c:pt>
                <c:pt idx="6549" formatCode="m/d/yyyy">
                  <c:v>44171</c:v>
                </c:pt>
                <c:pt idx="6550" formatCode="m/d/yyyy">
                  <c:v>44172</c:v>
                </c:pt>
                <c:pt idx="6551" formatCode="m/d/yyyy">
                  <c:v>44173</c:v>
                </c:pt>
                <c:pt idx="6552" formatCode="m/d/yyyy">
                  <c:v>44174</c:v>
                </c:pt>
                <c:pt idx="6553" formatCode="m/d/yyyy">
                  <c:v>44175</c:v>
                </c:pt>
                <c:pt idx="6554" formatCode="m/d/yyyy">
                  <c:v>44176</c:v>
                </c:pt>
                <c:pt idx="6555" formatCode="m/d/yyyy">
                  <c:v>44177</c:v>
                </c:pt>
                <c:pt idx="6556" formatCode="m/d/yyyy">
                  <c:v>44178</c:v>
                </c:pt>
                <c:pt idx="6557" formatCode="m/d/yyyy">
                  <c:v>44179</c:v>
                </c:pt>
                <c:pt idx="6558" formatCode="m/d/yyyy">
                  <c:v>44180</c:v>
                </c:pt>
                <c:pt idx="6559" formatCode="m/d/yyyy">
                  <c:v>44181</c:v>
                </c:pt>
                <c:pt idx="6560" formatCode="m/d/yyyy">
                  <c:v>44182</c:v>
                </c:pt>
                <c:pt idx="6561" formatCode="m/d/yyyy">
                  <c:v>44183</c:v>
                </c:pt>
                <c:pt idx="6562" formatCode="m/d/yyyy">
                  <c:v>44184</c:v>
                </c:pt>
                <c:pt idx="6563" formatCode="m/d/yyyy">
                  <c:v>44185</c:v>
                </c:pt>
                <c:pt idx="6564" formatCode="m/d/yyyy">
                  <c:v>44186</c:v>
                </c:pt>
                <c:pt idx="6565" formatCode="m/d/yyyy">
                  <c:v>44187</c:v>
                </c:pt>
                <c:pt idx="6566" formatCode="m/d/yyyy">
                  <c:v>44188</c:v>
                </c:pt>
                <c:pt idx="6567" formatCode="m/d/yyyy">
                  <c:v>44189</c:v>
                </c:pt>
                <c:pt idx="6568" formatCode="m/d/yyyy">
                  <c:v>44190</c:v>
                </c:pt>
                <c:pt idx="6569" formatCode="m/d/yyyy">
                  <c:v>44191</c:v>
                </c:pt>
                <c:pt idx="6570" formatCode="m/d/yyyy">
                  <c:v>44192</c:v>
                </c:pt>
                <c:pt idx="6571" formatCode="m/d/yyyy">
                  <c:v>44193</c:v>
                </c:pt>
                <c:pt idx="6572" formatCode="m/d/yyyy">
                  <c:v>44194</c:v>
                </c:pt>
                <c:pt idx="6573" formatCode="m/d/yyyy">
                  <c:v>44195</c:v>
                </c:pt>
                <c:pt idx="6574" formatCode="m/d/yyyy">
                  <c:v>44196</c:v>
                </c:pt>
                <c:pt idx="6575" formatCode="m/d/yyyy">
                  <c:v>44197</c:v>
                </c:pt>
                <c:pt idx="6576" formatCode="m/d/yyyy">
                  <c:v>44198</c:v>
                </c:pt>
                <c:pt idx="6577" formatCode="m/d/yyyy">
                  <c:v>44199</c:v>
                </c:pt>
                <c:pt idx="6578" formatCode="m/d/yyyy">
                  <c:v>44200</c:v>
                </c:pt>
                <c:pt idx="6579" formatCode="m/d/yyyy">
                  <c:v>44201</c:v>
                </c:pt>
                <c:pt idx="6580" formatCode="m/d/yyyy">
                  <c:v>44202</c:v>
                </c:pt>
                <c:pt idx="6581" formatCode="m/d/yyyy">
                  <c:v>44203</c:v>
                </c:pt>
                <c:pt idx="6582" formatCode="m/d/yyyy">
                  <c:v>44204</c:v>
                </c:pt>
                <c:pt idx="6583" formatCode="m/d/yyyy">
                  <c:v>44205</c:v>
                </c:pt>
                <c:pt idx="6584" formatCode="m/d/yyyy">
                  <c:v>44206</c:v>
                </c:pt>
                <c:pt idx="6585" formatCode="m/d/yyyy">
                  <c:v>44207</c:v>
                </c:pt>
                <c:pt idx="6586" formatCode="m/d/yyyy">
                  <c:v>44208</c:v>
                </c:pt>
                <c:pt idx="6587" formatCode="m/d/yyyy">
                  <c:v>44209</c:v>
                </c:pt>
                <c:pt idx="6588" formatCode="m/d/yyyy">
                  <c:v>44210</c:v>
                </c:pt>
                <c:pt idx="6589" formatCode="m/d/yyyy">
                  <c:v>44211</c:v>
                </c:pt>
                <c:pt idx="6590" formatCode="m/d/yyyy">
                  <c:v>44212</c:v>
                </c:pt>
                <c:pt idx="6591" formatCode="m/d/yyyy">
                  <c:v>44213</c:v>
                </c:pt>
                <c:pt idx="6592" formatCode="m/d/yyyy">
                  <c:v>44214</c:v>
                </c:pt>
                <c:pt idx="6593" formatCode="m/d/yyyy">
                  <c:v>44215</c:v>
                </c:pt>
                <c:pt idx="6594" formatCode="m/d/yyyy">
                  <c:v>44216</c:v>
                </c:pt>
                <c:pt idx="6595" formatCode="m/d/yyyy">
                  <c:v>44217</c:v>
                </c:pt>
                <c:pt idx="6596" formatCode="m/d/yyyy">
                  <c:v>44218</c:v>
                </c:pt>
                <c:pt idx="6597" formatCode="m/d/yyyy">
                  <c:v>44219</c:v>
                </c:pt>
                <c:pt idx="6598" formatCode="m/d/yyyy">
                  <c:v>44220</c:v>
                </c:pt>
                <c:pt idx="6599" formatCode="m/d/yyyy">
                  <c:v>44221</c:v>
                </c:pt>
                <c:pt idx="6600" formatCode="m/d/yyyy">
                  <c:v>44222</c:v>
                </c:pt>
                <c:pt idx="6601" formatCode="m/d/yyyy">
                  <c:v>44223</c:v>
                </c:pt>
                <c:pt idx="6602" formatCode="m/d/yyyy">
                  <c:v>44224</c:v>
                </c:pt>
                <c:pt idx="6603" formatCode="m/d/yyyy">
                  <c:v>44225</c:v>
                </c:pt>
                <c:pt idx="6604" formatCode="m/d/yyyy">
                  <c:v>44226</c:v>
                </c:pt>
                <c:pt idx="6605" formatCode="m/d/yyyy">
                  <c:v>44227</c:v>
                </c:pt>
                <c:pt idx="6606" formatCode="m/d/yyyy">
                  <c:v>44228</c:v>
                </c:pt>
                <c:pt idx="6607" formatCode="m/d/yyyy">
                  <c:v>44229</c:v>
                </c:pt>
                <c:pt idx="6608" formatCode="m/d/yyyy">
                  <c:v>44230</c:v>
                </c:pt>
                <c:pt idx="6609" formatCode="m/d/yyyy">
                  <c:v>44231</c:v>
                </c:pt>
                <c:pt idx="6610" formatCode="m/d/yyyy">
                  <c:v>44232</c:v>
                </c:pt>
                <c:pt idx="6611" formatCode="m/d/yyyy">
                  <c:v>44233</c:v>
                </c:pt>
                <c:pt idx="6612" formatCode="m/d/yyyy">
                  <c:v>44234</c:v>
                </c:pt>
                <c:pt idx="6613" formatCode="m/d/yyyy">
                  <c:v>44235</c:v>
                </c:pt>
                <c:pt idx="6614" formatCode="m/d/yyyy">
                  <c:v>44236</c:v>
                </c:pt>
                <c:pt idx="6615" formatCode="m/d/yyyy">
                  <c:v>44237</c:v>
                </c:pt>
                <c:pt idx="6616" formatCode="m/d/yyyy">
                  <c:v>44238</c:v>
                </c:pt>
                <c:pt idx="6617" formatCode="m/d/yyyy">
                  <c:v>44239</c:v>
                </c:pt>
                <c:pt idx="6618" formatCode="m/d/yyyy">
                  <c:v>44240</c:v>
                </c:pt>
                <c:pt idx="6619" formatCode="m/d/yyyy">
                  <c:v>44241</c:v>
                </c:pt>
                <c:pt idx="6620" formatCode="m/d/yyyy">
                  <c:v>44242</c:v>
                </c:pt>
                <c:pt idx="6621" formatCode="m/d/yyyy">
                  <c:v>44243</c:v>
                </c:pt>
                <c:pt idx="6622" formatCode="m/d/yyyy">
                  <c:v>44244</c:v>
                </c:pt>
                <c:pt idx="6623" formatCode="m/d/yyyy">
                  <c:v>44245</c:v>
                </c:pt>
                <c:pt idx="6624" formatCode="m/d/yyyy">
                  <c:v>44246</c:v>
                </c:pt>
                <c:pt idx="6625" formatCode="m/d/yyyy">
                  <c:v>44247</c:v>
                </c:pt>
                <c:pt idx="6626" formatCode="m/d/yyyy">
                  <c:v>44248</c:v>
                </c:pt>
                <c:pt idx="6627" formatCode="m/d/yyyy">
                  <c:v>44249</c:v>
                </c:pt>
                <c:pt idx="6628" formatCode="m/d/yyyy">
                  <c:v>44250</c:v>
                </c:pt>
                <c:pt idx="6629" formatCode="m/d/yyyy">
                  <c:v>44251</c:v>
                </c:pt>
                <c:pt idx="6630" formatCode="m/d/yyyy">
                  <c:v>44252</c:v>
                </c:pt>
                <c:pt idx="6631" formatCode="m/d/yyyy">
                  <c:v>44253</c:v>
                </c:pt>
                <c:pt idx="6632" formatCode="m/d/yyyy">
                  <c:v>44254</c:v>
                </c:pt>
                <c:pt idx="6633" formatCode="m/d/yyyy">
                  <c:v>44255</c:v>
                </c:pt>
                <c:pt idx="6634" formatCode="m/d/yyyy">
                  <c:v>44256</c:v>
                </c:pt>
                <c:pt idx="6635" formatCode="m/d/yyyy">
                  <c:v>44257</c:v>
                </c:pt>
                <c:pt idx="6636" formatCode="m/d/yyyy">
                  <c:v>44258</c:v>
                </c:pt>
                <c:pt idx="6637" formatCode="m/d/yyyy">
                  <c:v>44259</c:v>
                </c:pt>
                <c:pt idx="6638" formatCode="m/d/yyyy">
                  <c:v>44260</c:v>
                </c:pt>
                <c:pt idx="6639" formatCode="m/d/yyyy">
                  <c:v>44261</c:v>
                </c:pt>
                <c:pt idx="6640" formatCode="m/d/yyyy">
                  <c:v>44262</c:v>
                </c:pt>
                <c:pt idx="6641" formatCode="m/d/yyyy">
                  <c:v>44263</c:v>
                </c:pt>
                <c:pt idx="6642" formatCode="m/d/yyyy">
                  <c:v>44264</c:v>
                </c:pt>
                <c:pt idx="6643" formatCode="m/d/yyyy">
                  <c:v>44265</c:v>
                </c:pt>
                <c:pt idx="6644" formatCode="m/d/yyyy">
                  <c:v>44266</c:v>
                </c:pt>
                <c:pt idx="6645" formatCode="m/d/yyyy">
                  <c:v>44267</c:v>
                </c:pt>
                <c:pt idx="6646" formatCode="m/d/yyyy">
                  <c:v>44268</c:v>
                </c:pt>
                <c:pt idx="6647" formatCode="m/d/yyyy">
                  <c:v>44269</c:v>
                </c:pt>
                <c:pt idx="6648" formatCode="m/d/yyyy">
                  <c:v>44270</c:v>
                </c:pt>
                <c:pt idx="6649" formatCode="m/d/yyyy">
                  <c:v>44271</c:v>
                </c:pt>
                <c:pt idx="6650" formatCode="m/d/yyyy">
                  <c:v>44272</c:v>
                </c:pt>
                <c:pt idx="6651" formatCode="m/d/yyyy">
                  <c:v>44273</c:v>
                </c:pt>
                <c:pt idx="6652" formatCode="m/d/yyyy">
                  <c:v>44274</c:v>
                </c:pt>
                <c:pt idx="6653" formatCode="m/d/yyyy">
                  <c:v>44275</c:v>
                </c:pt>
                <c:pt idx="6654" formatCode="m/d/yyyy">
                  <c:v>44276</c:v>
                </c:pt>
                <c:pt idx="6655" formatCode="m/d/yyyy">
                  <c:v>44277</c:v>
                </c:pt>
                <c:pt idx="6656" formatCode="m/d/yyyy">
                  <c:v>44278</c:v>
                </c:pt>
                <c:pt idx="6657" formatCode="m/d/yyyy">
                  <c:v>44279</c:v>
                </c:pt>
                <c:pt idx="6658" formatCode="m/d/yyyy">
                  <c:v>44280</c:v>
                </c:pt>
                <c:pt idx="6659" formatCode="m/d/yyyy">
                  <c:v>44281</c:v>
                </c:pt>
                <c:pt idx="6660" formatCode="m/d/yyyy">
                  <c:v>44282</c:v>
                </c:pt>
                <c:pt idx="6661" formatCode="m/d/yyyy">
                  <c:v>44283</c:v>
                </c:pt>
                <c:pt idx="6662" formatCode="m/d/yyyy">
                  <c:v>44284</c:v>
                </c:pt>
                <c:pt idx="6663" formatCode="m/d/yyyy">
                  <c:v>44285</c:v>
                </c:pt>
                <c:pt idx="6664" formatCode="m/d/yyyy">
                  <c:v>44286</c:v>
                </c:pt>
                <c:pt idx="6665" formatCode="m/d/yyyy">
                  <c:v>44287</c:v>
                </c:pt>
                <c:pt idx="6666" formatCode="m/d/yyyy">
                  <c:v>44288</c:v>
                </c:pt>
                <c:pt idx="6667" formatCode="m/d/yyyy">
                  <c:v>44289</c:v>
                </c:pt>
                <c:pt idx="6668" formatCode="m/d/yyyy">
                  <c:v>44290</c:v>
                </c:pt>
                <c:pt idx="6669" formatCode="m/d/yyyy">
                  <c:v>44291</c:v>
                </c:pt>
                <c:pt idx="6670" formatCode="m/d/yyyy">
                  <c:v>44292</c:v>
                </c:pt>
                <c:pt idx="6671" formatCode="m/d/yyyy">
                  <c:v>44293</c:v>
                </c:pt>
                <c:pt idx="6672" formatCode="m/d/yyyy">
                  <c:v>44294</c:v>
                </c:pt>
                <c:pt idx="6673" formatCode="m/d/yyyy">
                  <c:v>44295</c:v>
                </c:pt>
                <c:pt idx="6674" formatCode="m/d/yyyy">
                  <c:v>44296</c:v>
                </c:pt>
                <c:pt idx="6675" formatCode="m/d/yyyy">
                  <c:v>44297</c:v>
                </c:pt>
                <c:pt idx="6676" formatCode="m/d/yyyy">
                  <c:v>44298</c:v>
                </c:pt>
                <c:pt idx="6677" formatCode="m/d/yyyy">
                  <c:v>44299</c:v>
                </c:pt>
                <c:pt idx="6678" formatCode="m/d/yyyy">
                  <c:v>44300</c:v>
                </c:pt>
                <c:pt idx="6679" formatCode="m/d/yyyy">
                  <c:v>44301</c:v>
                </c:pt>
                <c:pt idx="6680" formatCode="m/d/yyyy">
                  <c:v>44302</c:v>
                </c:pt>
                <c:pt idx="6681" formatCode="m/d/yyyy">
                  <c:v>44303</c:v>
                </c:pt>
                <c:pt idx="6682" formatCode="m/d/yyyy">
                  <c:v>44304</c:v>
                </c:pt>
                <c:pt idx="6683" formatCode="m/d/yyyy">
                  <c:v>44305</c:v>
                </c:pt>
                <c:pt idx="6684" formatCode="m/d/yyyy">
                  <c:v>44306</c:v>
                </c:pt>
                <c:pt idx="6685" formatCode="m/d/yyyy">
                  <c:v>44307</c:v>
                </c:pt>
                <c:pt idx="6686" formatCode="m/d/yyyy">
                  <c:v>44308</c:v>
                </c:pt>
                <c:pt idx="6687" formatCode="m/d/yyyy">
                  <c:v>44309</c:v>
                </c:pt>
                <c:pt idx="6688" formatCode="m/d/yyyy">
                  <c:v>44310</c:v>
                </c:pt>
                <c:pt idx="6689" formatCode="m/d/yyyy">
                  <c:v>44311</c:v>
                </c:pt>
                <c:pt idx="6690" formatCode="m/d/yyyy">
                  <c:v>44312</c:v>
                </c:pt>
                <c:pt idx="6691" formatCode="m/d/yyyy">
                  <c:v>44313</c:v>
                </c:pt>
                <c:pt idx="6692" formatCode="m/d/yyyy">
                  <c:v>44314</c:v>
                </c:pt>
                <c:pt idx="6693" formatCode="m/d/yyyy">
                  <c:v>44315</c:v>
                </c:pt>
                <c:pt idx="6694" formatCode="m/d/yyyy">
                  <c:v>44316</c:v>
                </c:pt>
                <c:pt idx="6695" formatCode="m/d/yyyy">
                  <c:v>44317</c:v>
                </c:pt>
                <c:pt idx="6696" formatCode="m/d/yyyy">
                  <c:v>44318</c:v>
                </c:pt>
                <c:pt idx="6697" formatCode="m/d/yyyy">
                  <c:v>44319</c:v>
                </c:pt>
                <c:pt idx="6698" formatCode="m/d/yyyy">
                  <c:v>44320</c:v>
                </c:pt>
                <c:pt idx="6699" formatCode="m/d/yyyy">
                  <c:v>44321</c:v>
                </c:pt>
                <c:pt idx="6700" formatCode="m/d/yyyy">
                  <c:v>44322</c:v>
                </c:pt>
                <c:pt idx="6701" formatCode="m/d/yyyy">
                  <c:v>44323</c:v>
                </c:pt>
                <c:pt idx="6702" formatCode="m/d/yyyy">
                  <c:v>44324</c:v>
                </c:pt>
                <c:pt idx="6703" formatCode="m/d/yyyy">
                  <c:v>44325</c:v>
                </c:pt>
                <c:pt idx="6704" formatCode="m/d/yyyy">
                  <c:v>44326</c:v>
                </c:pt>
                <c:pt idx="6705" formatCode="m/d/yyyy">
                  <c:v>44327</c:v>
                </c:pt>
                <c:pt idx="6706" formatCode="m/d/yyyy">
                  <c:v>44328</c:v>
                </c:pt>
                <c:pt idx="6707" formatCode="m/d/yyyy">
                  <c:v>44329</c:v>
                </c:pt>
                <c:pt idx="6708" formatCode="m/d/yyyy">
                  <c:v>44330</c:v>
                </c:pt>
                <c:pt idx="6709" formatCode="m/d/yyyy">
                  <c:v>44331</c:v>
                </c:pt>
                <c:pt idx="6710" formatCode="m/d/yyyy">
                  <c:v>44332</c:v>
                </c:pt>
                <c:pt idx="6711" formatCode="m/d/yyyy">
                  <c:v>44333</c:v>
                </c:pt>
                <c:pt idx="6712" formatCode="m/d/yyyy">
                  <c:v>44334</c:v>
                </c:pt>
                <c:pt idx="6713" formatCode="m/d/yyyy">
                  <c:v>44335</c:v>
                </c:pt>
                <c:pt idx="6714" formatCode="m/d/yyyy">
                  <c:v>44336</c:v>
                </c:pt>
                <c:pt idx="6715" formatCode="m/d/yyyy">
                  <c:v>44337</c:v>
                </c:pt>
                <c:pt idx="6716" formatCode="m/d/yyyy">
                  <c:v>44338</c:v>
                </c:pt>
                <c:pt idx="6717" formatCode="m/d/yyyy">
                  <c:v>44339</c:v>
                </c:pt>
                <c:pt idx="6718" formatCode="m/d/yyyy">
                  <c:v>44340</c:v>
                </c:pt>
                <c:pt idx="6719" formatCode="m/d/yyyy">
                  <c:v>44341</c:v>
                </c:pt>
                <c:pt idx="6720" formatCode="m/d/yyyy">
                  <c:v>44342</c:v>
                </c:pt>
                <c:pt idx="6721" formatCode="m/d/yyyy">
                  <c:v>44343</c:v>
                </c:pt>
                <c:pt idx="6722" formatCode="m/d/yyyy">
                  <c:v>44344</c:v>
                </c:pt>
                <c:pt idx="6723" formatCode="m/d/yyyy">
                  <c:v>44345</c:v>
                </c:pt>
                <c:pt idx="6724" formatCode="m/d/yyyy">
                  <c:v>44346</c:v>
                </c:pt>
                <c:pt idx="6725" formatCode="m/d/yyyy">
                  <c:v>44347</c:v>
                </c:pt>
                <c:pt idx="6726" formatCode="m/d/yyyy">
                  <c:v>44348</c:v>
                </c:pt>
                <c:pt idx="6727" formatCode="m/d/yyyy">
                  <c:v>44349</c:v>
                </c:pt>
                <c:pt idx="6728" formatCode="m/d/yyyy">
                  <c:v>44350</c:v>
                </c:pt>
                <c:pt idx="6729" formatCode="m/d/yyyy">
                  <c:v>44351</c:v>
                </c:pt>
                <c:pt idx="6730" formatCode="m/d/yyyy">
                  <c:v>44352</c:v>
                </c:pt>
                <c:pt idx="6731" formatCode="m/d/yyyy">
                  <c:v>44353</c:v>
                </c:pt>
                <c:pt idx="6732" formatCode="m/d/yyyy">
                  <c:v>44354</c:v>
                </c:pt>
                <c:pt idx="6733" formatCode="m/d/yyyy">
                  <c:v>44355</c:v>
                </c:pt>
                <c:pt idx="6734" formatCode="m/d/yyyy">
                  <c:v>44356</c:v>
                </c:pt>
                <c:pt idx="6735" formatCode="m/d/yyyy">
                  <c:v>44357</c:v>
                </c:pt>
                <c:pt idx="6736" formatCode="m/d/yyyy">
                  <c:v>44358</c:v>
                </c:pt>
                <c:pt idx="6737" formatCode="m/d/yyyy">
                  <c:v>44359</c:v>
                </c:pt>
                <c:pt idx="6738" formatCode="m/d/yyyy">
                  <c:v>44360</c:v>
                </c:pt>
                <c:pt idx="6739" formatCode="m/d/yyyy">
                  <c:v>44361</c:v>
                </c:pt>
                <c:pt idx="6740" formatCode="m/d/yyyy">
                  <c:v>44362</c:v>
                </c:pt>
                <c:pt idx="6741" formatCode="m/d/yyyy">
                  <c:v>44363</c:v>
                </c:pt>
                <c:pt idx="6742" formatCode="m/d/yyyy">
                  <c:v>44364</c:v>
                </c:pt>
                <c:pt idx="6743" formatCode="m/d/yyyy">
                  <c:v>44365</c:v>
                </c:pt>
                <c:pt idx="6744" formatCode="m/d/yyyy">
                  <c:v>44366</c:v>
                </c:pt>
                <c:pt idx="6745" formatCode="m/d/yyyy">
                  <c:v>44367</c:v>
                </c:pt>
                <c:pt idx="6746" formatCode="m/d/yyyy">
                  <c:v>44368</c:v>
                </c:pt>
                <c:pt idx="6747" formatCode="m/d/yyyy">
                  <c:v>44369</c:v>
                </c:pt>
                <c:pt idx="6748" formatCode="m/d/yyyy">
                  <c:v>44370</c:v>
                </c:pt>
                <c:pt idx="6749" formatCode="m/d/yyyy">
                  <c:v>44371</c:v>
                </c:pt>
                <c:pt idx="6750" formatCode="m/d/yyyy">
                  <c:v>44372</c:v>
                </c:pt>
                <c:pt idx="6751" formatCode="m/d/yyyy">
                  <c:v>44373</c:v>
                </c:pt>
                <c:pt idx="6752" formatCode="m/d/yyyy">
                  <c:v>44374</c:v>
                </c:pt>
                <c:pt idx="6753" formatCode="m/d/yyyy">
                  <c:v>44375</c:v>
                </c:pt>
                <c:pt idx="6754" formatCode="m/d/yyyy">
                  <c:v>44376</c:v>
                </c:pt>
                <c:pt idx="6755" formatCode="m/d/yyyy">
                  <c:v>44377</c:v>
                </c:pt>
                <c:pt idx="6756" formatCode="m/d/yyyy">
                  <c:v>44378</c:v>
                </c:pt>
                <c:pt idx="6757" formatCode="m/d/yyyy">
                  <c:v>44379</c:v>
                </c:pt>
                <c:pt idx="6758" formatCode="m/d/yyyy">
                  <c:v>44380</c:v>
                </c:pt>
                <c:pt idx="6759" formatCode="m/d/yyyy">
                  <c:v>44381</c:v>
                </c:pt>
                <c:pt idx="6760" formatCode="m/d/yyyy">
                  <c:v>44382</c:v>
                </c:pt>
                <c:pt idx="6761" formatCode="m/d/yyyy">
                  <c:v>44383</c:v>
                </c:pt>
                <c:pt idx="6762" formatCode="m/d/yyyy">
                  <c:v>44384</c:v>
                </c:pt>
                <c:pt idx="6763" formatCode="m/d/yyyy">
                  <c:v>44385</c:v>
                </c:pt>
                <c:pt idx="6764" formatCode="m/d/yyyy">
                  <c:v>44386</c:v>
                </c:pt>
                <c:pt idx="6765" formatCode="m/d/yyyy">
                  <c:v>44387</c:v>
                </c:pt>
                <c:pt idx="6766" formatCode="m/d/yyyy">
                  <c:v>44388</c:v>
                </c:pt>
                <c:pt idx="6767" formatCode="m/d/yyyy">
                  <c:v>44389</c:v>
                </c:pt>
                <c:pt idx="6768" formatCode="m/d/yyyy">
                  <c:v>44390</c:v>
                </c:pt>
                <c:pt idx="6769" formatCode="m/d/yyyy">
                  <c:v>44391</c:v>
                </c:pt>
                <c:pt idx="6770" formatCode="m/d/yyyy">
                  <c:v>44392</c:v>
                </c:pt>
                <c:pt idx="6771" formatCode="m/d/yyyy">
                  <c:v>44393</c:v>
                </c:pt>
                <c:pt idx="6772" formatCode="m/d/yyyy">
                  <c:v>44394</c:v>
                </c:pt>
                <c:pt idx="6773" formatCode="m/d/yyyy">
                  <c:v>44395</c:v>
                </c:pt>
                <c:pt idx="6774" formatCode="m/d/yyyy">
                  <c:v>44396</c:v>
                </c:pt>
                <c:pt idx="6775" formatCode="m/d/yyyy">
                  <c:v>44397</c:v>
                </c:pt>
                <c:pt idx="6776" formatCode="m/d/yyyy">
                  <c:v>44398</c:v>
                </c:pt>
                <c:pt idx="6777" formatCode="m/d/yyyy">
                  <c:v>44399</c:v>
                </c:pt>
                <c:pt idx="6778" formatCode="m/d/yyyy">
                  <c:v>44400</c:v>
                </c:pt>
                <c:pt idx="6779" formatCode="m/d/yyyy">
                  <c:v>44401</c:v>
                </c:pt>
                <c:pt idx="6780" formatCode="m/d/yyyy">
                  <c:v>44402</c:v>
                </c:pt>
                <c:pt idx="6781" formatCode="m/d/yyyy">
                  <c:v>44403</c:v>
                </c:pt>
                <c:pt idx="6782" formatCode="m/d/yyyy">
                  <c:v>44404</c:v>
                </c:pt>
                <c:pt idx="6783" formatCode="m/d/yyyy">
                  <c:v>44405</c:v>
                </c:pt>
                <c:pt idx="6784" formatCode="m/d/yyyy">
                  <c:v>44406</c:v>
                </c:pt>
                <c:pt idx="6785" formatCode="m/d/yyyy">
                  <c:v>44407</c:v>
                </c:pt>
                <c:pt idx="6786" formatCode="m/d/yyyy">
                  <c:v>44408</c:v>
                </c:pt>
                <c:pt idx="6787" formatCode="m/d/yyyy">
                  <c:v>44409</c:v>
                </c:pt>
                <c:pt idx="6788" formatCode="m/d/yyyy">
                  <c:v>44410</c:v>
                </c:pt>
                <c:pt idx="6789" formatCode="m/d/yyyy">
                  <c:v>44411</c:v>
                </c:pt>
                <c:pt idx="6790" formatCode="m/d/yyyy">
                  <c:v>44412</c:v>
                </c:pt>
                <c:pt idx="6791" formatCode="m/d/yyyy">
                  <c:v>44413</c:v>
                </c:pt>
                <c:pt idx="6792" formatCode="m/d/yyyy">
                  <c:v>44414</c:v>
                </c:pt>
                <c:pt idx="6793" formatCode="m/d/yyyy">
                  <c:v>44415</c:v>
                </c:pt>
                <c:pt idx="6794" formatCode="m/d/yyyy">
                  <c:v>44416</c:v>
                </c:pt>
                <c:pt idx="6795" formatCode="m/d/yyyy">
                  <c:v>44417</c:v>
                </c:pt>
                <c:pt idx="6796" formatCode="m/d/yyyy">
                  <c:v>44418</c:v>
                </c:pt>
                <c:pt idx="6797" formatCode="m/d/yyyy">
                  <c:v>44419</c:v>
                </c:pt>
                <c:pt idx="6798" formatCode="m/d/yyyy">
                  <c:v>44420</c:v>
                </c:pt>
                <c:pt idx="6799" formatCode="m/d/yyyy">
                  <c:v>44421</c:v>
                </c:pt>
                <c:pt idx="6800" formatCode="m/d/yyyy">
                  <c:v>44422</c:v>
                </c:pt>
                <c:pt idx="6801" formatCode="m/d/yyyy">
                  <c:v>44423</c:v>
                </c:pt>
                <c:pt idx="6802" formatCode="m/d/yyyy">
                  <c:v>44424</c:v>
                </c:pt>
                <c:pt idx="6803" formatCode="m/d/yyyy">
                  <c:v>44425</c:v>
                </c:pt>
                <c:pt idx="6804" formatCode="m/d/yyyy">
                  <c:v>44426</c:v>
                </c:pt>
                <c:pt idx="6805" formatCode="m/d/yyyy">
                  <c:v>44427</c:v>
                </c:pt>
                <c:pt idx="6806" formatCode="m/d/yyyy">
                  <c:v>44428</c:v>
                </c:pt>
                <c:pt idx="6807" formatCode="m/d/yyyy">
                  <c:v>44429</c:v>
                </c:pt>
                <c:pt idx="6808" formatCode="m/d/yyyy">
                  <c:v>44430</c:v>
                </c:pt>
                <c:pt idx="6809" formatCode="m/d/yyyy">
                  <c:v>44431</c:v>
                </c:pt>
                <c:pt idx="6810" formatCode="m/d/yyyy">
                  <c:v>44432</c:v>
                </c:pt>
                <c:pt idx="6811" formatCode="m/d/yyyy">
                  <c:v>44433</c:v>
                </c:pt>
                <c:pt idx="6812" formatCode="m/d/yyyy">
                  <c:v>44434</c:v>
                </c:pt>
                <c:pt idx="6813" formatCode="m/d/yyyy">
                  <c:v>44435</c:v>
                </c:pt>
                <c:pt idx="6814" formatCode="m/d/yyyy">
                  <c:v>44436</c:v>
                </c:pt>
                <c:pt idx="6815" formatCode="m/d/yyyy">
                  <c:v>44437</c:v>
                </c:pt>
                <c:pt idx="6816" formatCode="m/d/yyyy">
                  <c:v>44438</c:v>
                </c:pt>
                <c:pt idx="6817" formatCode="m/d/yyyy">
                  <c:v>44439</c:v>
                </c:pt>
                <c:pt idx="6818" formatCode="m/d/yyyy">
                  <c:v>44440</c:v>
                </c:pt>
                <c:pt idx="6819" formatCode="m/d/yyyy">
                  <c:v>44441</c:v>
                </c:pt>
                <c:pt idx="6820" formatCode="m/d/yyyy">
                  <c:v>44442</c:v>
                </c:pt>
                <c:pt idx="6821" formatCode="m/d/yyyy">
                  <c:v>44443</c:v>
                </c:pt>
                <c:pt idx="6822" formatCode="m/d/yyyy">
                  <c:v>44444</c:v>
                </c:pt>
                <c:pt idx="6823" formatCode="m/d/yyyy">
                  <c:v>44445</c:v>
                </c:pt>
                <c:pt idx="6824" formatCode="m/d/yyyy">
                  <c:v>44446</c:v>
                </c:pt>
                <c:pt idx="6825" formatCode="m/d/yyyy">
                  <c:v>44447</c:v>
                </c:pt>
                <c:pt idx="6826" formatCode="m/d/yyyy">
                  <c:v>44448</c:v>
                </c:pt>
                <c:pt idx="6827" formatCode="m/d/yyyy">
                  <c:v>44449</c:v>
                </c:pt>
                <c:pt idx="6828" formatCode="m/d/yyyy">
                  <c:v>44450</c:v>
                </c:pt>
                <c:pt idx="6829" formatCode="m/d/yyyy">
                  <c:v>44451</c:v>
                </c:pt>
                <c:pt idx="6830" formatCode="m/d/yyyy">
                  <c:v>44452</c:v>
                </c:pt>
                <c:pt idx="6831" formatCode="m/d/yyyy">
                  <c:v>44453</c:v>
                </c:pt>
                <c:pt idx="6832" formatCode="m/d/yyyy">
                  <c:v>44454</c:v>
                </c:pt>
                <c:pt idx="6833" formatCode="m/d/yyyy">
                  <c:v>44455</c:v>
                </c:pt>
                <c:pt idx="6834" formatCode="m/d/yyyy">
                  <c:v>44456</c:v>
                </c:pt>
                <c:pt idx="6835" formatCode="m/d/yyyy">
                  <c:v>44457</c:v>
                </c:pt>
                <c:pt idx="6836" formatCode="m/d/yyyy">
                  <c:v>44458</c:v>
                </c:pt>
                <c:pt idx="6837" formatCode="m/d/yyyy">
                  <c:v>44459</c:v>
                </c:pt>
                <c:pt idx="6838" formatCode="m/d/yyyy">
                  <c:v>44460</c:v>
                </c:pt>
                <c:pt idx="6839" formatCode="m/d/yyyy">
                  <c:v>44461</c:v>
                </c:pt>
                <c:pt idx="6840" formatCode="m/d/yyyy">
                  <c:v>44462</c:v>
                </c:pt>
                <c:pt idx="6841" formatCode="m/d/yyyy">
                  <c:v>44463</c:v>
                </c:pt>
                <c:pt idx="6842" formatCode="m/d/yyyy">
                  <c:v>44464</c:v>
                </c:pt>
                <c:pt idx="6843" formatCode="m/d/yyyy">
                  <c:v>44465</c:v>
                </c:pt>
                <c:pt idx="6844" formatCode="m/d/yyyy">
                  <c:v>44466</c:v>
                </c:pt>
                <c:pt idx="6845" formatCode="m/d/yyyy">
                  <c:v>44467</c:v>
                </c:pt>
                <c:pt idx="6846" formatCode="m/d/yyyy">
                  <c:v>44468</c:v>
                </c:pt>
                <c:pt idx="6847" formatCode="m/d/yyyy">
                  <c:v>44469</c:v>
                </c:pt>
                <c:pt idx="6848" formatCode="m/d/yyyy">
                  <c:v>44470</c:v>
                </c:pt>
                <c:pt idx="6849" formatCode="m/d/yyyy">
                  <c:v>44471</c:v>
                </c:pt>
                <c:pt idx="6850" formatCode="m/d/yyyy">
                  <c:v>44472</c:v>
                </c:pt>
                <c:pt idx="6851" formatCode="m/d/yyyy">
                  <c:v>44473</c:v>
                </c:pt>
                <c:pt idx="6852" formatCode="m/d/yyyy">
                  <c:v>44474</c:v>
                </c:pt>
                <c:pt idx="6853" formatCode="m/d/yyyy">
                  <c:v>44475</c:v>
                </c:pt>
                <c:pt idx="6854" formatCode="m/d/yyyy">
                  <c:v>44476</c:v>
                </c:pt>
                <c:pt idx="6855" formatCode="m/d/yyyy">
                  <c:v>44477</c:v>
                </c:pt>
                <c:pt idx="6856" formatCode="m/d/yyyy">
                  <c:v>44478</c:v>
                </c:pt>
                <c:pt idx="6857" formatCode="m/d/yyyy">
                  <c:v>44479</c:v>
                </c:pt>
                <c:pt idx="6858" formatCode="m/d/yyyy">
                  <c:v>44480</c:v>
                </c:pt>
                <c:pt idx="6859" formatCode="m/d/yyyy">
                  <c:v>44481</c:v>
                </c:pt>
                <c:pt idx="6860" formatCode="m/d/yyyy">
                  <c:v>44482</c:v>
                </c:pt>
                <c:pt idx="6861" formatCode="m/d/yyyy">
                  <c:v>44483</c:v>
                </c:pt>
                <c:pt idx="6862" formatCode="m/d/yyyy">
                  <c:v>44484</c:v>
                </c:pt>
                <c:pt idx="6863" formatCode="m/d/yyyy">
                  <c:v>44485</c:v>
                </c:pt>
                <c:pt idx="6864" formatCode="m/d/yyyy">
                  <c:v>44486</c:v>
                </c:pt>
                <c:pt idx="6865" formatCode="m/d/yyyy">
                  <c:v>44487</c:v>
                </c:pt>
                <c:pt idx="6866" formatCode="m/d/yyyy">
                  <c:v>44488</c:v>
                </c:pt>
                <c:pt idx="6867" formatCode="m/d/yyyy">
                  <c:v>44489</c:v>
                </c:pt>
                <c:pt idx="6868" formatCode="m/d/yyyy">
                  <c:v>44490</c:v>
                </c:pt>
                <c:pt idx="6869" formatCode="m/d/yyyy">
                  <c:v>44491</c:v>
                </c:pt>
                <c:pt idx="6870" formatCode="m/d/yyyy">
                  <c:v>44492</c:v>
                </c:pt>
                <c:pt idx="6871" formatCode="m/d/yyyy">
                  <c:v>44493</c:v>
                </c:pt>
                <c:pt idx="6872" formatCode="m/d/yyyy">
                  <c:v>44494</c:v>
                </c:pt>
                <c:pt idx="6873" formatCode="m/d/yyyy">
                  <c:v>44495</c:v>
                </c:pt>
                <c:pt idx="6874" formatCode="m/d/yyyy">
                  <c:v>44496</c:v>
                </c:pt>
                <c:pt idx="6875" formatCode="m/d/yyyy">
                  <c:v>44497</c:v>
                </c:pt>
                <c:pt idx="6876" formatCode="m/d/yyyy">
                  <c:v>44498</c:v>
                </c:pt>
                <c:pt idx="6877" formatCode="m/d/yyyy">
                  <c:v>44499</c:v>
                </c:pt>
                <c:pt idx="6878" formatCode="m/d/yyyy">
                  <c:v>44500</c:v>
                </c:pt>
                <c:pt idx="6879" formatCode="m/d/yyyy">
                  <c:v>44501</c:v>
                </c:pt>
                <c:pt idx="6880" formatCode="m/d/yyyy">
                  <c:v>44502</c:v>
                </c:pt>
                <c:pt idx="6881" formatCode="m/d/yyyy">
                  <c:v>44503</c:v>
                </c:pt>
                <c:pt idx="6882" formatCode="m/d/yyyy">
                  <c:v>44504</c:v>
                </c:pt>
                <c:pt idx="6883" formatCode="m/d/yyyy">
                  <c:v>44505</c:v>
                </c:pt>
                <c:pt idx="6884" formatCode="m/d/yyyy">
                  <c:v>44506</c:v>
                </c:pt>
                <c:pt idx="6885" formatCode="m/d/yyyy">
                  <c:v>44507</c:v>
                </c:pt>
                <c:pt idx="6886" formatCode="m/d/yyyy">
                  <c:v>44508</c:v>
                </c:pt>
                <c:pt idx="6887" formatCode="m/d/yyyy">
                  <c:v>44509</c:v>
                </c:pt>
                <c:pt idx="6888" formatCode="m/d/yyyy">
                  <c:v>44510</c:v>
                </c:pt>
                <c:pt idx="6889" formatCode="m/d/yyyy">
                  <c:v>44511</c:v>
                </c:pt>
                <c:pt idx="6890" formatCode="m/d/yyyy">
                  <c:v>44512</c:v>
                </c:pt>
                <c:pt idx="6891" formatCode="m/d/yyyy">
                  <c:v>44513</c:v>
                </c:pt>
                <c:pt idx="6892" formatCode="m/d/yyyy">
                  <c:v>44514</c:v>
                </c:pt>
                <c:pt idx="6893" formatCode="m/d/yyyy">
                  <c:v>44515</c:v>
                </c:pt>
                <c:pt idx="6894" formatCode="m/d/yyyy">
                  <c:v>44516</c:v>
                </c:pt>
                <c:pt idx="6895" formatCode="m/d/yyyy">
                  <c:v>44517</c:v>
                </c:pt>
                <c:pt idx="6896" formatCode="m/d/yyyy">
                  <c:v>44518</c:v>
                </c:pt>
                <c:pt idx="6897" formatCode="m/d/yyyy">
                  <c:v>44519</c:v>
                </c:pt>
                <c:pt idx="6898" formatCode="m/d/yyyy">
                  <c:v>44520</c:v>
                </c:pt>
                <c:pt idx="6899" formatCode="m/d/yyyy">
                  <c:v>44521</c:v>
                </c:pt>
                <c:pt idx="6900" formatCode="m/d/yyyy">
                  <c:v>44522</c:v>
                </c:pt>
                <c:pt idx="6901" formatCode="m/d/yyyy">
                  <c:v>44523</c:v>
                </c:pt>
                <c:pt idx="6902" formatCode="m/d/yyyy">
                  <c:v>44524</c:v>
                </c:pt>
                <c:pt idx="6903" formatCode="m/d/yyyy">
                  <c:v>44525</c:v>
                </c:pt>
                <c:pt idx="6904" formatCode="m/d/yyyy">
                  <c:v>44526</c:v>
                </c:pt>
                <c:pt idx="6905" formatCode="m/d/yyyy">
                  <c:v>44527</c:v>
                </c:pt>
                <c:pt idx="6906" formatCode="m/d/yyyy">
                  <c:v>44528</c:v>
                </c:pt>
                <c:pt idx="6907" formatCode="m/d/yyyy">
                  <c:v>44529</c:v>
                </c:pt>
                <c:pt idx="6908" formatCode="m/d/yyyy">
                  <c:v>44530</c:v>
                </c:pt>
                <c:pt idx="6909" formatCode="m/d/yyyy">
                  <c:v>44531</c:v>
                </c:pt>
                <c:pt idx="6910" formatCode="m/d/yyyy">
                  <c:v>44532</c:v>
                </c:pt>
                <c:pt idx="6911" formatCode="m/d/yyyy">
                  <c:v>44533</c:v>
                </c:pt>
                <c:pt idx="6912" formatCode="m/d/yyyy">
                  <c:v>44534</c:v>
                </c:pt>
                <c:pt idx="6913" formatCode="m/d/yyyy">
                  <c:v>44535</c:v>
                </c:pt>
                <c:pt idx="6914" formatCode="m/d/yyyy">
                  <c:v>44536</c:v>
                </c:pt>
                <c:pt idx="6915" formatCode="m/d/yyyy">
                  <c:v>44537</c:v>
                </c:pt>
                <c:pt idx="6916" formatCode="m/d/yyyy">
                  <c:v>44538</c:v>
                </c:pt>
                <c:pt idx="6917" formatCode="m/d/yyyy">
                  <c:v>44539</c:v>
                </c:pt>
                <c:pt idx="6918" formatCode="m/d/yyyy">
                  <c:v>44540</c:v>
                </c:pt>
                <c:pt idx="6919" formatCode="m/d/yyyy">
                  <c:v>44541</c:v>
                </c:pt>
                <c:pt idx="6920" formatCode="m/d/yyyy">
                  <c:v>44542</c:v>
                </c:pt>
                <c:pt idx="6921" formatCode="m/d/yyyy">
                  <c:v>44543</c:v>
                </c:pt>
                <c:pt idx="6922" formatCode="m/d/yyyy">
                  <c:v>44544</c:v>
                </c:pt>
                <c:pt idx="6923" formatCode="m/d/yyyy">
                  <c:v>44545</c:v>
                </c:pt>
                <c:pt idx="6924" formatCode="m/d/yyyy">
                  <c:v>44546</c:v>
                </c:pt>
                <c:pt idx="6925" formatCode="m/d/yyyy">
                  <c:v>44547</c:v>
                </c:pt>
                <c:pt idx="6926" formatCode="m/d/yyyy">
                  <c:v>44548</c:v>
                </c:pt>
                <c:pt idx="6927" formatCode="m/d/yyyy">
                  <c:v>44549</c:v>
                </c:pt>
                <c:pt idx="6928" formatCode="m/d/yyyy">
                  <c:v>44550</c:v>
                </c:pt>
                <c:pt idx="6929" formatCode="m/d/yyyy">
                  <c:v>44551</c:v>
                </c:pt>
                <c:pt idx="6930" formatCode="m/d/yyyy">
                  <c:v>44552</c:v>
                </c:pt>
                <c:pt idx="6931" formatCode="m/d/yyyy">
                  <c:v>44553</c:v>
                </c:pt>
                <c:pt idx="6932" formatCode="m/d/yyyy">
                  <c:v>44554</c:v>
                </c:pt>
                <c:pt idx="6933" formatCode="m/d/yyyy">
                  <c:v>44555</c:v>
                </c:pt>
                <c:pt idx="6934" formatCode="m/d/yyyy">
                  <c:v>44556</c:v>
                </c:pt>
                <c:pt idx="6935" formatCode="m/d/yyyy">
                  <c:v>44557</c:v>
                </c:pt>
                <c:pt idx="6936" formatCode="m/d/yyyy">
                  <c:v>44558</c:v>
                </c:pt>
                <c:pt idx="6937" formatCode="m/d/yyyy">
                  <c:v>44559</c:v>
                </c:pt>
                <c:pt idx="6938" formatCode="m/d/yyyy">
                  <c:v>44560</c:v>
                </c:pt>
                <c:pt idx="6939" formatCode="m/d/yyyy">
                  <c:v>44561</c:v>
                </c:pt>
                <c:pt idx="6940" formatCode="m/d/yyyy">
                  <c:v>44562</c:v>
                </c:pt>
                <c:pt idx="6941" formatCode="m/d/yyyy">
                  <c:v>44563</c:v>
                </c:pt>
                <c:pt idx="6942" formatCode="m/d/yyyy">
                  <c:v>44564</c:v>
                </c:pt>
                <c:pt idx="6943" formatCode="m/d/yyyy">
                  <c:v>44565</c:v>
                </c:pt>
                <c:pt idx="6944" formatCode="m/d/yyyy">
                  <c:v>44566</c:v>
                </c:pt>
                <c:pt idx="6945" formatCode="m/d/yyyy">
                  <c:v>44567</c:v>
                </c:pt>
                <c:pt idx="6946" formatCode="m/d/yyyy">
                  <c:v>44568</c:v>
                </c:pt>
                <c:pt idx="6947" formatCode="m/d/yyyy">
                  <c:v>44569</c:v>
                </c:pt>
                <c:pt idx="6948" formatCode="m/d/yyyy">
                  <c:v>44570</c:v>
                </c:pt>
                <c:pt idx="6949" formatCode="m/d/yyyy">
                  <c:v>44571</c:v>
                </c:pt>
                <c:pt idx="6950" formatCode="m/d/yyyy">
                  <c:v>44572</c:v>
                </c:pt>
                <c:pt idx="6951" formatCode="m/d/yyyy">
                  <c:v>44573</c:v>
                </c:pt>
                <c:pt idx="6952" formatCode="m/d/yyyy">
                  <c:v>44574</c:v>
                </c:pt>
                <c:pt idx="6953" formatCode="m/d/yyyy">
                  <c:v>44575</c:v>
                </c:pt>
                <c:pt idx="6954" formatCode="m/d/yyyy">
                  <c:v>44576</c:v>
                </c:pt>
                <c:pt idx="6955" formatCode="m/d/yyyy">
                  <c:v>44577</c:v>
                </c:pt>
                <c:pt idx="6956" formatCode="m/d/yyyy">
                  <c:v>44578</c:v>
                </c:pt>
                <c:pt idx="6957" formatCode="m/d/yyyy">
                  <c:v>44579</c:v>
                </c:pt>
                <c:pt idx="6958" formatCode="m/d/yyyy">
                  <c:v>44580</c:v>
                </c:pt>
                <c:pt idx="6959" formatCode="m/d/yyyy">
                  <c:v>44581</c:v>
                </c:pt>
                <c:pt idx="6960" formatCode="m/d/yyyy">
                  <c:v>44582</c:v>
                </c:pt>
                <c:pt idx="6961" formatCode="m/d/yyyy">
                  <c:v>44583</c:v>
                </c:pt>
                <c:pt idx="6962" formatCode="m/d/yyyy">
                  <c:v>44584</c:v>
                </c:pt>
                <c:pt idx="6963" formatCode="m/d/yyyy">
                  <c:v>44585</c:v>
                </c:pt>
                <c:pt idx="6964" formatCode="m/d/yyyy">
                  <c:v>44586</c:v>
                </c:pt>
                <c:pt idx="6965" formatCode="m/d/yyyy">
                  <c:v>44587</c:v>
                </c:pt>
                <c:pt idx="6966" formatCode="m/d/yyyy">
                  <c:v>44588</c:v>
                </c:pt>
                <c:pt idx="6967" formatCode="m/d/yyyy">
                  <c:v>44589</c:v>
                </c:pt>
                <c:pt idx="6968" formatCode="m/d/yyyy">
                  <c:v>44590</c:v>
                </c:pt>
                <c:pt idx="6969" formatCode="m/d/yyyy">
                  <c:v>44591</c:v>
                </c:pt>
                <c:pt idx="6970" formatCode="m/d/yyyy">
                  <c:v>44592</c:v>
                </c:pt>
                <c:pt idx="6971" formatCode="m/d/yyyy">
                  <c:v>44593</c:v>
                </c:pt>
                <c:pt idx="6972" formatCode="m/d/yyyy">
                  <c:v>44594</c:v>
                </c:pt>
                <c:pt idx="6973" formatCode="m/d/yyyy">
                  <c:v>44595</c:v>
                </c:pt>
                <c:pt idx="6974" formatCode="m/d/yyyy">
                  <c:v>44596</c:v>
                </c:pt>
                <c:pt idx="6975" formatCode="m/d/yyyy">
                  <c:v>44597</c:v>
                </c:pt>
                <c:pt idx="6976" formatCode="m/d/yyyy">
                  <c:v>44598</c:v>
                </c:pt>
                <c:pt idx="6977" formatCode="m/d/yyyy">
                  <c:v>44599</c:v>
                </c:pt>
                <c:pt idx="6978" formatCode="m/d/yyyy">
                  <c:v>44600</c:v>
                </c:pt>
                <c:pt idx="6979" formatCode="m/d/yyyy">
                  <c:v>44601</c:v>
                </c:pt>
                <c:pt idx="6980" formatCode="m/d/yyyy">
                  <c:v>44602</c:v>
                </c:pt>
                <c:pt idx="6981" formatCode="m/d/yyyy">
                  <c:v>44603</c:v>
                </c:pt>
                <c:pt idx="6982" formatCode="m/d/yyyy">
                  <c:v>44604</c:v>
                </c:pt>
                <c:pt idx="6983" formatCode="m/d/yyyy">
                  <c:v>44605</c:v>
                </c:pt>
                <c:pt idx="6984" formatCode="m/d/yyyy">
                  <c:v>44606</c:v>
                </c:pt>
                <c:pt idx="6985" formatCode="m/d/yyyy">
                  <c:v>44607</c:v>
                </c:pt>
                <c:pt idx="6986" formatCode="m/d/yyyy">
                  <c:v>44608</c:v>
                </c:pt>
                <c:pt idx="6987" formatCode="m/d/yyyy">
                  <c:v>44609</c:v>
                </c:pt>
                <c:pt idx="6988" formatCode="m/d/yyyy">
                  <c:v>44610</c:v>
                </c:pt>
                <c:pt idx="6989" formatCode="m/d/yyyy">
                  <c:v>44611</c:v>
                </c:pt>
                <c:pt idx="6990" formatCode="m/d/yyyy">
                  <c:v>44612</c:v>
                </c:pt>
                <c:pt idx="6991" formatCode="m/d/yyyy">
                  <c:v>44613</c:v>
                </c:pt>
                <c:pt idx="6992" formatCode="m/d/yyyy">
                  <c:v>44614</c:v>
                </c:pt>
                <c:pt idx="6993" formatCode="m/d/yyyy">
                  <c:v>44615</c:v>
                </c:pt>
                <c:pt idx="6994" formatCode="m/d/yyyy">
                  <c:v>44616</c:v>
                </c:pt>
                <c:pt idx="6995" formatCode="m/d/yyyy">
                  <c:v>44617</c:v>
                </c:pt>
                <c:pt idx="6996" formatCode="m/d/yyyy">
                  <c:v>44618</c:v>
                </c:pt>
                <c:pt idx="6997" formatCode="m/d/yyyy">
                  <c:v>44619</c:v>
                </c:pt>
                <c:pt idx="6998" formatCode="m/d/yyyy">
                  <c:v>44620</c:v>
                </c:pt>
                <c:pt idx="6999" formatCode="m/d/yyyy">
                  <c:v>44621</c:v>
                </c:pt>
                <c:pt idx="7000" formatCode="m/d/yyyy">
                  <c:v>44622</c:v>
                </c:pt>
                <c:pt idx="7001" formatCode="m/d/yyyy">
                  <c:v>44623</c:v>
                </c:pt>
                <c:pt idx="7002" formatCode="m/d/yyyy">
                  <c:v>44624</c:v>
                </c:pt>
                <c:pt idx="7003" formatCode="m/d/yyyy">
                  <c:v>44625</c:v>
                </c:pt>
                <c:pt idx="7004" formatCode="m/d/yyyy">
                  <c:v>44626</c:v>
                </c:pt>
                <c:pt idx="7005" formatCode="m/d/yyyy">
                  <c:v>44627</c:v>
                </c:pt>
                <c:pt idx="7006" formatCode="m/d/yyyy">
                  <c:v>44628</c:v>
                </c:pt>
                <c:pt idx="7007" formatCode="m/d/yyyy">
                  <c:v>44629</c:v>
                </c:pt>
                <c:pt idx="7008" formatCode="m/d/yyyy">
                  <c:v>44630</c:v>
                </c:pt>
                <c:pt idx="7009" formatCode="m/d/yyyy">
                  <c:v>44631</c:v>
                </c:pt>
                <c:pt idx="7010" formatCode="m/d/yyyy">
                  <c:v>44632</c:v>
                </c:pt>
                <c:pt idx="7011" formatCode="m/d/yyyy">
                  <c:v>44633</c:v>
                </c:pt>
                <c:pt idx="7012" formatCode="m/d/yyyy">
                  <c:v>44634</c:v>
                </c:pt>
                <c:pt idx="7013" formatCode="m/d/yyyy">
                  <c:v>44635</c:v>
                </c:pt>
                <c:pt idx="7014" formatCode="m/d/yyyy">
                  <c:v>44636</c:v>
                </c:pt>
                <c:pt idx="7015" formatCode="m/d/yyyy">
                  <c:v>44637</c:v>
                </c:pt>
                <c:pt idx="7016" formatCode="m/d/yyyy">
                  <c:v>44638</c:v>
                </c:pt>
                <c:pt idx="7017" formatCode="m/d/yyyy">
                  <c:v>44639</c:v>
                </c:pt>
                <c:pt idx="7018" formatCode="m/d/yyyy">
                  <c:v>44640</c:v>
                </c:pt>
                <c:pt idx="7019" formatCode="m/d/yyyy">
                  <c:v>44641</c:v>
                </c:pt>
                <c:pt idx="7020" formatCode="m/d/yyyy">
                  <c:v>44642</c:v>
                </c:pt>
                <c:pt idx="7021" formatCode="m/d/yyyy">
                  <c:v>44643</c:v>
                </c:pt>
                <c:pt idx="7022" formatCode="m/d/yyyy">
                  <c:v>44644</c:v>
                </c:pt>
                <c:pt idx="7023" formatCode="m/d/yyyy">
                  <c:v>44645</c:v>
                </c:pt>
                <c:pt idx="7024" formatCode="m/d/yyyy">
                  <c:v>44646</c:v>
                </c:pt>
                <c:pt idx="7025" formatCode="m/d/yyyy">
                  <c:v>44647</c:v>
                </c:pt>
                <c:pt idx="7026" formatCode="m/d/yyyy">
                  <c:v>44648</c:v>
                </c:pt>
                <c:pt idx="7027" formatCode="m/d/yyyy">
                  <c:v>44649</c:v>
                </c:pt>
                <c:pt idx="7028" formatCode="m/d/yyyy">
                  <c:v>44650</c:v>
                </c:pt>
                <c:pt idx="7029" formatCode="m/d/yyyy">
                  <c:v>44651</c:v>
                </c:pt>
                <c:pt idx="7030" formatCode="m/d/yyyy">
                  <c:v>44652</c:v>
                </c:pt>
                <c:pt idx="7031" formatCode="m/d/yyyy">
                  <c:v>44653</c:v>
                </c:pt>
                <c:pt idx="7032" formatCode="m/d/yyyy">
                  <c:v>44654</c:v>
                </c:pt>
                <c:pt idx="7033" formatCode="m/d/yyyy">
                  <c:v>44655</c:v>
                </c:pt>
                <c:pt idx="7034" formatCode="m/d/yyyy">
                  <c:v>44656</c:v>
                </c:pt>
                <c:pt idx="7035" formatCode="m/d/yyyy">
                  <c:v>44657</c:v>
                </c:pt>
                <c:pt idx="7036" formatCode="m/d/yyyy">
                  <c:v>44658</c:v>
                </c:pt>
                <c:pt idx="7037" formatCode="m/d/yyyy">
                  <c:v>44659</c:v>
                </c:pt>
                <c:pt idx="7038" formatCode="m/d/yyyy">
                  <c:v>44660</c:v>
                </c:pt>
                <c:pt idx="7039" formatCode="m/d/yyyy">
                  <c:v>44661</c:v>
                </c:pt>
                <c:pt idx="7040" formatCode="m/d/yyyy">
                  <c:v>44662</c:v>
                </c:pt>
                <c:pt idx="7041" formatCode="m/d/yyyy">
                  <c:v>44663</c:v>
                </c:pt>
                <c:pt idx="7042" formatCode="m/d/yyyy">
                  <c:v>44664</c:v>
                </c:pt>
                <c:pt idx="7043" formatCode="m/d/yyyy">
                  <c:v>44665</c:v>
                </c:pt>
                <c:pt idx="7044" formatCode="m/d/yyyy">
                  <c:v>44666</c:v>
                </c:pt>
                <c:pt idx="7045" formatCode="m/d/yyyy">
                  <c:v>44667</c:v>
                </c:pt>
                <c:pt idx="7046" formatCode="m/d/yyyy">
                  <c:v>44668</c:v>
                </c:pt>
                <c:pt idx="7047" formatCode="m/d/yyyy">
                  <c:v>44669</c:v>
                </c:pt>
                <c:pt idx="7048" formatCode="m/d/yyyy">
                  <c:v>44670</c:v>
                </c:pt>
                <c:pt idx="7049" formatCode="m/d/yyyy">
                  <c:v>44671</c:v>
                </c:pt>
                <c:pt idx="7050" formatCode="m/d/yyyy">
                  <c:v>44672</c:v>
                </c:pt>
                <c:pt idx="7051" formatCode="m/d/yyyy">
                  <c:v>44673</c:v>
                </c:pt>
                <c:pt idx="7052" formatCode="m/d/yyyy">
                  <c:v>44674</c:v>
                </c:pt>
                <c:pt idx="7053" formatCode="m/d/yyyy">
                  <c:v>44675</c:v>
                </c:pt>
                <c:pt idx="7054" formatCode="m/d/yyyy">
                  <c:v>44676</c:v>
                </c:pt>
                <c:pt idx="7055" formatCode="m/d/yyyy">
                  <c:v>44677</c:v>
                </c:pt>
                <c:pt idx="7056" formatCode="m/d/yyyy">
                  <c:v>44678</c:v>
                </c:pt>
                <c:pt idx="7057" formatCode="m/d/yyyy">
                  <c:v>44679</c:v>
                </c:pt>
                <c:pt idx="7058" formatCode="m/d/yyyy">
                  <c:v>44680</c:v>
                </c:pt>
                <c:pt idx="7059" formatCode="m/d/yyyy">
                  <c:v>44681</c:v>
                </c:pt>
                <c:pt idx="7060" formatCode="m/d/yyyy">
                  <c:v>44682</c:v>
                </c:pt>
                <c:pt idx="7061" formatCode="m/d/yyyy">
                  <c:v>44683</c:v>
                </c:pt>
                <c:pt idx="7062" formatCode="m/d/yyyy">
                  <c:v>44684</c:v>
                </c:pt>
                <c:pt idx="7063" formatCode="m/d/yyyy">
                  <c:v>44685</c:v>
                </c:pt>
                <c:pt idx="7064" formatCode="m/d/yyyy">
                  <c:v>44686</c:v>
                </c:pt>
                <c:pt idx="7065" formatCode="m/d/yyyy">
                  <c:v>44687</c:v>
                </c:pt>
                <c:pt idx="7066" formatCode="m/d/yyyy">
                  <c:v>44688</c:v>
                </c:pt>
                <c:pt idx="7067" formatCode="m/d/yyyy">
                  <c:v>44689</c:v>
                </c:pt>
                <c:pt idx="7068" formatCode="m/d/yyyy">
                  <c:v>44690</c:v>
                </c:pt>
                <c:pt idx="7069" formatCode="m/d/yyyy">
                  <c:v>44691</c:v>
                </c:pt>
                <c:pt idx="7070" formatCode="m/d/yyyy">
                  <c:v>44692</c:v>
                </c:pt>
                <c:pt idx="7071" formatCode="m/d/yyyy">
                  <c:v>44693</c:v>
                </c:pt>
                <c:pt idx="7072" formatCode="m/d/yyyy">
                  <c:v>44694</c:v>
                </c:pt>
                <c:pt idx="7073" formatCode="m/d/yyyy">
                  <c:v>44695</c:v>
                </c:pt>
                <c:pt idx="7074" formatCode="m/d/yyyy">
                  <c:v>44696</c:v>
                </c:pt>
                <c:pt idx="7075" formatCode="m/d/yyyy">
                  <c:v>44697</c:v>
                </c:pt>
                <c:pt idx="7076" formatCode="m/d/yyyy">
                  <c:v>44698</c:v>
                </c:pt>
                <c:pt idx="7077" formatCode="m/d/yyyy">
                  <c:v>44699</c:v>
                </c:pt>
                <c:pt idx="7078" formatCode="m/d/yyyy">
                  <c:v>44700</c:v>
                </c:pt>
                <c:pt idx="7079" formatCode="m/d/yyyy">
                  <c:v>44701</c:v>
                </c:pt>
                <c:pt idx="7080" formatCode="m/d/yyyy">
                  <c:v>44702</c:v>
                </c:pt>
                <c:pt idx="7081" formatCode="m/d/yyyy">
                  <c:v>44703</c:v>
                </c:pt>
                <c:pt idx="7082" formatCode="m/d/yyyy">
                  <c:v>44704</c:v>
                </c:pt>
                <c:pt idx="7083" formatCode="m/d/yyyy">
                  <c:v>44705</c:v>
                </c:pt>
                <c:pt idx="7084" formatCode="m/d/yyyy">
                  <c:v>44706</c:v>
                </c:pt>
                <c:pt idx="7085" formatCode="m/d/yyyy">
                  <c:v>44707</c:v>
                </c:pt>
                <c:pt idx="7086" formatCode="m/d/yyyy">
                  <c:v>44708</c:v>
                </c:pt>
                <c:pt idx="7087" formatCode="m/d/yyyy">
                  <c:v>44709</c:v>
                </c:pt>
                <c:pt idx="7088" formatCode="m/d/yyyy">
                  <c:v>44710</c:v>
                </c:pt>
                <c:pt idx="7089" formatCode="m/d/yyyy">
                  <c:v>44711</c:v>
                </c:pt>
                <c:pt idx="7090" formatCode="m/d/yyyy">
                  <c:v>44712</c:v>
                </c:pt>
                <c:pt idx="7091" formatCode="m/d/yyyy">
                  <c:v>44713</c:v>
                </c:pt>
                <c:pt idx="7092" formatCode="m/d/yyyy">
                  <c:v>44714</c:v>
                </c:pt>
                <c:pt idx="7093" formatCode="m/d/yyyy">
                  <c:v>44715</c:v>
                </c:pt>
                <c:pt idx="7094" formatCode="m/d/yyyy">
                  <c:v>44716</c:v>
                </c:pt>
                <c:pt idx="7095" formatCode="m/d/yyyy">
                  <c:v>44717</c:v>
                </c:pt>
                <c:pt idx="7096" formatCode="m/d/yyyy">
                  <c:v>44718</c:v>
                </c:pt>
                <c:pt idx="7097" formatCode="m/d/yyyy">
                  <c:v>44719</c:v>
                </c:pt>
                <c:pt idx="7098" formatCode="m/d/yyyy">
                  <c:v>44720</c:v>
                </c:pt>
                <c:pt idx="7099" formatCode="m/d/yyyy">
                  <c:v>44721</c:v>
                </c:pt>
                <c:pt idx="7100" formatCode="m/d/yyyy">
                  <c:v>44722</c:v>
                </c:pt>
                <c:pt idx="7101" formatCode="m/d/yyyy">
                  <c:v>44723</c:v>
                </c:pt>
                <c:pt idx="7102" formatCode="m/d/yyyy">
                  <c:v>44724</c:v>
                </c:pt>
                <c:pt idx="7103" formatCode="m/d/yyyy">
                  <c:v>44725</c:v>
                </c:pt>
                <c:pt idx="7104" formatCode="m/d/yyyy">
                  <c:v>44726</c:v>
                </c:pt>
                <c:pt idx="7105" formatCode="m/d/yyyy">
                  <c:v>44727</c:v>
                </c:pt>
                <c:pt idx="7106" formatCode="m/d/yyyy">
                  <c:v>44728</c:v>
                </c:pt>
                <c:pt idx="7107" formatCode="m/d/yyyy">
                  <c:v>44729</c:v>
                </c:pt>
                <c:pt idx="7108" formatCode="m/d/yyyy">
                  <c:v>44730</c:v>
                </c:pt>
                <c:pt idx="7109" formatCode="m/d/yyyy">
                  <c:v>44731</c:v>
                </c:pt>
                <c:pt idx="7110" formatCode="m/d/yyyy">
                  <c:v>44732</c:v>
                </c:pt>
                <c:pt idx="7111" formatCode="m/d/yyyy">
                  <c:v>44733</c:v>
                </c:pt>
                <c:pt idx="7112" formatCode="m/d/yyyy">
                  <c:v>44734</c:v>
                </c:pt>
                <c:pt idx="7113" formatCode="m/d/yyyy">
                  <c:v>44735</c:v>
                </c:pt>
                <c:pt idx="7114" formatCode="m/d/yyyy">
                  <c:v>44736</c:v>
                </c:pt>
                <c:pt idx="7115" formatCode="m/d/yyyy">
                  <c:v>44737</c:v>
                </c:pt>
                <c:pt idx="7116" formatCode="m/d/yyyy">
                  <c:v>44738</c:v>
                </c:pt>
                <c:pt idx="7117" formatCode="m/d/yyyy">
                  <c:v>44739</c:v>
                </c:pt>
                <c:pt idx="7118" formatCode="m/d/yyyy">
                  <c:v>44740</c:v>
                </c:pt>
                <c:pt idx="7119" formatCode="m/d/yyyy">
                  <c:v>44741</c:v>
                </c:pt>
                <c:pt idx="7120" formatCode="m/d/yyyy">
                  <c:v>44742</c:v>
                </c:pt>
                <c:pt idx="7121" formatCode="m/d/yyyy">
                  <c:v>44743</c:v>
                </c:pt>
                <c:pt idx="7122" formatCode="m/d/yyyy">
                  <c:v>44744</c:v>
                </c:pt>
                <c:pt idx="7123" formatCode="m/d/yyyy">
                  <c:v>44745</c:v>
                </c:pt>
                <c:pt idx="7124" formatCode="m/d/yyyy">
                  <c:v>44746</c:v>
                </c:pt>
                <c:pt idx="7125" formatCode="m/d/yyyy">
                  <c:v>44747</c:v>
                </c:pt>
                <c:pt idx="7126" formatCode="m/d/yyyy">
                  <c:v>44748</c:v>
                </c:pt>
                <c:pt idx="7127" formatCode="m/d/yyyy">
                  <c:v>44749</c:v>
                </c:pt>
                <c:pt idx="7128" formatCode="m/d/yyyy">
                  <c:v>44750</c:v>
                </c:pt>
                <c:pt idx="7129" formatCode="m/d/yyyy">
                  <c:v>44751</c:v>
                </c:pt>
                <c:pt idx="7130" formatCode="m/d/yyyy">
                  <c:v>44752</c:v>
                </c:pt>
                <c:pt idx="7131" formatCode="m/d/yyyy">
                  <c:v>44753</c:v>
                </c:pt>
                <c:pt idx="7132" formatCode="m/d/yyyy">
                  <c:v>44754</c:v>
                </c:pt>
                <c:pt idx="7133" formatCode="m/d/yyyy">
                  <c:v>44755</c:v>
                </c:pt>
                <c:pt idx="7134" formatCode="m/d/yyyy">
                  <c:v>44756</c:v>
                </c:pt>
                <c:pt idx="7135" formatCode="m/d/yyyy">
                  <c:v>44757</c:v>
                </c:pt>
                <c:pt idx="7136" formatCode="m/d/yyyy">
                  <c:v>44758</c:v>
                </c:pt>
                <c:pt idx="7137" formatCode="m/d/yyyy">
                  <c:v>44759</c:v>
                </c:pt>
                <c:pt idx="7138" formatCode="m/d/yyyy">
                  <c:v>44760</c:v>
                </c:pt>
                <c:pt idx="7139" formatCode="m/d/yyyy">
                  <c:v>44761</c:v>
                </c:pt>
                <c:pt idx="7140" formatCode="m/d/yyyy">
                  <c:v>44762</c:v>
                </c:pt>
                <c:pt idx="7141" formatCode="m/d/yyyy">
                  <c:v>44763</c:v>
                </c:pt>
                <c:pt idx="7142" formatCode="m/d/yyyy">
                  <c:v>44764</c:v>
                </c:pt>
                <c:pt idx="7143" formatCode="m/d/yyyy">
                  <c:v>44765</c:v>
                </c:pt>
                <c:pt idx="7144" formatCode="m/d/yyyy">
                  <c:v>44766</c:v>
                </c:pt>
                <c:pt idx="7145" formatCode="m/d/yyyy">
                  <c:v>44767</c:v>
                </c:pt>
                <c:pt idx="7146" formatCode="m/d/yyyy">
                  <c:v>44768</c:v>
                </c:pt>
                <c:pt idx="7147" formatCode="m/d/yyyy">
                  <c:v>44769</c:v>
                </c:pt>
                <c:pt idx="7148" formatCode="m/d/yyyy">
                  <c:v>44770</c:v>
                </c:pt>
                <c:pt idx="7149" formatCode="m/d/yyyy">
                  <c:v>44771</c:v>
                </c:pt>
                <c:pt idx="7150" formatCode="m/d/yyyy">
                  <c:v>44772</c:v>
                </c:pt>
                <c:pt idx="7151" formatCode="m/d/yyyy">
                  <c:v>44773</c:v>
                </c:pt>
                <c:pt idx="7152" formatCode="m/d/yyyy">
                  <c:v>44774</c:v>
                </c:pt>
                <c:pt idx="7153" formatCode="m/d/yyyy">
                  <c:v>44775</c:v>
                </c:pt>
                <c:pt idx="7154" formatCode="m/d/yyyy">
                  <c:v>44776</c:v>
                </c:pt>
                <c:pt idx="7155" formatCode="m/d/yyyy">
                  <c:v>44777</c:v>
                </c:pt>
                <c:pt idx="7156" formatCode="m/d/yyyy">
                  <c:v>44778</c:v>
                </c:pt>
                <c:pt idx="7157" formatCode="m/d/yyyy">
                  <c:v>44779</c:v>
                </c:pt>
                <c:pt idx="7158" formatCode="m/d/yyyy">
                  <c:v>44780</c:v>
                </c:pt>
                <c:pt idx="7159" formatCode="m/d/yyyy">
                  <c:v>44781</c:v>
                </c:pt>
                <c:pt idx="7160" formatCode="m/d/yyyy">
                  <c:v>44782</c:v>
                </c:pt>
                <c:pt idx="7161" formatCode="m/d/yyyy">
                  <c:v>44783</c:v>
                </c:pt>
                <c:pt idx="7162" formatCode="m/d/yyyy">
                  <c:v>44784</c:v>
                </c:pt>
                <c:pt idx="7163" formatCode="m/d/yyyy">
                  <c:v>44785</c:v>
                </c:pt>
                <c:pt idx="7164" formatCode="m/d/yyyy">
                  <c:v>44786</c:v>
                </c:pt>
                <c:pt idx="7165" formatCode="m/d/yyyy">
                  <c:v>44787</c:v>
                </c:pt>
                <c:pt idx="7166" formatCode="m/d/yyyy">
                  <c:v>44788</c:v>
                </c:pt>
                <c:pt idx="7167" formatCode="m/d/yyyy">
                  <c:v>44789</c:v>
                </c:pt>
                <c:pt idx="7168" formatCode="m/d/yyyy">
                  <c:v>44790</c:v>
                </c:pt>
                <c:pt idx="7169" formatCode="m/d/yyyy">
                  <c:v>44791</c:v>
                </c:pt>
                <c:pt idx="7170" formatCode="m/d/yyyy">
                  <c:v>44792</c:v>
                </c:pt>
                <c:pt idx="7171" formatCode="m/d/yyyy">
                  <c:v>44793</c:v>
                </c:pt>
                <c:pt idx="7172" formatCode="m/d/yyyy">
                  <c:v>44794</c:v>
                </c:pt>
                <c:pt idx="7173" formatCode="m/d/yyyy">
                  <c:v>44795</c:v>
                </c:pt>
                <c:pt idx="7174" formatCode="m/d/yyyy">
                  <c:v>44796</c:v>
                </c:pt>
                <c:pt idx="7175" formatCode="m/d/yyyy">
                  <c:v>44797</c:v>
                </c:pt>
                <c:pt idx="7176" formatCode="m/d/yyyy">
                  <c:v>44798</c:v>
                </c:pt>
                <c:pt idx="7177" formatCode="m/d/yyyy">
                  <c:v>44799</c:v>
                </c:pt>
                <c:pt idx="7178" formatCode="m/d/yyyy">
                  <c:v>44800</c:v>
                </c:pt>
                <c:pt idx="7179" formatCode="m/d/yyyy">
                  <c:v>44801</c:v>
                </c:pt>
                <c:pt idx="7180" formatCode="m/d/yyyy">
                  <c:v>44802</c:v>
                </c:pt>
                <c:pt idx="7181" formatCode="m/d/yyyy">
                  <c:v>44803</c:v>
                </c:pt>
                <c:pt idx="7182" formatCode="m/d/yyyy">
                  <c:v>44804</c:v>
                </c:pt>
                <c:pt idx="7183" formatCode="m/d/yyyy">
                  <c:v>44805</c:v>
                </c:pt>
                <c:pt idx="7184" formatCode="m/d/yyyy">
                  <c:v>44806</c:v>
                </c:pt>
                <c:pt idx="7185" formatCode="m/d/yyyy">
                  <c:v>44807</c:v>
                </c:pt>
                <c:pt idx="7186" formatCode="m/d/yyyy">
                  <c:v>44808</c:v>
                </c:pt>
                <c:pt idx="7187" formatCode="m/d/yyyy">
                  <c:v>44809</c:v>
                </c:pt>
                <c:pt idx="7188" formatCode="m/d/yyyy">
                  <c:v>44810</c:v>
                </c:pt>
                <c:pt idx="7189" formatCode="m/d/yyyy">
                  <c:v>44811</c:v>
                </c:pt>
                <c:pt idx="7190" formatCode="m/d/yyyy">
                  <c:v>44812</c:v>
                </c:pt>
                <c:pt idx="7191" formatCode="m/d/yyyy">
                  <c:v>44813</c:v>
                </c:pt>
                <c:pt idx="7192" formatCode="m/d/yyyy">
                  <c:v>44814</c:v>
                </c:pt>
                <c:pt idx="7193" formatCode="m/d/yyyy">
                  <c:v>44815</c:v>
                </c:pt>
                <c:pt idx="7194" formatCode="m/d/yyyy">
                  <c:v>44816</c:v>
                </c:pt>
                <c:pt idx="7195" formatCode="m/d/yyyy">
                  <c:v>44817</c:v>
                </c:pt>
                <c:pt idx="7196" formatCode="m/d/yyyy">
                  <c:v>44818</c:v>
                </c:pt>
                <c:pt idx="7197" formatCode="m/d/yyyy">
                  <c:v>44819</c:v>
                </c:pt>
                <c:pt idx="7198" formatCode="m/d/yyyy">
                  <c:v>44820</c:v>
                </c:pt>
                <c:pt idx="7199" formatCode="m/d/yyyy">
                  <c:v>44821</c:v>
                </c:pt>
                <c:pt idx="7200" formatCode="m/d/yyyy">
                  <c:v>44822</c:v>
                </c:pt>
                <c:pt idx="7201" formatCode="m/d/yyyy">
                  <c:v>44823</c:v>
                </c:pt>
                <c:pt idx="7202" formatCode="m/d/yyyy">
                  <c:v>44824</c:v>
                </c:pt>
                <c:pt idx="7203" formatCode="m/d/yyyy">
                  <c:v>44825</c:v>
                </c:pt>
                <c:pt idx="7204" formatCode="m/d/yyyy">
                  <c:v>44826</c:v>
                </c:pt>
                <c:pt idx="7205" formatCode="m/d/yyyy">
                  <c:v>44827</c:v>
                </c:pt>
                <c:pt idx="7206" formatCode="m/d/yyyy">
                  <c:v>44828</c:v>
                </c:pt>
                <c:pt idx="7207" formatCode="m/d/yyyy">
                  <c:v>44829</c:v>
                </c:pt>
                <c:pt idx="7208" formatCode="m/d/yyyy">
                  <c:v>44830</c:v>
                </c:pt>
                <c:pt idx="7209" formatCode="m/d/yyyy">
                  <c:v>44831</c:v>
                </c:pt>
                <c:pt idx="7210" formatCode="m/d/yyyy">
                  <c:v>44832</c:v>
                </c:pt>
                <c:pt idx="7211" formatCode="m/d/yyyy">
                  <c:v>44833</c:v>
                </c:pt>
                <c:pt idx="7212" formatCode="m/d/yyyy">
                  <c:v>44834</c:v>
                </c:pt>
                <c:pt idx="7213" formatCode="m/d/yyyy">
                  <c:v>44835</c:v>
                </c:pt>
                <c:pt idx="7214" formatCode="m/d/yyyy">
                  <c:v>44836</c:v>
                </c:pt>
                <c:pt idx="7215" formatCode="m/d/yyyy">
                  <c:v>44837</c:v>
                </c:pt>
                <c:pt idx="7216" formatCode="m/d/yyyy">
                  <c:v>44838</c:v>
                </c:pt>
                <c:pt idx="7217" formatCode="m/d/yyyy">
                  <c:v>44839</c:v>
                </c:pt>
                <c:pt idx="7218" formatCode="m/d/yyyy">
                  <c:v>44840</c:v>
                </c:pt>
                <c:pt idx="7219" formatCode="m/d/yyyy">
                  <c:v>44841</c:v>
                </c:pt>
                <c:pt idx="7220" formatCode="m/d/yyyy">
                  <c:v>44842</c:v>
                </c:pt>
                <c:pt idx="7221" formatCode="m/d/yyyy">
                  <c:v>44843</c:v>
                </c:pt>
                <c:pt idx="7222" formatCode="m/d/yyyy">
                  <c:v>44844</c:v>
                </c:pt>
                <c:pt idx="7223" formatCode="m/d/yyyy">
                  <c:v>44845</c:v>
                </c:pt>
                <c:pt idx="7224" formatCode="m/d/yyyy">
                  <c:v>44846</c:v>
                </c:pt>
                <c:pt idx="7225" formatCode="m/d/yyyy">
                  <c:v>44847</c:v>
                </c:pt>
                <c:pt idx="7226" formatCode="m/d/yyyy">
                  <c:v>44848</c:v>
                </c:pt>
                <c:pt idx="7227" formatCode="m/d/yyyy">
                  <c:v>44849</c:v>
                </c:pt>
                <c:pt idx="7228" formatCode="m/d/yyyy">
                  <c:v>44850</c:v>
                </c:pt>
                <c:pt idx="7229" formatCode="m/d/yyyy">
                  <c:v>44851</c:v>
                </c:pt>
                <c:pt idx="7230" formatCode="m/d/yyyy">
                  <c:v>44852</c:v>
                </c:pt>
                <c:pt idx="7231" formatCode="m/d/yyyy">
                  <c:v>44853</c:v>
                </c:pt>
                <c:pt idx="7232" formatCode="m/d/yyyy">
                  <c:v>44854</c:v>
                </c:pt>
                <c:pt idx="7233" formatCode="m/d/yyyy">
                  <c:v>44855</c:v>
                </c:pt>
                <c:pt idx="7234" formatCode="m/d/yyyy">
                  <c:v>44856</c:v>
                </c:pt>
                <c:pt idx="7235" formatCode="m/d/yyyy">
                  <c:v>44857</c:v>
                </c:pt>
                <c:pt idx="7236" formatCode="m/d/yyyy">
                  <c:v>44858</c:v>
                </c:pt>
                <c:pt idx="7237" formatCode="m/d/yyyy">
                  <c:v>44859</c:v>
                </c:pt>
                <c:pt idx="7238" formatCode="m/d/yyyy">
                  <c:v>44860</c:v>
                </c:pt>
                <c:pt idx="7239" formatCode="m/d/yyyy">
                  <c:v>44861</c:v>
                </c:pt>
                <c:pt idx="7240" formatCode="m/d/yyyy">
                  <c:v>44862</c:v>
                </c:pt>
                <c:pt idx="7241" formatCode="m/d/yyyy">
                  <c:v>44863</c:v>
                </c:pt>
                <c:pt idx="7242" formatCode="m/d/yyyy">
                  <c:v>44864</c:v>
                </c:pt>
                <c:pt idx="7243" formatCode="m/d/yyyy">
                  <c:v>44865</c:v>
                </c:pt>
                <c:pt idx="7244" formatCode="m/d/yyyy">
                  <c:v>44866</c:v>
                </c:pt>
                <c:pt idx="7245" formatCode="m/d/yyyy">
                  <c:v>44867</c:v>
                </c:pt>
                <c:pt idx="7246" formatCode="m/d/yyyy">
                  <c:v>44868</c:v>
                </c:pt>
                <c:pt idx="7247" formatCode="m/d/yyyy">
                  <c:v>44869</c:v>
                </c:pt>
                <c:pt idx="7248" formatCode="m/d/yyyy">
                  <c:v>44870</c:v>
                </c:pt>
                <c:pt idx="7249" formatCode="m/d/yyyy">
                  <c:v>44871</c:v>
                </c:pt>
                <c:pt idx="7250" formatCode="m/d/yyyy">
                  <c:v>44872</c:v>
                </c:pt>
                <c:pt idx="7251" formatCode="m/d/yyyy">
                  <c:v>44873</c:v>
                </c:pt>
                <c:pt idx="7252" formatCode="m/d/yyyy">
                  <c:v>44874</c:v>
                </c:pt>
                <c:pt idx="7253" formatCode="m/d/yyyy">
                  <c:v>44875</c:v>
                </c:pt>
                <c:pt idx="7254" formatCode="m/d/yyyy">
                  <c:v>44876</c:v>
                </c:pt>
                <c:pt idx="7255" formatCode="m/d/yyyy">
                  <c:v>44877</c:v>
                </c:pt>
                <c:pt idx="7256" formatCode="m/d/yyyy">
                  <c:v>44878</c:v>
                </c:pt>
                <c:pt idx="7257" formatCode="m/d/yyyy">
                  <c:v>44879</c:v>
                </c:pt>
                <c:pt idx="7258" formatCode="m/d/yyyy">
                  <c:v>44880</c:v>
                </c:pt>
                <c:pt idx="7259" formatCode="m/d/yyyy">
                  <c:v>44881</c:v>
                </c:pt>
                <c:pt idx="7260" formatCode="m/d/yyyy">
                  <c:v>44882</c:v>
                </c:pt>
                <c:pt idx="7261" formatCode="m/d/yyyy">
                  <c:v>44883</c:v>
                </c:pt>
                <c:pt idx="7262" formatCode="m/d/yyyy">
                  <c:v>44884</c:v>
                </c:pt>
                <c:pt idx="7263" formatCode="m/d/yyyy">
                  <c:v>44885</c:v>
                </c:pt>
                <c:pt idx="7264" formatCode="m/d/yyyy">
                  <c:v>44886</c:v>
                </c:pt>
                <c:pt idx="7265" formatCode="m/d/yyyy">
                  <c:v>44887</c:v>
                </c:pt>
                <c:pt idx="7266" formatCode="m/d/yyyy">
                  <c:v>44888</c:v>
                </c:pt>
                <c:pt idx="7267" formatCode="m/d/yyyy">
                  <c:v>44889</c:v>
                </c:pt>
                <c:pt idx="7268" formatCode="m/d/yyyy">
                  <c:v>44890</c:v>
                </c:pt>
                <c:pt idx="7269" formatCode="m/d/yyyy">
                  <c:v>44891</c:v>
                </c:pt>
                <c:pt idx="7270" formatCode="m/d/yyyy">
                  <c:v>44892</c:v>
                </c:pt>
                <c:pt idx="7271" formatCode="m/d/yyyy">
                  <c:v>44893</c:v>
                </c:pt>
                <c:pt idx="7272" formatCode="m/d/yyyy">
                  <c:v>44894</c:v>
                </c:pt>
                <c:pt idx="7273" formatCode="m/d/yyyy">
                  <c:v>44895</c:v>
                </c:pt>
                <c:pt idx="7274" formatCode="m/d/yyyy">
                  <c:v>44896</c:v>
                </c:pt>
                <c:pt idx="7275" formatCode="m/d/yyyy">
                  <c:v>44897</c:v>
                </c:pt>
                <c:pt idx="7276" formatCode="m/d/yyyy">
                  <c:v>44898</c:v>
                </c:pt>
                <c:pt idx="7277" formatCode="m/d/yyyy">
                  <c:v>44899</c:v>
                </c:pt>
                <c:pt idx="7278" formatCode="m/d/yyyy">
                  <c:v>44900</c:v>
                </c:pt>
                <c:pt idx="7279" formatCode="m/d/yyyy">
                  <c:v>44901</c:v>
                </c:pt>
                <c:pt idx="7280" formatCode="m/d/yyyy">
                  <c:v>44902</c:v>
                </c:pt>
                <c:pt idx="7281" formatCode="m/d/yyyy">
                  <c:v>44903</c:v>
                </c:pt>
                <c:pt idx="7282" formatCode="m/d/yyyy">
                  <c:v>44904</c:v>
                </c:pt>
                <c:pt idx="7283" formatCode="m/d/yyyy">
                  <c:v>44905</c:v>
                </c:pt>
                <c:pt idx="7284" formatCode="m/d/yyyy">
                  <c:v>44906</c:v>
                </c:pt>
                <c:pt idx="7285" formatCode="m/d/yyyy">
                  <c:v>44907</c:v>
                </c:pt>
                <c:pt idx="7286" formatCode="m/d/yyyy">
                  <c:v>44908</c:v>
                </c:pt>
                <c:pt idx="7287" formatCode="m/d/yyyy">
                  <c:v>44909</c:v>
                </c:pt>
                <c:pt idx="7288" formatCode="m/d/yyyy">
                  <c:v>44910</c:v>
                </c:pt>
                <c:pt idx="7289" formatCode="m/d/yyyy">
                  <c:v>44911</c:v>
                </c:pt>
                <c:pt idx="7290" formatCode="m/d/yyyy">
                  <c:v>44912</c:v>
                </c:pt>
                <c:pt idx="7291" formatCode="m/d/yyyy">
                  <c:v>44913</c:v>
                </c:pt>
                <c:pt idx="7292" formatCode="m/d/yyyy">
                  <c:v>44914</c:v>
                </c:pt>
                <c:pt idx="7293" formatCode="m/d/yyyy">
                  <c:v>44915</c:v>
                </c:pt>
                <c:pt idx="7294" formatCode="m/d/yyyy">
                  <c:v>44916</c:v>
                </c:pt>
                <c:pt idx="7295" formatCode="m/d/yyyy">
                  <c:v>44917</c:v>
                </c:pt>
                <c:pt idx="7296" formatCode="m/d/yyyy">
                  <c:v>44918</c:v>
                </c:pt>
                <c:pt idx="7297" formatCode="m/d/yyyy">
                  <c:v>44919</c:v>
                </c:pt>
                <c:pt idx="7298" formatCode="m/d/yyyy">
                  <c:v>44920</c:v>
                </c:pt>
                <c:pt idx="7299" formatCode="m/d/yyyy">
                  <c:v>44921</c:v>
                </c:pt>
                <c:pt idx="7300" formatCode="m/d/yyyy">
                  <c:v>44922</c:v>
                </c:pt>
                <c:pt idx="7301" formatCode="m/d/yyyy">
                  <c:v>44923</c:v>
                </c:pt>
                <c:pt idx="7302" formatCode="m/d/yyyy">
                  <c:v>44924</c:v>
                </c:pt>
                <c:pt idx="7303" formatCode="m/d/yyyy">
                  <c:v>44925</c:v>
                </c:pt>
                <c:pt idx="7304" formatCode="m/d/yyyy">
                  <c:v>44926</c:v>
                </c:pt>
                <c:pt idx="7305" formatCode="m/d/yyyy">
                  <c:v>44927</c:v>
                </c:pt>
                <c:pt idx="7306" formatCode="m/d/yyyy">
                  <c:v>44928</c:v>
                </c:pt>
                <c:pt idx="7307" formatCode="m/d/yyyy">
                  <c:v>44929</c:v>
                </c:pt>
                <c:pt idx="7308" formatCode="m/d/yyyy">
                  <c:v>44930</c:v>
                </c:pt>
                <c:pt idx="7309" formatCode="m/d/yyyy">
                  <c:v>44931</c:v>
                </c:pt>
                <c:pt idx="7310" formatCode="m/d/yyyy">
                  <c:v>44932</c:v>
                </c:pt>
                <c:pt idx="7311" formatCode="m/d/yyyy">
                  <c:v>44933</c:v>
                </c:pt>
                <c:pt idx="7312" formatCode="m/d/yyyy">
                  <c:v>44934</c:v>
                </c:pt>
                <c:pt idx="7313" formatCode="m/d/yyyy">
                  <c:v>44935</c:v>
                </c:pt>
                <c:pt idx="7314" formatCode="m/d/yyyy">
                  <c:v>44936</c:v>
                </c:pt>
                <c:pt idx="7315" formatCode="m/d/yyyy">
                  <c:v>44937</c:v>
                </c:pt>
                <c:pt idx="7316" formatCode="m/d/yyyy">
                  <c:v>44938</c:v>
                </c:pt>
                <c:pt idx="7317" formatCode="m/d/yyyy">
                  <c:v>44939</c:v>
                </c:pt>
                <c:pt idx="7318" formatCode="m/d/yyyy">
                  <c:v>44940</c:v>
                </c:pt>
                <c:pt idx="7319" formatCode="m/d/yyyy">
                  <c:v>44941</c:v>
                </c:pt>
                <c:pt idx="7320" formatCode="m/d/yyyy">
                  <c:v>44942</c:v>
                </c:pt>
                <c:pt idx="7321" formatCode="m/d/yyyy">
                  <c:v>44943</c:v>
                </c:pt>
                <c:pt idx="7322" formatCode="m/d/yyyy">
                  <c:v>44944</c:v>
                </c:pt>
                <c:pt idx="7323" formatCode="m/d/yyyy">
                  <c:v>44945</c:v>
                </c:pt>
                <c:pt idx="7324" formatCode="m/d/yyyy">
                  <c:v>44946</c:v>
                </c:pt>
                <c:pt idx="7325" formatCode="m/d/yyyy">
                  <c:v>44947</c:v>
                </c:pt>
                <c:pt idx="7326" formatCode="m/d/yyyy">
                  <c:v>44948</c:v>
                </c:pt>
                <c:pt idx="7327" formatCode="m/d/yyyy">
                  <c:v>44949</c:v>
                </c:pt>
                <c:pt idx="7328" formatCode="m/d/yyyy">
                  <c:v>44950</c:v>
                </c:pt>
                <c:pt idx="7329" formatCode="m/d/yyyy">
                  <c:v>44951</c:v>
                </c:pt>
                <c:pt idx="7330" formatCode="m/d/yyyy">
                  <c:v>44952</c:v>
                </c:pt>
                <c:pt idx="7331" formatCode="m/d/yyyy">
                  <c:v>44953</c:v>
                </c:pt>
              </c:numCache>
            </c:numRef>
          </c:cat>
          <c:val>
            <c:numRef>
              <c:f>Tabelle1!$C$2:$C$7333</c:f>
              <c:numCache>
                <c:formatCode>0.00</c:formatCode>
                <c:ptCount val="7332"/>
                <c:pt idx="0" formatCode="General">
                  <c:v>100</c:v>
                </c:pt>
                <c:pt idx="1">
                  <c:v>100.05790222637037</c:v>
                </c:pt>
                <c:pt idx="2">
                  <c:v>99.508046745726446</c:v>
                </c:pt>
                <c:pt idx="3">
                  <c:v>99.508046745726446</c:v>
                </c:pt>
                <c:pt idx="4">
                  <c:v>99.508046745726446</c:v>
                </c:pt>
                <c:pt idx="5">
                  <c:v>99.608733767247429</c:v>
                </c:pt>
                <c:pt idx="6">
                  <c:v>100.04054593645091</c:v>
                </c:pt>
                <c:pt idx="7">
                  <c:v>100.34151838164611</c:v>
                </c:pt>
                <c:pt idx="8">
                  <c:v>101.20575891969521</c:v>
                </c:pt>
                <c:pt idx="9">
                  <c:v>101.87242531249538</c:v>
                </c:pt>
                <c:pt idx="10">
                  <c:v>101.87242531249538</c:v>
                </c:pt>
                <c:pt idx="11">
                  <c:v>101.87242531249538</c:v>
                </c:pt>
                <c:pt idx="12">
                  <c:v>102.09193616500347</c:v>
                </c:pt>
                <c:pt idx="13">
                  <c:v>101.77730462774147</c:v>
                </c:pt>
                <c:pt idx="14">
                  <c:v>102.45526801398033</c:v>
                </c:pt>
                <c:pt idx="15">
                  <c:v>101.95318854558808</c:v>
                </c:pt>
                <c:pt idx="16">
                  <c:v>100.86660263667717</c:v>
                </c:pt>
                <c:pt idx="17">
                  <c:v>100.86660263667717</c:v>
                </c:pt>
                <c:pt idx="18">
                  <c:v>100.86660263667717</c:v>
                </c:pt>
                <c:pt idx="19">
                  <c:v>100.86660263667717</c:v>
                </c:pt>
                <c:pt idx="20">
                  <c:v>100.71776988311923</c:v>
                </c:pt>
                <c:pt idx="21">
                  <c:v>100.7925354396954</c:v>
                </c:pt>
                <c:pt idx="22">
                  <c:v>100.5200519579538</c:v>
                </c:pt>
                <c:pt idx="23">
                  <c:v>99.863860959069541</c:v>
                </c:pt>
                <c:pt idx="24">
                  <c:v>99.863860959069541</c:v>
                </c:pt>
                <c:pt idx="25">
                  <c:v>99.863860959069541</c:v>
                </c:pt>
                <c:pt idx="26">
                  <c:v>99.443448483245092</c:v>
                </c:pt>
                <c:pt idx="27">
                  <c:v>99.652442861861147</c:v>
                </c:pt>
                <c:pt idx="28">
                  <c:v>99.483973879707932</c:v>
                </c:pt>
                <c:pt idx="29">
                  <c:v>99.058159387020993</c:v>
                </c:pt>
                <c:pt idx="30">
                  <c:v>97.964446102249667</c:v>
                </c:pt>
                <c:pt idx="31">
                  <c:v>97.964446102249667</c:v>
                </c:pt>
                <c:pt idx="32">
                  <c:v>97.964446102249667</c:v>
                </c:pt>
                <c:pt idx="33">
                  <c:v>97.25261227568275</c:v>
                </c:pt>
                <c:pt idx="34">
                  <c:v>97.163838447242583</c:v>
                </c:pt>
                <c:pt idx="35">
                  <c:v>97.04846533425129</c:v>
                </c:pt>
                <c:pt idx="36">
                  <c:v>97.123867630457639</c:v>
                </c:pt>
                <c:pt idx="37">
                  <c:v>96.745582670165533</c:v>
                </c:pt>
                <c:pt idx="38">
                  <c:v>96.745582670165533</c:v>
                </c:pt>
                <c:pt idx="39">
                  <c:v>96.745582670165533</c:v>
                </c:pt>
                <c:pt idx="40">
                  <c:v>96.571116011495775</c:v>
                </c:pt>
                <c:pt idx="41">
                  <c:v>97.38704649760335</c:v>
                </c:pt>
                <c:pt idx="42">
                  <c:v>97.091126889473458</c:v>
                </c:pt>
                <c:pt idx="43">
                  <c:v>96.475728306896954</c:v>
                </c:pt>
                <c:pt idx="44">
                  <c:v>95.790165125072065</c:v>
                </c:pt>
                <c:pt idx="45">
                  <c:v>95.790165125072065</c:v>
                </c:pt>
                <c:pt idx="46">
                  <c:v>95.790165125072065</c:v>
                </c:pt>
                <c:pt idx="47">
                  <c:v>95.790165125072065</c:v>
                </c:pt>
                <c:pt idx="48">
                  <c:v>96.411910563962309</c:v>
                </c:pt>
                <c:pt idx="49">
                  <c:v>95.961920505316542</c:v>
                </c:pt>
                <c:pt idx="50">
                  <c:v>96.578839047010248</c:v>
                </c:pt>
                <c:pt idx="51">
                  <c:v>96.42353619721014</c:v>
                </c:pt>
                <c:pt idx="52">
                  <c:v>96.42353619721014</c:v>
                </c:pt>
                <c:pt idx="53">
                  <c:v>96.42353619721014</c:v>
                </c:pt>
                <c:pt idx="54">
                  <c:v>96.325252354293397</c:v>
                </c:pt>
                <c:pt idx="55">
                  <c:v>95.807583034955741</c:v>
                </c:pt>
                <c:pt idx="56">
                  <c:v>95.709381351991283</c:v>
                </c:pt>
                <c:pt idx="57">
                  <c:v>95.900731880854892</c:v>
                </c:pt>
                <c:pt idx="58">
                  <c:v>95.886394969181779</c:v>
                </c:pt>
                <c:pt idx="59">
                  <c:v>95.886394969181779</c:v>
                </c:pt>
                <c:pt idx="60">
                  <c:v>95.886394969181779</c:v>
                </c:pt>
                <c:pt idx="61">
                  <c:v>96.005198260180833</c:v>
                </c:pt>
                <c:pt idx="62">
                  <c:v>95.791623464225069</c:v>
                </c:pt>
                <c:pt idx="63">
                  <c:v>94.976637817568744</c:v>
                </c:pt>
                <c:pt idx="64">
                  <c:v>95.241870683521483</c:v>
                </c:pt>
                <c:pt idx="65">
                  <c:v>94.991221209098697</c:v>
                </c:pt>
                <c:pt idx="66">
                  <c:v>94.991221209098697</c:v>
                </c:pt>
                <c:pt idx="67">
                  <c:v>94.991221209098697</c:v>
                </c:pt>
                <c:pt idx="68">
                  <c:v>95.04372141860658</c:v>
                </c:pt>
                <c:pt idx="69">
                  <c:v>94.490353600002621</c:v>
                </c:pt>
                <c:pt idx="70">
                  <c:v>94.100627866355325</c:v>
                </c:pt>
                <c:pt idx="71">
                  <c:v>94.819589068782662</c:v>
                </c:pt>
                <c:pt idx="72">
                  <c:v>94.411788145633437</c:v>
                </c:pt>
                <c:pt idx="73">
                  <c:v>94.411788145633437</c:v>
                </c:pt>
                <c:pt idx="74">
                  <c:v>94.411788145633437</c:v>
                </c:pt>
                <c:pt idx="75">
                  <c:v>94.556266421720451</c:v>
                </c:pt>
                <c:pt idx="76">
                  <c:v>95.801133478701672</c:v>
                </c:pt>
                <c:pt idx="77">
                  <c:v>95.349602920950616</c:v>
                </c:pt>
                <c:pt idx="78">
                  <c:v>96.076410398820826</c:v>
                </c:pt>
                <c:pt idx="79">
                  <c:v>96.685112945286392</c:v>
                </c:pt>
                <c:pt idx="80">
                  <c:v>96.685112945286392</c:v>
                </c:pt>
                <c:pt idx="81">
                  <c:v>96.685112945286392</c:v>
                </c:pt>
                <c:pt idx="82">
                  <c:v>96.153435354084735</c:v>
                </c:pt>
                <c:pt idx="83">
                  <c:v>96.579393626688173</c:v>
                </c:pt>
                <c:pt idx="84">
                  <c:v>96.703763254454302</c:v>
                </c:pt>
                <c:pt idx="85">
                  <c:v>96.775817532605174</c:v>
                </c:pt>
                <c:pt idx="86">
                  <c:v>96.895052163353711</c:v>
                </c:pt>
                <c:pt idx="87">
                  <c:v>96.895052163353711</c:v>
                </c:pt>
                <c:pt idx="88">
                  <c:v>96.895052163353711</c:v>
                </c:pt>
                <c:pt idx="89">
                  <c:v>97.358495914185568</c:v>
                </c:pt>
                <c:pt idx="90">
                  <c:v>97.727188700048799</c:v>
                </c:pt>
                <c:pt idx="91">
                  <c:v>98.847295869490566</c:v>
                </c:pt>
                <c:pt idx="92">
                  <c:v>99.06249332450389</c:v>
                </c:pt>
                <c:pt idx="93">
                  <c:v>98.801121976308366</c:v>
                </c:pt>
                <c:pt idx="94">
                  <c:v>98.801121976308366</c:v>
                </c:pt>
                <c:pt idx="95">
                  <c:v>98.801121976308366</c:v>
                </c:pt>
                <c:pt idx="96">
                  <c:v>98.93902745621287</c:v>
                </c:pt>
                <c:pt idx="97">
                  <c:v>97.538241349789445</c:v>
                </c:pt>
                <c:pt idx="98">
                  <c:v>97.649609165107009</c:v>
                </c:pt>
                <c:pt idx="99">
                  <c:v>97.01192469547415</c:v>
                </c:pt>
                <c:pt idx="100">
                  <c:v>97.325097893583163</c:v>
                </c:pt>
                <c:pt idx="101">
                  <c:v>97.325097893583163</c:v>
                </c:pt>
                <c:pt idx="102">
                  <c:v>97.325097893583163</c:v>
                </c:pt>
                <c:pt idx="103">
                  <c:v>97.424223876010799</c:v>
                </c:pt>
                <c:pt idx="104">
                  <c:v>98.281850537901235</c:v>
                </c:pt>
                <c:pt idx="105">
                  <c:v>98.776638310528497</c:v>
                </c:pt>
                <c:pt idx="106">
                  <c:v>99.851187786430145</c:v>
                </c:pt>
                <c:pt idx="107">
                  <c:v>99.851187786430145</c:v>
                </c:pt>
                <c:pt idx="108">
                  <c:v>99.851187786430145</c:v>
                </c:pt>
                <c:pt idx="109">
                  <c:v>99.851187786430145</c:v>
                </c:pt>
                <c:pt idx="110">
                  <c:v>100.42261025454798</c:v>
                </c:pt>
                <c:pt idx="111">
                  <c:v>100.24890357543681</c:v>
                </c:pt>
                <c:pt idx="112">
                  <c:v>101.44431034114456</c:v>
                </c:pt>
                <c:pt idx="113">
                  <c:v>102.01657494877328</c:v>
                </c:pt>
                <c:pt idx="114">
                  <c:v>102.35493017225657</c:v>
                </c:pt>
                <c:pt idx="115">
                  <c:v>102.35493017225657</c:v>
                </c:pt>
                <c:pt idx="116">
                  <c:v>102.35493017225657</c:v>
                </c:pt>
                <c:pt idx="117">
                  <c:v>102.89954795594257</c:v>
                </c:pt>
                <c:pt idx="118">
                  <c:v>103.40499598237835</c:v>
                </c:pt>
                <c:pt idx="119">
                  <c:v>104.07211425491606</c:v>
                </c:pt>
                <c:pt idx="120">
                  <c:v>104.55839847248218</c:v>
                </c:pt>
                <c:pt idx="121">
                  <c:v>105.77654300498384</c:v>
                </c:pt>
                <c:pt idx="122">
                  <c:v>105.77654300498384</c:v>
                </c:pt>
                <c:pt idx="123">
                  <c:v>105.77654300498384</c:v>
                </c:pt>
                <c:pt idx="124">
                  <c:v>107.13123737817733</c:v>
                </c:pt>
                <c:pt idx="125">
                  <c:v>107.1122789691884</c:v>
                </c:pt>
                <c:pt idx="126">
                  <c:v>106.81870091969851</c:v>
                </c:pt>
                <c:pt idx="127">
                  <c:v>106.79080761589894</c:v>
                </c:pt>
                <c:pt idx="128">
                  <c:v>107.11004011048871</c:v>
                </c:pt>
                <c:pt idx="129">
                  <c:v>107.11004011048871</c:v>
                </c:pt>
                <c:pt idx="130">
                  <c:v>107.11004011048871</c:v>
                </c:pt>
                <c:pt idx="131">
                  <c:v>107.51687565419863</c:v>
                </c:pt>
                <c:pt idx="132">
                  <c:v>107.85841457583281</c:v>
                </c:pt>
                <c:pt idx="133">
                  <c:v>108.5500986741027</c:v>
                </c:pt>
                <c:pt idx="134">
                  <c:v>108.70449776442771</c:v>
                </c:pt>
                <c:pt idx="135">
                  <c:v>108.3689975992862</c:v>
                </c:pt>
                <c:pt idx="136">
                  <c:v>108.3689975992862</c:v>
                </c:pt>
                <c:pt idx="137">
                  <c:v>108.3689975992862</c:v>
                </c:pt>
                <c:pt idx="138">
                  <c:v>107.92736731578508</c:v>
                </c:pt>
                <c:pt idx="139">
                  <c:v>107.39879126278205</c:v>
                </c:pt>
                <c:pt idx="140">
                  <c:v>107.35536972800128</c:v>
                </c:pt>
                <c:pt idx="141">
                  <c:v>107.99730597516469</c:v>
                </c:pt>
                <c:pt idx="142">
                  <c:v>108.76055139187176</c:v>
                </c:pt>
                <c:pt idx="143">
                  <c:v>108.76055139187176</c:v>
                </c:pt>
                <c:pt idx="144">
                  <c:v>108.76055139187176</c:v>
                </c:pt>
                <c:pt idx="145">
                  <c:v>108.76055139187176</c:v>
                </c:pt>
                <c:pt idx="146">
                  <c:v>110.06594979369638</c:v>
                </c:pt>
                <c:pt idx="147">
                  <c:v>110.34853894956861</c:v>
                </c:pt>
                <c:pt idx="148">
                  <c:v>110.87393130442071</c:v>
                </c:pt>
                <c:pt idx="149">
                  <c:v>111.84951911779932</c:v>
                </c:pt>
                <c:pt idx="150">
                  <c:v>111.84951911779932</c:v>
                </c:pt>
                <c:pt idx="151">
                  <c:v>111.84951911779932</c:v>
                </c:pt>
                <c:pt idx="152">
                  <c:v>112.19415957763215</c:v>
                </c:pt>
                <c:pt idx="153">
                  <c:v>111.36884231697641</c:v>
                </c:pt>
                <c:pt idx="154">
                  <c:v>112.39370556173584</c:v>
                </c:pt>
                <c:pt idx="155">
                  <c:v>114.05354199770284</c:v>
                </c:pt>
                <c:pt idx="156">
                  <c:v>113.55912394486084</c:v>
                </c:pt>
                <c:pt idx="157">
                  <c:v>113.55912394486084</c:v>
                </c:pt>
                <c:pt idx="158">
                  <c:v>113.55912394486084</c:v>
                </c:pt>
                <c:pt idx="159">
                  <c:v>112.22457929996438</c:v>
                </c:pt>
                <c:pt idx="160">
                  <c:v>112.57540229620638</c:v>
                </c:pt>
                <c:pt idx="161">
                  <c:v>112.78357507529964</c:v>
                </c:pt>
                <c:pt idx="162">
                  <c:v>113.15697151843099</c:v>
                </c:pt>
                <c:pt idx="163">
                  <c:v>112.60801979726216</c:v>
                </c:pt>
                <c:pt idx="164">
                  <c:v>112.60801979726216</c:v>
                </c:pt>
                <c:pt idx="165">
                  <c:v>112.60801979726216</c:v>
                </c:pt>
                <c:pt idx="166">
                  <c:v>112.44579497148234</c:v>
                </c:pt>
                <c:pt idx="167">
                  <c:v>112.99423319294941</c:v>
                </c:pt>
                <c:pt idx="168">
                  <c:v>112.98030708103771</c:v>
                </c:pt>
                <c:pt idx="169">
                  <c:v>112.62870356524903</c:v>
                </c:pt>
                <c:pt idx="170">
                  <c:v>112.08844025903394</c:v>
                </c:pt>
                <c:pt idx="171">
                  <c:v>112.08844025903394</c:v>
                </c:pt>
                <c:pt idx="172">
                  <c:v>112.08844025903394</c:v>
                </c:pt>
                <c:pt idx="173">
                  <c:v>111.10934010769532</c:v>
                </c:pt>
                <c:pt idx="174">
                  <c:v>111.53486704054927</c:v>
                </c:pt>
                <c:pt idx="175">
                  <c:v>112.74974571494775</c:v>
                </c:pt>
                <c:pt idx="176">
                  <c:v>113.17262298934062</c:v>
                </c:pt>
                <c:pt idx="177">
                  <c:v>113.60001906110898</c:v>
                </c:pt>
                <c:pt idx="178">
                  <c:v>113.60001906110898</c:v>
                </c:pt>
                <c:pt idx="179">
                  <c:v>113.60001906110898</c:v>
                </c:pt>
                <c:pt idx="180">
                  <c:v>113.25991793863972</c:v>
                </c:pt>
                <c:pt idx="181">
                  <c:v>112.89383373126142</c:v>
                </c:pt>
                <c:pt idx="182">
                  <c:v>113.804617882278</c:v>
                </c:pt>
                <c:pt idx="183">
                  <c:v>114.01975371732708</c:v>
                </c:pt>
                <c:pt idx="184">
                  <c:v>114.01975371732708</c:v>
                </c:pt>
                <c:pt idx="185">
                  <c:v>114.01975371732708</c:v>
                </c:pt>
                <c:pt idx="186">
                  <c:v>114.01975371732708</c:v>
                </c:pt>
                <c:pt idx="187">
                  <c:v>114.19013291837085</c:v>
                </c:pt>
                <c:pt idx="188">
                  <c:v>115.9883883339441</c:v>
                </c:pt>
                <c:pt idx="189">
                  <c:v>117.44013415077013</c:v>
                </c:pt>
                <c:pt idx="190">
                  <c:v>116.42400040094059</c:v>
                </c:pt>
                <c:pt idx="191">
                  <c:v>116.62352584505621</c:v>
                </c:pt>
                <c:pt idx="192">
                  <c:v>116.62352584505621</c:v>
                </c:pt>
                <c:pt idx="193">
                  <c:v>116.62352584505621</c:v>
                </c:pt>
                <c:pt idx="194">
                  <c:v>117.4227984008387</c:v>
                </c:pt>
                <c:pt idx="195">
                  <c:v>117.08579881656807</c:v>
                </c:pt>
                <c:pt idx="196">
                  <c:v>117.26451725276839</c:v>
                </c:pt>
                <c:pt idx="197">
                  <c:v>115.63210170087532</c:v>
                </c:pt>
                <c:pt idx="198">
                  <c:v>116.14443062331468</c:v>
                </c:pt>
                <c:pt idx="199">
                  <c:v>116.14443062331466</c:v>
                </c:pt>
                <c:pt idx="200">
                  <c:v>116.14443062331466</c:v>
                </c:pt>
                <c:pt idx="201">
                  <c:v>115.94545975887695</c:v>
                </c:pt>
                <c:pt idx="202">
                  <c:v>116.09698325087211</c:v>
                </c:pt>
                <c:pt idx="203">
                  <c:v>116.02605867206512</c:v>
                </c:pt>
                <c:pt idx="204">
                  <c:v>115.81211415632409</c:v>
                </c:pt>
                <c:pt idx="205">
                  <c:v>115.2830246036193</c:v>
                </c:pt>
                <c:pt idx="206">
                  <c:v>115.2830246036193</c:v>
                </c:pt>
                <c:pt idx="207">
                  <c:v>115.2830246036193</c:v>
                </c:pt>
                <c:pt idx="208">
                  <c:v>116.66456474122077</c:v>
                </c:pt>
                <c:pt idx="209">
                  <c:v>116.64527769242271</c:v>
                </c:pt>
                <c:pt idx="210">
                  <c:v>116.54526849050806</c:v>
                </c:pt>
                <c:pt idx="211">
                  <c:v>116.69077376599861</c:v>
                </c:pt>
                <c:pt idx="212">
                  <c:v>116.05175419714119</c:v>
                </c:pt>
                <c:pt idx="213">
                  <c:v>116.05175419714121</c:v>
                </c:pt>
                <c:pt idx="214">
                  <c:v>116.05175419714121</c:v>
                </c:pt>
                <c:pt idx="215">
                  <c:v>115.28672180147201</c:v>
                </c:pt>
                <c:pt idx="216">
                  <c:v>115.58348354911278</c:v>
                </c:pt>
                <c:pt idx="217">
                  <c:v>115.03093733003162</c:v>
                </c:pt>
                <c:pt idx="218">
                  <c:v>114.30228125323507</c:v>
                </c:pt>
                <c:pt idx="219">
                  <c:v>113.97655812241507</c:v>
                </c:pt>
                <c:pt idx="220">
                  <c:v>113.97655812241507</c:v>
                </c:pt>
                <c:pt idx="221">
                  <c:v>113.97655812241507</c:v>
                </c:pt>
                <c:pt idx="222">
                  <c:v>114.54432447265637</c:v>
                </c:pt>
                <c:pt idx="223">
                  <c:v>114.95705499294249</c:v>
                </c:pt>
                <c:pt idx="224">
                  <c:v>115.38445106471085</c:v>
                </c:pt>
                <c:pt idx="225">
                  <c:v>115.28633154169869</c:v>
                </c:pt>
                <c:pt idx="226">
                  <c:v>115.28507860242638</c:v>
                </c:pt>
                <c:pt idx="227">
                  <c:v>115.28507860242638</c:v>
                </c:pt>
                <c:pt idx="228">
                  <c:v>115.28507860242638</c:v>
                </c:pt>
                <c:pt idx="229">
                  <c:v>116.47795894960147</c:v>
                </c:pt>
                <c:pt idx="230">
                  <c:v>117.45097926447127</c:v>
                </c:pt>
                <c:pt idx="231">
                  <c:v>117.9846286945277</c:v>
                </c:pt>
                <c:pt idx="232">
                  <c:v>119.09767010807325</c:v>
                </c:pt>
                <c:pt idx="233">
                  <c:v>118.61422040886085</c:v>
                </c:pt>
                <c:pt idx="234">
                  <c:v>118.61422040886083</c:v>
                </c:pt>
                <c:pt idx="235">
                  <c:v>118.61422040886083</c:v>
                </c:pt>
                <c:pt idx="236">
                  <c:v>118.16628434902211</c:v>
                </c:pt>
                <c:pt idx="237">
                  <c:v>118.03735484390437</c:v>
                </c:pt>
                <c:pt idx="238">
                  <c:v>118.81440313259472</c:v>
                </c:pt>
                <c:pt idx="239">
                  <c:v>119.78185711069744</c:v>
                </c:pt>
                <c:pt idx="240">
                  <c:v>119.85814262639082</c:v>
                </c:pt>
                <c:pt idx="241">
                  <c:v>119.85814262639082</c:v>
                </c:pt>
                <c:pt idx="242">
                  <c:v>119.85814262639082</c:v>
                </c:pt>
                <c:pt idx="243">
                  <c:v>119.85814262639082</c:v>
                </c:pt>
                <c:pt idx="244">
                  <c:v>120.419746980211</c:v>
                </c:pt>
                <c:pt idx="245">
                  <c:v>121.10200322395657</c:v>
                </c:pt>
                <c:pt idx="246">
                  <c:v>121.97817749507453</c:v>
                </c:pt>
                <c:pt idx="247">
                  <c:v>122.5058908685786</c:v>
                </c:pt>
                <c:pt idx="248">
                  <c:v>122.50589086857862</c:v>
                </c:pt>
                <c:pt idx="249">
                  <c:v>122.50589086857862</c:v>
                </c:pt>
                <c:pt idx="250">
                  <c:v>123.55203354097897</c:v>
                </c:pt>
                <c:pt idx="251">
                  <c:v>123.5858423613428</c:v>
                </c:pt>
                <c:pt idx="252">
                  <c:v>122.35420305667893</c:v>
                </c:pt>
                <c:pt idx="253">
                  <c:v>122.5200429203591</c:v>
                </c:pt>
                <c:pt idx="254">
                  <c:v>122.75423986433752</c:v>
                </c:pt>
                <c:pt idx="255">
                  <c:v>122.75423986433753</c:v>
                </c:pt>
                <c:pt idx="256">
                  <c:v>122.75423986433753</c:v>
                </c:pt>
                <c:pt idx="257">
                  <c:v>122.921907786956</c:v>
                </c:pt>
                <c:pt idx="258">
                  <c:v>123.04432611585544</c:v>
                </c:pt>
                <c:pt idx="259">
                  <c:v>123.45744689591488</c:v>
                </c:pt>
                <c:pt idx="260">
                  <c:v>122.95684630666371</c:v>
                </c:pt>
                <c:pt idx="261">
                  <c:v>123.60469807039139</c:v>
                </c:pt>
                <c:pt idx="262">
                  <c:v>123.60469807039139</c:v>
                </c:pt>
                <c:pt idx="263">
                  <c:v>123.60469807039139</c:v>
                </c:pt>
                <c:pt idx="264">
                  <c:v>122.90804329500848</c:v>
                </c:pt>
                <c:pt idx="265">
                  <c:v>123.41706527936853</c:v>
                </c:pt>
                <c:pt idx="266">
                  <c:v>122.65729112064538</c:v>
                </c:pt>
                <c:pt idx="267">
                  <c:v>120.93614282028831</c:v>
                </c:pt>
                <c:pt idx="268">
                  <c:v>119.53915661165792</c:v>
                </c:pt>
                <c:pt idx="269">
                  <c:v>119.53915661165792</c:v>
                </c:pt>
                <c:pt idx="270">
                  <c:v>119.53915661165792</c:v>
                </c:pt>
                <c:pt idx="271">
                  <c:v>120.00062852363502</c:v>
                </c:pt>
                <c:pt idx="272">
                  <c:v>120.14196418154728</c:v>
                </c:pt>
                <c:pt idx="273">
                  <c:v>120.01338385622671</c:v>
                </c:pt>
                <c:pt idx="274">
                  <c:v>120.68062536869286</c:v>
                </c:pt>
                <c:pt idx="275">
                  <c:v>121.43692826943213</c:v>
                </c:pt>
                <c:pt idx="276">
                  <c:v>121.43692826943213</c:v>
                </c:pt>
                <c:pt idx="277">
                  <c:v>121.43692826943213</c:v>
                </c:pt>
                <c:pt idx="278">
                  <c:v>121.97302195806893</c:v>
                </c:pt>
                <c:pt idx="279">
                  <c:v>122.53941212910954</c:v>
                </c:pt>
                <c:pt idx="280">
                  <c:v>122.10879127921412</c:v>
                </c:pt>
                <c:pt idx="281">
                  <c:v>122.48574114028163</c:v>
                </c:pt>
                <c:pt idx="282">
                  <c:v>121.77865205095898</c:v>
                </c:pt>
                <c:pt idx="283">
                  <c:v>121.77865205095897</c:v>
                </c:pt>
                <c:pt idx="284">
                  <c:v>121.77865205095897</c:v>
                </c:pt>
                <c:pt idx="285">
                  <c:v>122.68458876479092</c:v>
                </c:pt>
                <c:pt idx="286">
                  <c:v>122.85714520457014</c:v>
                </c:pt>
                <c:pt idx="287">
                  <c:v>122.29118637327905</c:v>
                </c:pt>
                <c:pt idx="288">
                  <c:v>122.46045641496701</c:v>
                </c:pt>
                <c:pt idx="289">
                  <c:v>121.36378537191354</c:v>
                </c:pt>
                <c:pt idx="290">
                  <c:v>121.36378537191354</c:v>
                </c:pt>
                <c:pt idx="291">
                  <c:v>121.36378537191354</c:v>
                </c:pt>
                <c:pt idx="292">
                  <c:v>120.96249562498261</c:v>
                </c:pt>
                <c:pt idx="293">
                  <c:v>122.20417898381291</c:v>
                </c:pt>
                <c:pt idx="294">
                  <c:v>121.46554047281415</c:v>
                </c:pt>
                <c:pt idx="295">
                  <c:v>120.73836327515866</c:v>
                </c:pt>
                <c:pt idx="296">
                  <c:v>120.68019402894335</c:v>
                </c:pt>
                <c:pt idx="297">
                  <c:v>120.68019402894335</c:v>
                </c:pt>
                <c:pt idx="298">
                  <c:v>120.68019402894335</c:v>
                </c:pt>
                <c:pt idx="299">
                  <c:v>121.87315653607074</c:v>
                </c:pt>
                <c:pt idx="300">
                  <c:v>122.50044777174</c:v>
                </c:pt>
                <c:pt idx="301">
                  <c:v>123.29727606894211</c:v>
                </c:pt>
                <c:pt idx="302">
                  <c:v>122.85377664652658</c:v>
                </c:pt>
                <c:pt idx="303">
                  <c:v>122.38799133705469</c:v>
                </c:pt>
                <c:pt idx="304">
                  <c:v>122.3879913370547</c:v>
                </c:pt>
                <c:pt idx="305">
                  <c:v>122.3879913370547</c:v>
                </c:pt>
                <c:pt idx="306">
                  <c:v>122.81912568665184</c:v>
                </c:pt>
                <c:pt idx="307">
                  <c:v>123.18508665410171</c:v>
                </c:pt>
                <c:pt idx="308">
                  <c:v>123.25410101401816</c:v>
                </c:pt>
                <c:pt idx="309">
                  <c:v>123.41480588068077</c:v>
                </c:pt>
                <c:pt idx="310">
                  <c:v>123.65122114337078</c:v>
                </c:pt>
                <c:pt idx="311">
                  <c:v>123.65122114337076</c:v>
                </c:pt>
                <c:pt idx="312">
                  <c:v>123.65122114337076</c:v>
                </c:pt>
                <c:pt idx="313">
                  <c:v>122.50808864730213</c:v>
                </c:pt>
                <c:pt idx="314">
                  <c:v>121.62817609835533</c:v>
                </c:pt>
                <c:pt idx="315">
                  <c:v>122.80721249357099</c:v>
                </c:pt>
                <c:pt idx="316">
                  <c:v>122.88333368935982</c:v>
                </c:pt>
                <c:pt idx="317">
                  <c:v>121.83447973853418</c:v>
                </c:pt>
                <c:pt idx="318">
                  <c:v>121.8344797385342</c:v>
                </c:pt>
                <c:pt idx="319">
                  <c:v>121.8344797385342</c:v>
                </c:pt>
                <c:pt idx="320">
                  <c:v>121.03563852250117</c:v>
                </c:pt>
                <c:pt idx="321">
                  <c:v>121.1584060311978</c:v>
                </c:pt>
                <c:pt idx="322">
                  <c:v>120.76315504075956</c:v>
                </c:pt>
                <c:pt idx="323">
                  <c:v>121.1620005291101</c:v>
                </c:pt>
                <c:pt idx="324">
                  <c:v>121.15799523143637</c:v>
                </c:pt>
                <c:pt idx="325">
                  <c:v>121.15799523143636</c:v>
                </c:pt>
                <c:pt idx="326">
                  <c:v>121.15799523143636</c:v>
                </c:pt>
                <c:pt idx="327">
                  <c:v>122.21983045472246</c:v>
                </c:pt>
                <c:pt idx="328">
                  <c:v>122.72386122198138</c:v>
                </c:pt>
                <c:pt idx="329">
                  <c:v>122.58501090262565</c:v>
                </c:pt>
                <c:pt idx="330">
                  <c:v>122.58501090262567</c:v>
                </c:pt>
                <c:pt idx="331">
                  <c:v>123.12089919138175</c:v>
                </c:pt>
                <c:pt idx="332">
                  <c:v>123.12089919138177</c:v>
                </c:pt>
                <c:pt idx="333">
                  <c:v>123.12089919138177</c:v>
                </c:pt>
                <c:pt idx="334">
                  <c:v>123.56285811469202</c:v>
                </c:pt>
                <c:pt idx="335">
                  <c:v>123.38697419684542</c:v>
                </c:pt>
                <c:pt idx="336">
                  <c:v>122.22028233446005</c:v>
                </c:pt>
                <c:pt idx="337">
                  <c:v>121.18707985454404</c:v>
                </c:pt>
                <c:pt idx="338">
                  <c:v>121.10247564368218</c:v>
                </c:pt>
                <c:pt idx="339">
                  <c:v>121.10247564368218</c:v>
                </c:pt>
                <c:pt idx="340">
                  <c:v>121.10247564368218</c:v>
                </c:pt>
                <c:pt idx="341">
                  <c:v>120.9195465099274</c:v>
                </c:pt>
                <c:pt idx="342">
                  <c:v>120.04908235549298</c:v>
                </c:pt>
                <c:pt idx="343">
                  <c:v>119.24919360006839</c:v>
                </c:pt>
                <c:pt idx="344">
                  <c:v>120.61769084524521</c:v>
                </c:pt>
                <c:pt idx="345">
                  <c:v>121.05566501086982</c:v>
                </c:pt>
                <c:pt idx="346">
                  <c:v>121.0556650108698</c:v>
                </c:pt>
                <c:pt idx="347">
                  <c:v>121.0556650108698</c:v>
                </c:pt>
                <c:pt idx="348">
                  <c:v>119.51865770356362</c:v>
                </c:pt>
                <c:pt idx="349">
                  <c:v>119.16863576685637</c:v>
                </c:pt>
                <c:pt idx="350">
                  <c:v>119.3951096753203</c:v>
                </c:pt>
                <c:pt idx="351">
                  <c:v>120.07773563885114</c:v>
                </c:pt>
                <c:pt idx="352">
                  <c:v>120.32127827740159</c:v>
                </c:pt>
                <c:pt idx="353">
                  <c:v>120.32127827740159</c:v>
                </c:pt>
                <c:pt idx="354">
                  <c:v>120.32127827740159</c:v>
                </c:pt>
                <c:pt idx="355">
                  <c:v>120.50476199083425</c:v>
                </c:pt>
                <c:pt idx="356">
                  <c:v>121.23399318729678</c:v>
                </c:pt>
                <c:pt idx="357">
                  <c:v>121.00895707799776</c:v>
                </c:pt>
                <c:pt idx="358">
                  <c:v>121.00895707799776</c:v>
                </c:pt>
                <c:pt idx="359">
                  <c:v>121.2730191646305</c:v>
                </c:pt>
                <c:pt idx="360">
                  <c:v>121.2730191646305</c:v>
                </c:pt>
                <c:pt idx="361">
                  <c:v>121.2730191646305</c:v>
                </c:pt>
                <c:pt idx="362">
                  <c:v>121.45851579689405</c:v>
                </c:pt>
                <c:pt idx="363">
                  <c:v>121.85988770377725</c:v>
                </c:pt>
                <c:pt idx="364">
                  <c:v>120.73322827814106</c:v>
                </c:pt>
                <c:pt idx="365">
                  <c:v>120.73322827814107</c:v>
                </c:pt>
                <c:pt idx="366">
                  <c:v>121.67720504987935</c:v>
                </c:pt>
                <c:pt idx="367">
                  <c:v>121.67720504987935</c:v>
                </c:pt>
                <c:pt idx="368">
                  <c:v>121.67720504987935</c:v>
                </c:pt>
                <c:pt idx="369">
                  <c:v>122.39452305326104</c:v>
                </c:pt>
                <c:pt idx="370">
                  <c:v>122.60008725386936</c:v>
                </c:pt>
                <c:pt idx="371">
                  <c:v>123.19574690791023</c:v>
                </c:pt>
                <c:pt idx="372">
                  <c:v>123.49495291413137</c:v>
                </c:pt>
                <c:pt idx="373">
                  <c:v>123.78152682768925</c:v>
                </c:pt>
                <c:pt idx="374">
                  <c:v>123.78152682768925</c:v>
                </c:pt>
                <c:pt idx="375">
                  <c:v>123.78152682768925</c:v>
                </c:pt>
                <c:pt idx="376">
                  <c:v>124.28841265328995</c:v>
                </c:pt>
                <c:pt idx="377">
                  <c:v>124.00050364050749</c:v>
                </c:pt>
                <c:pt idx="378">
                  <c:v>124.02036580897155</c:v>
                </c:pt>
                <c:pt idx="379">
                  <c:v>123.71953714369283</c:v>
                </c:pt>
                <c:pt idx="380">
                  <c:v>124.67957618610215</c:v>
                </c:pt>
                <c:pt idx="381">
                  <c:v>124.67957618610215</c:v>
                </c:pt>
                <c:pt idx="382">
                  <c:v>124.67957618610215</c:v>
                </c:pt>
                <c:pt idx="383">
                  <c:v>124.67957618610215</c:v>
                </c:pt>
                <c:pt idx="384">
                  <c:v>126.56023803381376</c:v>
                </c:pt>
                <c:pt idx="385">
                  <c:v>126.11400679298485</c:v>
                </c:pt>
                <c:pt idx="386">
                  <c:v>125.37629258144925</c:v>
                </c:pt>
                <c:pt idx="387">
                  <c:v>126.14855505291922</c:v>
                </c:pt>
                <c:pt idx="388">
                  <c:v>126.14855505291924</c:v>
                </c:pt>
                <c:pt idx="389">
                  <c:v>126.14855505291924</c:v>
                </c:pt>
                <c:pt idx="390">
                  <c:v>125.50454426696071</c:v>
                </c:pt>
                <c:pt idx="391">
                  <c:v>125.17284399961221</c:v>
                </c:pt>
                <c:pt idx="392">
                  <c:v>124.06115822527931</c:v>
                </c:pt>
                <c:pt idx="393">
                  <c:v>122.31219878107497</c:v>
                </c:pt>
                <c:pt idx="394">
                  <c:v>122.61101452752277</c:v>
                </c:pt>
                <c:pt idx="395">
                  <c:v>122.61101452752277</c:v>
                </c:pt>
                <c:pt idx="396">
                  <c:v>122.61101452752277</c:v>
                </c:pt>
                <c:pt idx="397">
                  <c:v>121.88428920960484</c:v>
                </c:pt>
                <c:pt idx="398">
                  <c:v>121.17535152135586</c:v>
                </c:pt>
                <c:pt idx="399">
                  <c:v>119.50427971191439</c:v>
                </c:pt>
                <c:pt idx="400">
                  <c:v>119.83086552223332</c:v>
                </c:pt>
                <c:pt idx="401">
                  <c:v>121.4356137101956</c:v>
                </c:pt>
                <c:pt idx="402">
                  <c:v>121.4356137101956</c:v>
                </c:pt>
                <c:pt idx="403">
                  <c:v>121.4356137101956</c:v>
                </c:pt>
                <c:pt idx="404">
                  <c:v>122.25378305500283</c:v>
                </c:pt>
                <c:pt idx="405">
                  <c:v>122.55855539799104</c:v>
                </c:pt>
                <c:pt idx="406">
                  <c:v>122.51490792334151</c:v>
                </c:pt>
                <c:pt idx="407">
                  <c:v>122.64537792756454</c:v>
                </c:pt>
                <c:pt idx="408">
                  <c:v>122.16626216583497</c:v>
                </c:pt>
                <c:pt idx="409">
                  <c:v>122.16626216583497</c:v>
                </c:pt>
                <c:pt idx="410">
                  <c:v>122.16626216583497</c:v>
                </c:pt>
                <c:pt idx="411">
                  <c:v>122.16626216583497</c:v>
                </c:pt>
                <c:pt idx="412">
                  <c:v>123.04638011466245</c:v>
                </c:pt>
                <c:pt idx="413">
                  <c:v>123.07375991876029</c:v>
                </c:pt>
                <c:pt idx="414">
                  <c:v>121.9982450634193</c:v>
                </c:pt>
                <c:pt idx="415">
                  <c:v>121.49669963471689</c:v>
                </c:pt>
                <c:pt idx="416">
                  <c:v>121.49669963471689</c:v>
                </c:pt>
                <c:pt idx="417">
                  <c:v>121.49669963471689</c:v>
                </c:pt>
                <c:pt idx="418">
                  <c:v>119.95948692753001</c:v>
                </c:pt>
                <c:pt idx="419">
                  <c:v>120.25704973470555</c:v>
                </c:pt>
                <c:pt idx="420">
                  <c:v>120.99034784880601</c:v>
                </c:pt>
                <c:pt idx="421">
                  <c:v>122.03073932454664</c:v>
                </c:pt>
                <c:pt idx="422">
                  <c:v>122.1457016377765</c:v>
                </c:pt>
                <c:pt idx="423">
                  <c:v>122.1457016377765</c:v>
                </c:pt>
                <c:pt idx="424">
                  <c:v>122.1457016377765</c:v>
                </c:pt>
                <c:pt idx="425">
                  <c:v>123.19683552727794</c:v>
                </c:pt>
                <c:pt idx="426">
                  <c:v>123.42213865642189</c:v>
                </c:pt>
                <c:pt idx="427">
                  <c:v>123.19498692835161</c:v>
                </c:pt>
                <c:pt idx="428">
                  <c:v>124.07198279899239</c:v>
                </c:pt>
                <c:pt idx="429">
                  <c:v>124.24429275891478</c:v>
                </c:pt>
                <c:pt idx="430">
                  <c:v>124.24429275891478</c:v>
                </c:pt>
                <c:pt idx="431">
                  <c:v>124.24429275891478</c:v>
                </c:pt>
                <c:pt idx="432">
                  <c:v>123.4931248551931</c:v>
                </c:pt>
                <c:pt idx="433">
                  <c:v>122.64478226791047</c:v>
                </c:pt>
                <c:pt idx="434">
                  <c:v>121.67599319058317</c:v>
                </c:pt>
                <c:pt idx="435">
                  <c:v>122.26140339057693</c:v>
                </c:pt>
                <c:pt idx="436">
                  <c:v>123.13451720347244</c:v>
                </c:pt>
                <c:pt idx="437">
                  <c:v>123.13451720347244</c:v>
                </c:pt>
                <c:pt idx="438">
                  <c:v>123.13451720347244</c:v>
                </c:pt>
                <c:pt idx="439">
                  <c:v>121.815747269414</c:v>
                </c:pt>
                <c:pt idx="440">
                  <c:v>121.22507883247425</c:v>
                </c:pt>
                <c:pt idx="441">
                  <c:v>122.01475921382789</c:v>
                </c:pt>
                <c:pt idx="442">
                  <c:v>121.41805202039542</c:v>
                </c:pt>
                <c:pt idx="443">
                  <c:v>121.61121006820925</c:v>
                </c:pt>
                <c:pt idx="444">
                  <c:v>121.61121006820925</c:v>
                </c:pt>
                <c:pt idx="445">
                  <c:v>121.61121006820925</c:v>
                </c:pt>
                <c:pt idx="446">
                  <c:v>120.48054534489931</c:v>
                </c:pt>
                <c:pt idx="447">
                  <c:v>120.82440528518548</c:v>
                </c:pt>
                <c:pt idx="448">
                  <c:v>120.36112585425818</c:v>
                </c:pt>
                <c:pt idx="449">
                  <c:v>121.8799141921459</c:v>
                </c:pt>
                <c:pt idx="450">
                  <c:v>122.45022750090796</c:v>
                </c:pt>
                <c:pt idx="451">
                  <c:v>122.45022750090796</c:v>
                </c:pt>
                <c:pt idx="452">
                  <c:v>122.45022750090796</c:v>
                </c:pt>
                <c:pt idx="453">
                  <c:v>123.13453774346057</c:v>
                </c:pt>
                <c:pt idx="454">
                  <c:v>123.82371596318588</c:v>
                </c:pt>
                <c:pt idx="455">
                  <c:v>123.82907690007224</c:v>
                </c:pt>
                <c:pt idx="456">
                  <c:v>124.12581810772495</c:v>
                </c:pt>
                <c:pt idx="457">
                  <c:v>124.52147989792459</c:v>
                </c:pt>
                <c:pt idx="458">
                  <c:v>124.52147989792458</c:v>
                </c:pt>
                <c:pt idx="459">
                  <c:v>124.52147989792458</c:v>
                </c:pt>
                <c:pt idx="460">
                  <c:v>124.33505896619785</c:v>
                </c:pt>
                <c:pt idx="461">
                  <c:v>123.76495105731654</c:v>
                </c:pt>
                <c:pt idx="462">
                  <c:v>124.90046321781105</c:v>
                </c:pt>
                <c:pt idx="463">
                  <c:v>124.32425493247281</c:v>
                </c:pt>
                <c:pt idx="464">
                  <c:v>124.32425493247283</c:v>
                </c:pt>
                <c:pt idx="465">
                  <c:v>124.32425493247283</c:v>
                </c:pt>
                <c:pt idx="466">
                  <c:v>124.32425493247283</c:v>
                </c:pt>
                <c:pt idx="467">
                  <c:v>123.89151846380618</c:v>
                </c:pt>
                <c:pt idx="468">
                  <c:v>123.00766223714989</c:v>
                </c:pt>
                <c:pt idx="469">
                  <c:v>122.18061961749625</c:v>
                </c:pt>
                <c:pt idx="470">
                  <c:v>121.93941853758584</c:v>
                </c:pt>
                <c:pt idx="471">
                  <c:v>121.58159140541181</c:v>
                </c:pt>
                <c:pt idx="472">
                  <c:v>121.58159140541183</c:v>
                </c:pt>
                <c:pt idx="473">
                  <c:v>121.58159140541183</c:v>
                </c:pt>
                <c:pt idx="474">
                  <c:v>122.09213334888906</c:v>
                </c:pt>
                <c:pt idx="475">
                  <c:v>122.02985610505969</c:v>
                </c:pt>
                <c:pt idx="476">
                  <c:v>122.55843215806271</c:v>
                </c:pt>
                <c:pt idx="477">
                  <c:v>122.60830324909759</c:v>
                </c:pt>
                <c:pt idx="478">
                  <c:v>122.48454982097358</c:v>
                </c:pt>
                <c:pt idx="479">
                  <c:v>122.48454982097358</c:v>
                </c:pt>
                <c:pt idx="480">
                  <c:v>122.48454982097358</c:v>
                </c:pt>
                <c:pt idx="481">
                  <c:v>123.46079491397042</c:v>
                </c:pt>
                <c:pt idx="482">
                  <c:v>123.14651255650561</c:v>
                </c:pt>
                <c:pt idx="483">
                  <c:v>122.46877511013551</c:v>
                </c:pt>
                <c:pt idx="484">
                  <c:v>121.49793203400117</c:v>
                </c:pt>
                <c:pt idx="485">
                  <c:v>120.91921787011835</c:v>
                </c:pt>
                <c:pt idx="486">
                  <c:v>120.91921787011836</c:v>
                </c:pt>
                <c:pt idx="487">
                  <c:v>120.91921787011836</c:v>
                </c:pt>
                <c:pt idx="488">
                  <c:v>121.5856788630378</c:v>
                </c:pt>
                <c:pt idx="489">
                  <c:v>122.55177720192791</c:v>
                </c:pt>
                <c:pt idx="490">
                  <c:v>122.79735329929728</c:v>
                </c:pt>
                <c:pt idx="491">
                  <c:v>122.03174578396214</c:v>
                </c:pt>
                <c:pt idx="492">
                  <c:v>120.47415740860949</c:v>
                </c:pt>
                <c:pt idx="493">
                  <c:v>120.47415740860949</c:v>
                </c:pt>
                <c:pt idx="494">
                  <c:v>120.47415740860949</c:v>
                </c:pt>
                <c:pt idx="495">
                  <c:v>119.63376379671011</c:v>
                </c:pt>
                <c:pt idx="496">
                  <c:v>121.00827925839152</c:v>
                </c:pt>
                <c:pt idx="497">
                  <c:v>120.73098941944149</c:v>
                </c:pt>
                <c:pt idx="498">
                  <c:v>120.80593983591027</c:v>
                </c:pt>
                <c:pt idx="499">
                  <c:v>120.31871077889292</c:v>
                </c:pt>
                <c:pt idx="500">
                  <c:v>120.31871077889292</c:v>
                </c:pt>
                <c:pt idx="501">
                  <c:v>120.31871077889292</c:v>
                </c:pt>
                <c:pt idx="502">
                  <c:v>120.21847563710948</c:v>
                </c:pt>
                <c:pt idx="503">
                  <c:v>120.65139696566877</c:v>
                </c:pt>
                <c:pt idx="504">
                  <c:v>121.11430667681081</c:v>
                </c:pt>
                <c:pt idx="505">
                  <c:v>120.85570822700478</c:v>
                </c:pt>
                <c:pt idx="506">
                  <c:v>121.14092650134999</c:v>
                </c:pt>
                <c:pt idx="507">
                  <c:v>121.14092650134999</c:v>
                </c:pt>
                <c:pt idx="508">
                  <c:v>121.14092650134999</c:v>
                </c:pt>
                <c:pt idx="509">
                  <c:v>121.99132308743967</c:v>
                </c:pt>
                <c:pt idx="510">
                  <c:v>123.24235214084199</c:v>
                </c:pt>
                <c:pt idx="511">
                  <c:v>123.73430539511553</c:v>
                </c:pt>
                <c:pt idx="512">
                  <c:v>123.23218484674715</c:v>
                </c:pt>
                <c:pt idx="513">
                  <c:v>123.51050168510073</c:v>
                </c:pt>
                <c:pt idx="514">
                  <c:v>123.51050168510072</c:v>
                </c:pt>
                <c:pt idx="515">
                  <c:v>123.51050168510072</c:v>
                </c:pt>
                <c:pt idx="516">
                  <c:v>123.51050168510072</c:v>
                </c:pt>
                <c:pt idx="517">
                  <c:v>123.91491351021834</c:v>
                </c:pt>
                <c:pt idx="518">
                  <c:v>123.8317470985214</c:v>
                </c:pt>
                <c:pt idx="519">
                  <c:v>122.41446738167745</c:v>
                </c:pt>
                <c:pt idx="520">
                  <c:v>122.81945432646104</c:v>
                </c:pt>
                <c:pt idx="521">
                  <c:v>122.81945432646104</c:v>
                </c:pt>
                <c:pt idx="522">
                  <c:v>122.81945432646104</c:v>
                </c:pt>
                <c:pt idx="523">
                  <c:v>122.77759383077363</c:v>
                </c:pt>
                <c:pt idx="524">
                  <c:v>122.36609570977174</c:v>
                </c:pt>
                <c:pt idx="525">
                  <c:v>121.57386836989737</c:v>
                </c:pt>
                <c:pt idx="526">
                  <c:v>121.02918896624716</c:v>
                </c:pt>
                <c:pt idx="527">
                  <c:v>121.02918896624716</c:v>
                </c:pt>
                <c:pt idx="528">
                  <c:v>121.02918896624716</c:v>
                </c:pt>
                <c:pt idx="529">
                  <c:v>121.02918896624716</c:v>
                </c:pt>
                <c:pt idx="530">
                  <c:v>120.09100447114471</c:v>
                </c:pt>
                <c:pt idx="531">
                  <c:v>121.73151277833749</c:v>
                </c:pt>
                <c:pt idx="532">
                  <c:v>121.97823911503882</c:v>
                </c:pt>
                <c:pt idx="533">
                  <c:v>122.38406819933329</c:v>
                </c:pt>
                <c:pt idx="534">
                  <c:v>122.28204607858771</c:v>
                </c:pt>
                <c:pt idx="535">
                  <c:v>122.28204607858771</c:v>
                </c:pt>
                <c:pt idx="536">
                  <c:v>122.28204607858771</c:v>
                </c:pt>
                <c:pt idx="537">
                  <c:v>122.49855809283753</c:v>
                </c:pt>
                <c:pt idx="538">
                  <c:v>122.72322448235131</c:v>
                </c:pt>
                <c:pt idx="539">
                  <c:v>123.10005110349039</c:v>
                </c:pt>
                <c:pt idx="540">
                  <c:v>122.8239731238365</c:v>
                </c:pt>
                <c:pt idx="541">
                  <c:v>123.80161493602213</c:v>
                </c:pt>
                <c:pt idx="542">
                  <c:v>123.80161493602215</c:v>
                </c:pt>
                <c:pt idx="543">
                  <c:v>123.80161493602215</c:v>
                </c:pt>
                <c:pt idx="544">
                  <c:v>123.54279054634736</c:v>
                </c:pt>
                <c:pt idx="545">
                  <c:v>123.41612043991735</c:v>
                </c:pt>
                <c:pt idx="546">
                  <c:v>123.85631292425356</c:v>
                </c:pt>
                <c:pt idx="547">
                  <c:v>123.586171001152</c:v>
                </c:pt>
                <c:pt idx="548">
                  <c:v>123.87962581071346</c:v>
                </c:pt>
                <c:pt idx="549">
                  <c:v>123.87962581071345</c:v>
                </c:pt>
                <c:pt idx="550">
                  <c:v>123.87962581071345</c:v>
                </c:pt>
                <c:pt idx="551">
                  <c:v>123.87962581071345</c:v>
                </c:pt>
                <c:pt idx="552">
                  <c:v>123.3165425777522</c:v>
                </c:pt>
                <c:pt idx="553">
                  <c:v>123.33813010521416</c:v>
                </c:pt>
                <c:pt idx="554">
                  <c:v>122.63258151499677</c:v>
                </c:pt>
                <c:pt idx="555">
                  <c:v>122.69828893683393</c:v>
                </c:pt>
                <c:pt idx="556">
                  <c:v>122.69828893683393</c:v>
                </c:pt>
                <c:pt idx="557">
                  <c:v>122.69828893683393</c:v>
                </c:pt>
                <c:pt idx="558">
                  <c:v>122.12236821132868</c:v>
                </c:pt>
                <c:pt idx="559">
                  <c:v>122.46045641496707</c:v>
                </c:pt>
                <c:pt idx="560">
                  <c:v>122.09661106628846</c:v>
                </c:pt>
                <c:pt idx="561">
                  <c:v>123.07764197650569</c:v>
                </c:pt>
                <c:pt idx="562">
                  <c:v>122.80012619768685</c:v>
                </c:pt>
                <c:pt idx="563">
                  <c:v>122.80012619768685</c:v>
                </c:pt>
                <c:pt idx="564">
                  <c:v>122.80012619768685</c:v>
                </c:pt>
                <c:pt idx="565">
                  <c:v>123.03524744112845</c:v>
                </c:pt>
                <c:pt idx="566">
                  <c:v>123.83569077623095</c:v>
                </c:pt>
                <c:pt idx="567">
                  <c:v>122.63952403096461</c:v>
                </c:pt>
                <c:pt idx="568">
                  <c:v>122.34765080048459</c:v>
                </c:pt>
                <c:pt idx="569">
                  <c:v>121.87225277659579</c:v>
                </c:pt>
                <c:pt idx="570">
                  <c:v>121.87225277659579</c:v>
                </c:pt>
                <c:pt idx="571">
                  <c:v>121.87225277659579</c:v>
                </c:pt>
                <c:pt idx="572">
                  <c:v>121.01778927286819</c:v>
                </c:pt>
                <c:pt idx="573">
                  <c:v>121.57479266936059</c:v>
                </c:pt>
                <c:pt idx="574">
                  <c:v>121.13669526380758</c:v>
                </c:pt>
                <c:pt idx="575">
                  <c:v>122.18080447738896</c:v>
                </c:pt>
                <c:pt idx="576">
                  <c:v>122.43669164876968</c:v>
                </c:pt>
                <c:pt idx="577">
                  <c:v>122.43669164876968</c:v>
                </c:pt>
                <c:pt idx="578">
                  <c:v>122.43669164876968</c:v>
                </c:pt>
                <c:pt idx="579">
                  <c:v>121.88747290775591</c:v>
                </c:pt>
                <c:pt idx="580">
                  <c:v>121.1082473803301</c:v>
                </c:pt>
                <c:pt idx="581">
                  <c:v>120.83089592141582</c:v>
                </c:pt>
                <c:pt idx="582">
                  <c:v>120.03207524537088</c:v>
                </c:pt>
                <c:pt idx="583">
                  <c:v>119.52151276190557</c:v>
                </c:pt>
                <c:pt idx="584">
                  <c:v>119.52151276190557</c:v>
                </c:pt>
                <c:pt idx="585">
                  <c:v>119.52151276190557</c:v>
                </c:pt>
                <c:pt idx="586">
                  <c:v>119.26476291102588</c:v>
                </c:pt>
                <c:pt idx="587">
                  <c:v>120.08225443622682</c:v>
                </c:pt>
                <c:pt idx="588">
                  <c:v>119.85056337079298</c:v>
                </c:pt>
                <c:pt idx="589">
                  <c:v>119.29282053473004</c:v>
                </c:pt>
                <c:pt idx="590">
                  <c:v>118.83543608037894</c:v>
                </c:pt>
                <c:pt idx="591">
                  <c:v>118.83543608037895</c:v>
                </c:pt>
                <c:pt idx="592">
                  <c:v>118.83543608037895</c:v>
                </c:pt>
                <c:pt idx="593">
                  <c:v>119.48435592348629</c:v>
                </c:pt>
                <c:pt idx="594">
                  <c:v>120.08342521554687</c:v>
                </c:pt>
                <c:pt idx="595">
                  <c:v>120.9093792158328</c:v>
                </c:pt>
                <c:pt idx="596">
                  <c:v>120.46520197381093</c:v>
                </c:pt>
                <c:pt idx="597">
                  <c:v>121.59853689557002</c:v>
                </c:pt>
                <c:pt idx="598">
                  <c:v>121.59853689557002</c:v>
                </c:pt>
                <c:pt idx="599">
                  <c:v>121.59853689557002</c:v>
                </c:pt>
                <c:pt idx="600">
                  <c:v>121.19057165251624</c:v>
                </c:pt>
                <c:pt idx="601">
                  <c:v>121.49865093358379</c:v>
                </c:pt>
                <c:pt idx="602">
                  <c:v>121.64417674906238</c:v>
                </c:pt>
                <c:pt idx="603">
                  <c:v>121.5131932451376</c:v>
                </c:pt>
                <c:pt idx="604">
                  <c:v>122.21317549858792</c:v>
                </c:pt>
                <c:pt idx="605">
                  <c:v>122.21317549858792</c:v>
                </c:pt>
                <c:pt idx="606">
                  <c:v>122.21317549858792</c:v>
                </c:pt>
                <c:pt idx="607">
                  <c:v>121.32395833504523</c:v>
                </c:pt>
                <c:pt idx="608">
                  <c:v>121.39931955127544</c:v>
                </c:pt>
                <c:pt idx="609">
                  <c:v>122.2792526402103</c:v>
                </c:pt>
                <c:pt idx="610">
                  <c:v>122.37346956548912</c:v>
                </c:pt>
                <c:pt idx="611">
                  <c:v>122.060850947058</c:v>
                </c:pt>
                <c:pt idx="612">
                  <c:v>122.06085094705801</c:v>
                </c:pt>
                <c:pt idx="613">
                  <c:v>122.06085094705801</c:v>
                </c:pt>
                <c:pt idx="614">
                  <c:v>122.06085094705801</c:v>
                </c:pt>
                <c:pt idx="615">
                  <c:v>122.63323879461514</c:v>
                </c:pt>
                <c:pt idx="616">
                  <c:v>122.17992125790197</c:v>
                </c:pt>
                <c:pt idx="617">
                  <c:v>123.18640121333843</c:v>
                </c:pt>
                <c:pt idx="618">
                  <c:v>123.78345758656808</c:v>
                </c:pt>
                <c:pt idx="619">
                  <c:v>123.78345758656809</c:v>
                </c:pt>
                <c:pt idx="620">
                  <c:v>123.78345758656809</c:v>
                </c:pt>
                <c:pt idx="621">
                  <c:v>124.19425734797559</c:v>
                </c:pt>
                <c:pt idx="622">
                  <c:v>123.51239136400335</c:v>
                </c:pt>
                <c:pt idx="623">
                  <c:v>123.51524642234514</c:v>
                </c:pt>
                <c:pt idx="624">
                  <c:v>124.21711835469793</c:v>
                </c:pt>
                <c:pt idx="625">
                  <c:v>123.50392888891837</c:v>
                </c:pt>
                <c:pt idx="626">
                  <c:v>123.50392888891837</c:v>
                </c:pt>
                <c:pt idx="627">
                  <c:v>123.50392888891837</c:v>
                </c:pt>
                <c:pt idx="628">
                  <c:v>123.52364727746594</c:v>
                </c:pt>
                <c:pt idx="629">
                  <c:v>123.89731074044219</c:v>
                </c:pt>
                <c:pt idx="630">
                  <c:v>123.65228922275068</c:v>
                </c:pt>
                <c:pt idx="631">
                  <c:v>123.8777361318111</c:v>
                </c:pt>
                <c:pt idx="632">
                  <c:v>123.45872037517547</c:v>
                </c:pt>
                <c:pt idx="633">
                  <c:v>123.45872037517547</c:v>
                </c:pt>
                <c:pt idx="634">
                  <c:v>123.45872037517547</c:v>
                </c:pt>
                <c:pt idx="635">
                  <c:v>122.60518117091105</c:v>
                </c:pt>
                <c:pt idx="636">
                  <c:v>122.76578333763331</c:v>
                </c:pt>
                <c:pt idx="637">
                  <c:v>123.03370694202326</c:v>
                </c:pt>
                <c:pt idx="638">
                  <c:v>123.16060298832204</c:v>
                </c:pt>
                <c:pt idx="639">
                  <c:v>123.67367135033194</c:v>
                </c:pt>
                <c:pt idx="640">
                  <c:v>123.67367135033194</c:v>
                </c:pt>
                <c:pt idx="641">
                  <c:v>123.67367135033194</c:v>
                </c:pt>
                <c:pt idx="642">
                  <c:v>124.23077744676469</c:v>
                </c:pt>
                <c:pt idx="643">
                  <c:v>124.14122309877787</c:v>
                </c:pt>
                <c:pt idx="644">
                  <c:v>124.17813345734031</c:v>
                </c:pt>
                <c:pt idx="645">
                  <c:v>123.56409051397648</c:v>
                </c:pt>
                <c:pt idx="646">
                  <c:v>123.14932653487139</c:v>
                </c:pt>
                <c:pt idx="647">
                  <c:v>123.14932653487139</c:v>
                </c:pt>
                <c:pt idx="648">
                  <c:v>123.14932653487139</c:v>
                </c:pt>
                <c:pt idx="649">
                  <c:v>123.02473096723651</c:v>
                </c:pt>
                <c:pt idx="650">
                  <c:v>123.15181187342792</c:v>
                </c:pt>
                <c:pt idx="651">
                  <c:v>122.70340339386354</c:v>
                </c:pt>
                <c:pt idx="652">
                  <c:v>123.05013893247954</c:v>
                </c:pt>
                <c:pt idx="653">
                  <c:v>122.98864220819684</c:v>
                </c:pt>
                <c:pt idx="654">
                  <c:v>122.98864220819684</c:v>
                </c:pt>
                <c:pt idx="655">
                  <c:v>122.98864220819684</c:v>
                </c:pt>
                <c:pt idx="656">
                  <c:v>123.35423345586143</c:v>
                </c:pt>
                <c:pt idx="657">
                  <c:v>123.75373622383022</c:v>
                </c:pt>
                <c:pt idx="658">
                  <c:v>124.2219657918825</c:v>
                </c:pt>
                <c:pt idx="659">
                  <c:v>125.11882383098735</c:v>
                </c:pt>
                <c:pt idx="660">
                  <c:v>124.92488526362688</c:v>
                </c:pt>
                <c:pt idx="661">
                  <c:v>124.92488526362688</c:v>
                </c:pt>
                <c:pt idx="662">
                  <c:v>124.92488526362688</c:v>
                </c:pt>
                <c:pt idx="663">
                  <c:v>125.5058793661855</c:v>
                </c:pt>
                <c:pt idx="664">
                  <c:v>125.13244184307803</c:v>
                </c:pt>
                <c:pt idx="665">
                  <c:v>125.53759310776616</c:v>
                </c:pt>
                <c:pt idx="666">
                  <c:v>124.97664603356422</c:v>
                </c:pt>
                <c:pt idx="667">
                  <c:v>124.81659844651988</c:v>
                </c:pt>
                <c:pt idx="668">
                  <c:v>124.81659844651988</c:v>
                </c:pt>
                <c:pt idx="669">
                  <c:v>124.81659844651988</c:v>
                </c:pt>
                <c:pt idx="670">
                  <c:v>125.14630633502553</c:v>
                </c:pt>
                <c:pt idx="671">
                  <c:v>125.14581337531186</c:v>
                </c:pt>
                <c:pt idx="672">
                  <c:v>125.47258404552346</c:v>
                </c:pt>
                <c:pt idx="673">
                  <c:v>125.10099512134228</c:v>
                </c:pt>
                <c:pt idx="674">
                  <c:v>125.28002165736366</c:v>
                </c:pt>
                <c:pt idx="675">
                  <c:v>125.28002165736366</c:v>
                </c:pt>
                <c:pt idx="676">
                  <c:v>125.28002165736366</c:v>
                </c:pt>
                <c:pt idx="677">
                  <c:v>125.51119922309573</c:v>
                </c:pt>
                <c:pt idx="678">
                  <c:v>126.51492682013073</c:v>
                </c:pt>
                <c:pt idx="679">
                  <c:v>127.41036760005873</c:v>
                </c:pt>
                <c:pt idx="680">
                  <c:v>127.80533103066399</c:v>
                </c:pt>
                <c:pt idx="681">
                  <c:v>128.36648350474661</c:v>
                </c:pt>
                <c:pt idx="682">
                  <c:v>128.36648350474661</c:v>
                </c:pt>
                <c:pt idx="683">
                  <c:v>128.36648350474661</c:v>
                </c:pt>
                <c:pt idx="684">
                  <c:v>128.69816323210702</c:v>
                </c:pt>
                <c:pt idx="685">
                  <c:v>128.89787353611527</c:v>
                </c:pt>
                <c:pt idx="686">
                  <c:v>129.25652226781207</c:v>
                </c:pt>
                <c:pt idx="687">
                  <c:v>128.94386256940484</c:v>
                </c:pt>
                <c:pt idx="688">
                  <c:v>128.24396247590681</c:v>
                </c:pt>
                <c:pt idx="689">
                  <c:v>128.24396247590681</c:v>
                </c:pt>
                <c:pt idx="690">
                  <c:v>128.24396247590681</c:v>
                </c:pt>
                <c:pt idx="691">
                  <c:v>128.55068611776173</c:v>
                </c:pt>
                <c:pt idx="692">
                  <c:v>129.11506336997144</c:v>
                </c:pt>
                <c:pt idx="693">
                  <c:v>129.92144276162631</c:v>
                </c:pt>
                <c:pt idx="694">
                  <c:v>129.92144276162631</c:v>
                </c:pt>
                <c:pt idx="695">
                  <c:v>129.93175383563764</c:v>
                </c:pt>
                <c:pt idx="696">
                  <c:v>129.93175383563764</c:v>
                </c:pt>
                <c:pt idx="697">
                  <c:v>129.93175383563764</c:v>
                </c:pt>
                <c:pt idx="698">
                  <c:v>130.49383060918342</c:v>
                </c:pt>
                <c:pt idx="699">
                  <c:v>130.79340633518981</c:v>
                </c:pt>
                <c:pt idx="700">
                  <c:v>131.34151591684775</c:v>
                </c:pt>
                <c:pt idx="701">
                  <c:v>131.11130373055499</c:v>
                </c:pt>
                <c:pt idx="702">
                  <c:v>131.5696741043335</c:v>
                </c:pt>
                <c:pt idx="703">
                  <c:v>131.5696741043335</c:v>
                </c:pt>
                <c:pt idx="704">
                  <c:v>131.5696741043335</c:v>
                </c:pt>
                <c:pt idx="705">
                  <c:v>131.24641577208195</c:v>
                </c:pt>
                <c:pt idx="706">
                  <c:v>130.42500110915958</c:v>
                </c:pt>
                <c:pt idx="707">
                  <c:v>130.5855005759415</c:v>
                </c:pt>
                <c:pt idx="708">
                  <c:v>129.74993386123865</c:v>
                </c:pt>
                <c:pt idx="709">
                  <c:v>130.29118308688109</c:v>
                </c:pt>
                <c:pt idx="710">
                  <c:v>130.29118308688109</c:v>
                </c:pt>
                <c:pt idx="711">
                  <c:v>130.29118308688109</c:v>
                </c:pt>
                <c:pt idx="712">
                  <c:v>130.2737240970213</c:v>
                </c:pt>
                <c:pt idx="713">
                  <c:v>130.97072805220139</c:v>
                </c:pt>
                <c:pt idx="714">
                  <c:v>131.58842711344178</c:v>
                </c:pt>
                <c:pt idx="715">
                  <c:v>131.05023834602181</c:v>
                </c:pt>
                <c:pt idx="716">
                  <c:v>131.2120523720402</c:v>
                </c:pt>
                <c:pt idx="717">
                  <c:v>131.2120523720402</c:v>
                </c:pt>
                <c:pt idx="718">
                  <c:v>131.2120523720402</c:v>
                </c:pt>
                <c:pt idx="719">
                  <c:v>130.37506839816052</c:v>
                </c:pt>
                <c:pt idx="720">
                  <c:v>130.82941293427723</c:v>
                </c:pt>
                <c:pt idx="721">
                  <c:v>131.01100696880741</c:v>
                </c:pt>
                <c:pt idx="722">
                  <c:v>130.91128532672573</c:v>
                </c:pt>
                <c:pt idx="723">
                  <c:v>130.91128532672573</c:v>
                </c:pt>
                <c:pt idx="724">
                  <c:v>130.91128532672573</c:v>
                </c:pt>
                <c:pt idx="725">
                  <c:v>130.91128532672573</c:v>
                </c:pt>
                <c:pt idx="726">
                  <c:v>130.63465276739393</c:v>
                </c:pt>
                <c:pt idx="727">
                  <c:v>131.35484636910547</c:v>
                </c:pt>
                <c:pt idx="728">
                  <c:v>131.25179724895642</c:v>
                </c:pt>
                <c:pt idx="729">
                  <c:v>131.37275723870283</c:v>
                </c:pt>
                <c:pt idx="730">
                  <c:v>131.50242618339109</c:v>
                </c:pt>
                <c:pt idx="731">
                  <c:v>131.50242618339109</c:v>
                </c:pt>
                <c:pt idx="732">
                  <c:v>131.50242618339109</c:v>
                </c:pt>
                <c:pt idx="733">
                  <c:v>130.76676597066253</c:v>
                </c:pt>
                <c:pt idx="734">
                  <c:v>129.9051134711103</c:v>
                </c:pt>
                <c:pt idx="735">
                  <c:v>128.57804538187145</c:v>
                </c:pt>
                <c:pt idx="736">
                  <c:v>129.07464067344893</c:v>
                </c:pt>
                <c:pt idx="737">
                  <c:v>128.10685805553706</c:v>
                </c:pt>
                <c:pt idx="738">
                  <c:v>128.10685805553706</c:v>
                </c:pt>
                <c:pt idx="739">
                  <c:v>128.10685805553706</c:v>
                </c:pt>
                <c:pt idx="740">
                  <c:v>128.05226276724599</c:v>
                </c:pt>
                <c:pt idx="741">
                  <c:v>127.59999276992441</c:v>
                </c:pt>
                <c:pt idx="742">
                  <c:v>127.57158596642306</c:v>
                </c:pt>
                <c:pt idx="743">
                  <c:v>128.28202307380118</c:v>
                </c:pt>
                <c:pt idx="744">
                  <c:v>128.81778812262885</c:v>
                </c:pt>
                <c:pt idx="745">
                  <c:v>128.81778812262885</c:v>
                </c:pt>
                <c:pt idx="746">
                  <c:v>128.81778812262885</c:v>
                </c:pt>
                <c:pt idx="747">
                  <c:v>128.81778812262885</c:v>
                </c:pt>
                <c:pt idx="748">
                  <c:v>128.79646761501178</c:v>
                </c:pt>
                <c:pt idx="749">
                  <c:v>128.58864401571572</c:v>
                </c:pt>
                <c:pt idx="750">
                  <c:v>128.95398878352347</c:v>
                </c:pt>
                <c:pt idx="751">
                  <c:v>129.42127351212451</c:v>
                </c:pt>
                <c:pt idx="752">
                  <c:v>129.42127351212451</c:v>
                </c:pt>
                <c:pt idx="753">
                  <c:v>129.42127351212451</c:v>
                </c:pt>
                <c:pt idx="754">
                  <c:v>128.90257719338334</c:v>
                </c:pt>
                <c:pt idx="755">
                  <c:v>128.99334340066633</c:v>
                </c:pt>
                <c:pt idx="756">
                  <c:v>130.03112629792201</c:v>
                </c:pt>
                <c:pt idx="757">
                  <c:v>130.46505408589672</c:v>
                </c:pt>
                <c:pt idx="758">
                  <c:v>130.27563431591173</c:v>
                </c:pt>
                <c:pt idx="759">
                  <c:v>130.27563431591173</c:v>
                </c:pt>
                <c:pt idx="760">
                  <c:v>130.27563431591173</c:v>
                </c:pt>
                <c:pt idx="761">
                  <c:v>131.16474877951407</c:v>
                </c:pt>
                <c:pt idx="762">
                  <c:v>131.39473502593808</c:v>
                </c:pt>
                <c:pt idx="763">
                  <c:v>131.89135085750362</c:v>
                </c:pt>
                <c:pt idx="764">
                  <c:v>132.12055658438095</c:v>
                </c:pt>
                <c:pt idx="765">
                  <c:v>132.71356657996071</c:v>
                </c:pt>
                <c:pt idx="766">
                  <c:v>132.71356657996071</c:v>
                </c:pt>
                <c:pt idx="767">
                  <c:v>132.71356657996071</c:v>
                </c:pt>
                <c:pt idx="768">
                  <c:v>132.59899452650419</c:v>
                </c:pt>
                <c:pt idx="769">
                  <c:v>132.73540058727954</c:v>
                </c:pt>
                <c:pt idx="770">
                  <c:v>131.63328644738743</c:v>
                </c:pt>
                <c:pt idx="771">
                  <c:v>130.80591518792468</c:v>
                </c:pt>
                <c:pt idx="772">
                  <c:v>131.61110326027145</c:v>
                </c:pt>
                <c:pt idx="773">
                  <c:v>131.61110326027145</c:v>
                </c:pt>
                <c:pt idx="774">
                  <c:v>131.61110326027145</c:v>
                </c:pt>
                <c:pt idx="775">
                  <c:v>131.5714200033195</c:v>
                </c:pt>
                <c:pt idx="776">
                  <c:v>131.24397151350158</c:v>
                </c:pt>
                <c:pt idx="777">
                  <c:v>131.50468558207882</c:v>
                </c:pt>
                <c:pt idx="778">
                  <c:v>131.25276262839566</c:v>
                </c:pt>
                <c:pt idx="779">
                  <c:v>131.35663334806756</c:v>
                </c:pt>
                <c:pt idx="780">
                  <c:v>131.35663334806756</c:v>
                </c:pt>
                <c:pt idx="781">
                  <c:v>131.35663334806756</c:v>
                </c:pt>
                <c:pt idx="782">
                  <c:v>131.35663334806756</c:v>
                </c:pt>
                <c:pt idx="783">
                  <c:v>131.21609874969005</c:v>
                </c:pt>
                <c:pt idx="784">
                  <c:v>131.30199697980035</c:v>
                </c:pt>
                <c:pt idx="785">
                  <c:v>131.46360560593808</c:v>
                </c:pt>
                <c:pt idx="786">
                  <c:v>131.79376537418128</c:v>
                </c:pt>
                <c:pt idx="787">
                  <c:v>131.79376537418128</c:v>
                </c:pt>
                <c:pt idx="788">
                  <c:v>131.79376537418128</c:v>
                </c:pt>
                <c:pt idx="789">
                  <c:v>131.78863037716368</c:v>
                </c:pt>
                <c:pt idx="790">
                  <c:v>132.07499889084085</c:v>
                </c:pt>
                <c:pt idx="791">
                  <c:v>131.93820257029213</c:v>
                </c:pt>
                <c:pt idx="792">
                  <c:v>131.7138648205875</c:v>
                </c:pt>
                <c:pt idx="793">
                  <c:v>131.70308132685057</c:v>
                </c:pt>
                <c:pt idx="794">
                  <c:v>131.70308132685057</c:v>
                </c:pt>
                <c:pt idx="795">
                  <c:v>131.70308132685057</c:v>
                </c:pt>
                <c:pt idx="796">
                  <c:v>131.81578424139269</c:v>
                </c:pt>
                <c:pt idx="797">
                  <c:v>131.13950513417561</c:v>
                </c:pt>
                <c:pt idx="798">
                  <c:v>131.14482499108584</c:v>
                </c:pt>
                <c:pt idx="799">
                  <c:v>130.87036967048948</c:v>
                </c:pt>
                <c:pt idx="800">
                  <c:v>131.45970300820468</c:v>
                </c:pt>
                <c:pt idx="801">
                  <c:v>131.45970300820468</c:v>
                </c:pt>
                <c:pt idx="802">
                  <c:v>131.45970300820468</c:v>
                </c:pt>
                <c:pt idx="803">
                  <c:v>131.3095146154341</c:v>
                </c:pt>
                <c:pt idx="804">
                  <c:v>131.66044031161647</c:v>
                </c:pt>
                <c:pt idx="805">
                  <c:v>131.67003248604533</c:v>
                </c:pt>
                <c:pt idx="806">
                  <c:v>131.77696366393971</c:v>
                </c:pt>
                <c:pt idx="807">
                  <c:v>131.36164510515675</c:v>
                </c:pt>
                <c:pt idx="808">
                  <c:v>131.36164510515675</c:v>
                </c:pt>
                <c:pt idx="809">
                  <c:v>131.36164510515675</c:v>
                </c:pt>
                <c:pt idx="810">
                  <c:v>131.9683963527556</c:v>
                </c:pt>
                <c:pt idx="811">
                  <c:v>132.42754724608076</c:v>
                </c:pt>
                <c:pt idx="812">
                  <c:v>131.47336210027149</c:v>
                </c:pt>
                <c:pt idx="813">
                  <c:v>131.95498374054566</c:v>
                </c:pt>
                <c:pt idx="814">
                  <c:v>131.95498374054566</c:v>
                </c:pt>
                <c:pt idx="815">
                  <c:v>131.95498374054566</c:v>
                </c:pt>
                <c:pt idx="816">
                  <c:v>131.95498374054566</c:v>
                </c:pt>
                <c:pt idx="817">
                  <c:v>131.53537232425595</c:v>
                </c:pt>
                <c:pt idx="818">
                  <c:v>130.62764863146188</c:v>
                </c:pt>
                <c:pt idx="819">
                  <c:v>130.87492954784111</c:v>
                </c:pt>
                <c:pt idx="820">
                  <c:v>131.16992485650786</c:v>
                </c:pt>
                <c:pt idx="821">
                  <c:v>131.34874599264856</c:v>
                </c:pt>
                <c:pt idx="822">
                  <c:v>131.34874599264856</c:v>
                </c:pt>
                <c:pt idx="823">
                  <c:v>131.34874599264856</c:v>
                </c:pt>
                <c:pt idx="824">
                  <c:v>130.95973915858374</c:v>
                </c:pt>
                <c:pt idx="825">
                  <c:v>130.63693270606973</c:v>
                </c:pt>
                <c:pt idx="826">
                  <c:v>130.45920018929678</c:v>
                </c:pt>
                <c:pt idx="827">
                  <c:v>130.32501244723304</c:v>
                </c:pt>
                <c:pt idx="828">
                  <c:v>130.23751209805323</c:v>
                </c:pt>
                <c:pt idx="829">
                  <c:v>130.23751209805323</c:v>
                </c:pt>
                <c:pt idx="830">
                  <c:v>130.23751209805323</c:v>
                </c:pt>
                <c:pt idx="831">
                  <c:v>129.93300677490993</c:v>
                </c:pt>
                <c:pt idx="832">
                  <c:v>130.25542296765062</c:v>
                </c:pt>
                <c:pt idx="833">
                  <c:v>130.15089496836046</c:v>
                </c:pt>
                <c:pt idx="834">
                  <c:v>129.56905872629096</c:v>
                </c:pt>
                <c:pt idx="835">
                  <c:v>129.22772520453745</c:v>
                </c:pt>
                <c:pt idx="836">
                  <c:v>129.22772520453745</c:v>
                </c:pt>
                <c:pt idx="837">
                  <c:v>129.22772520453745</c:v>
                </c:pt>
                <c:pt idx="838">
                  <c:v>129.61020032239591</c:v>
                </c:pt>
                <c:pt idx="839">
                  <c:v>130.5211898732932</c:v>
                </c:pt>
                <c:pt idx="840">
                  <c:v>130.38026501514236</c:v>
                </c:pt>
                <c:pt idx="841">
                  <c:v>130.33708996021844</c:v>
                </c:pt>
                <c:pt idx="842">
                  <c:v>130.344545975888</c:v>
                </c:pt>
                <c:pt idx="843">
                  <c:v>130.344545975888</c:v>
                </c:pt>
                <c:pt idx="844">
                  <c:v>130.344545975888</c:v>
                </c:pt>
                <c:pt idx="845">
                  <c:v>130.56572056742979</c:v>
                </c:pt>
                <c:pt idx="846">
                  <c:v>130.19969798001569</c:v>
                </c:pt>
                <c:pt idx="847">
                  <c:v>129.33112350448374</c:v>
                </c:pt>
                <c:pt idx="848">
                  <c:v>127.92134088328548</c:v>
                </c:pt>
                <c:pt idx="849">
                  <c:v>127.12767574424618</c:v>
                </c:pt>
                <c:pt idx="850">
                  <c:v>127.12767574424619</c:v>
                </c:pt>
                <c:pt idx="851">
                  <c:v>127.12767574424619</c:v>
                </c:pt>
                <c:pt idx="852">
                  <c:v>127.43651500487235</c:v>
                </c:pt>
                <c:pt idx="853">
                  <c:v>127.12340342672753</c:v>
                </c:pt>
                <c:pt idx="854">
                  <c:v>127.11165455355129</c:v>
                </c:pt>
                <c:pt idx="855">
                  <c:v>128.01681074783656</c:v>
                </c:pt>
                <c:pt idx="856">
                  <c:v>128.420585833324</c:v>
                </c:pt>
                <c:pt idx="857">
                  <c:v>128.420585833324</c:v>
                </c:pt>
                <c:pt idx="858">
                  <c:v>128.420585833324</c:v>
                </c:pt>
                <c:pt idx="859">
                  <c:v>128.66768188981061</c:v>
                </c:pt>
                <c:pt idx="860">
                  <c:v>128.71558114199073</c:v>
                </c:pt>
                <c:pt idx="861">
                  <c:v>128.45759889182682</c:v>
                </c:pt>
                <c:pt idx="862">
                  <c:v>127.81457402529564</c:v>
                </c:pt>
                <c:pt idx="863">
                  <c:v>127.68145436261155</c:v>
                </c:pt>
                <c:pt idx="864">
                  <c:v>127.68145436261153</c:v>
                </c:pt>
                <c:pt idx="865">
                  <c:v>127.68145436261153</c:v>
                </c:pt>
                <c:pt idx="866">
                  <c:v>128.01545510862391</c:v>
                </c:pt>
                <c:pt idx="867">
                  <c:v>127.85544860155568</c:v>
                </c:pt>
                <c:pt idx="868">
                  <c:v>129.30801601790455</c:v>
                </c:pt>
                <c:pt idx="869">
                  <c:v>129.61591043907944</c:v>
                </c:pt>
                <c:pt idx="870">
                  <c:v>129.61229540117907</c:v>
                </c:pt>
                <c:pt idx="871">
                  <c:v>129.61229540117907</c:v>
                </c:pt>
                <c:pt idx="872">
                  <c:v>129.61229540117907</c:v>
                </c:pt>
                <c:pt idx="873">
                  <c:v>130.05113224630264</c:v>
                </c:pt>
                <c:pt idx="874">
                  <c:v>130.17673427335296</c:v>
                </c:pt>
                <c:pt idx="875">
                  <c:v>129.39617364670255</c:v>
                </c:pt>
                <c:pt idx="876">
                  <c:v>130.02132872361247</c:v>
                </c:pt>
                <c:pt idx="877">
                  <c:v>130.34920855317989</c:v>
                </c:pt>
                <c:pt idx="878">
                  <c:v>130.34920855317989</c:v>
                </c:pt>
                <c:pt idx="879">
                  <c:v>130.34920855317989</c:v>
                </c:pt>
                <c:pt idx="880">
                  <c:v>130.34920855317989</c:v>
                </c:pt>
                <c:pt idx="881">
                  <c:v>130.83964184833624</c:v>
                </c:pt>
                <c:pt idx="882">
                  <c:v>130.8559505988641</c:v>
                </c:pt>
                <c:pt idx="883">
                  <c:v>130.98144992597412</c:v>
                </c:pt>
                <c:pt idx="884">
                  <c:v>131.01955160384463</c:v>
                </c:pt>
                <c:pt idx="885">
                  <c:v>131.01955160384463</c:v>
                </c:pt>
                <c:pt idx="886">
                  <c:v>131.01955160384463</c:v>
                </c:pt>
                <c:pt idx="887">
                  <c:v>131.49429234811521</c:v>
                </c:pt>
                <c:pt idx="888">
                  <c:v>131.89260379677594</c:v>
                </c:pt>
                <c:pt idx="889">
                  <c:v>131.89562317502231</c:v>
                </c:pt>
                <c:pt idx="890">
                  <c:v>132.18747586551427</c:v>
                </c:pt>
                <c:pt idx="891">
                  <c:v>132.42226846914673</c:v>
                </c:pt>
                <c:pt idx="892">
                  <c:v>132.42226846914673</c:v>
                </c:pt>
                <c:pt idx="893">
                  <c:v>132.42226846914673</c:v>
                </c:pt>
                <c:pt idx="894">
                  <c:v>132.81010452389154</c:v>
                </c:pt>
                <c:pt idx="895">
                  <c:v>132.84738460223926</c:v>
                </c:pt>
                <c:pt idx="896">
                  <c:v>132.94059506810262</c:v>
                </c:pt>
                <c:pt idx="897">
                  <c:v>133.94200164648569</c:v>
                </c:pt>
                <c:pt idx="898">
                  <c:v>133.33902975669176</c:v>
                </c:pt>
                <c:pt idx="899">
                  <c:v>133.33902975669176</c:v>
                </c:pt>
                <c:pt idx="900">
                  <c:v>133.33902975669176</c:v>
                </c:pt>
                <c:pt idx="901">
                  <c:v>132.82493439527835</c:v>
                </c:pt>
                <c:pt idx="902">
                  <c:v>132.68850779451492</c:v>
                </c:pt>
                <c:pt idx="903">
                  <c:v>132.69216391239144</c:v>
                </c:pt>
                <c:pt idx="904">
                  <c:v>132.4423771174676</c:v>
                </c:pt>
                <c:pt idx="905">
                  <c:v>131.88964603849379</c:v>
                </c:pt>
                <c:pt idx="906">
                  <c:v>131.88964603849379</c:v>
                </c:pt>
                <c:pt idx="907">
                  <c:v>131.88964603849379</c:v>
                </c:pt>
                <c:pt idx="908">
                  <c:v>131.93701125098411</c:v>
                </c:pt>
                <c:pt idx="909">
                  <c:v>132.44147335799252</c:v>
                </c:pt>
                <c:pt idx="910">
                  <c:v>132.98531062213186</c:v>
                </c:pt>
                <c:pt idx="911">
                  <c:v>133.4676306220004</c:v>
                </c:pt>
                <c:pt idx="912">
                  <c:v>134.09083440004366</c:v>
                </c:pt>
                <c:pt idx="913">
                  <c:v>134.09083440004366</c:v>
                </c:pt>
                <c:pt idx="914">
                  <c:v>134.09083440004366</c:v>
                </c:pt>
                <c:pt idx="915">
                  <c:v>134.09083440004366</c:v>
                </c:pt>
                <c:pt idx="916">
                  <c:v>134.24712316927116</c:v>
                </c:pt>
                <c:pt idx="917">
                  <c:v>134.69612730848954</c:v>
                </c:pt>
                <c:pt idx="918">
                  <c:v>134.77058476524465</c:v>
                </c:pt>
                <c:pt idx="919">
                  <c:v>135.4790705737561</c:v>
                </c:pt>
                <c:pt idx="920">
                  <c:v>135.4790705737561</c:v>
                </c:pt>
                <c:pt idx="921">
                  <c:v>135.4790705737561</c:v>
                </c:pt>
                <c:pt idx="922">
                  <c:v>135.87869658165332</c:v>
                </c:pt>
                <c:pt idx="923">
                  <c:v>135.79006653312965</c:v>
                </c:pt>
                <c:pt idx="924">
                  <c:v>135.4131372120502</c:v>
                </c:pt>
                <c:pt idx="925">
                  <c:v>134.38866422706411</c:v>
                </c:pt>
                <c:pt idx="926">
                  <c:v>134.37159549697765</c:v>
                </c:pt>
                <c:pt idx="927">
                  <c:v>134.37159549697765</c:v>
                </c:pt>
                <c:pt idx="928">
                  <c:v>134.37159549697765</c:v>
                </c:pt>
                <c:pt idx="929">
                  <c:v>134.4865783501956</c:v>
                </c:pt>
                <c:pt idx="930">
                  <c:v>135.35730952447491</c:v>
                </c:pt>
                <c:pt idx="931">
                  <c:v>135.86918656717674</c:v>
                </c:pt>
                <c:pt idx="932">
                  <c:v>134.92728433423352</c:v>
                </c:pt>
                <c:pt idx="933">
                  <c:v>135.3151614689545</c:v>
                </c:pt>
                <c:pt idx="934">
                  <c:v>135.3151614689545</c:v>
                </c:pt>
                <c:pt idx="935">
                  <c:v>135.3151614689545</c:v>
                </c:pt>
                <c:pt idx="936">
                  <c:v>135.2808391488889</c:v>
                </c:pt>
                <c:pt idx="937">
                  <c:v>135.21882892490444</c:v>
                </c:pt>
                <c:pt idx="938">
                  <c:v>134.20398919432336</c:v>
                </c:pt>
                <c:pt idx="939">
                  <c:v>134.45804830676582</c:v>
                </c:pt>
                <c:pt idx="940">
                  <c:v>134.84461088225029</c:v>
                </c:pt>
                <c:pt idx="941">
                  <c:v>134.84461088225029</c:v>
                </c:pt>
                <c:pt idx="942">
                  <c:v>134.84461088225029</c:v>
                </c:pt>
                <c:pt idx="943">
                  <c:v>135.30070131735295</c:v>
                </c:pt>
                <c:pt idx="944">
                  <c:v>135.23959485284362</c:v>
                </c:pt>
                <c:pt idx="945">
                  <c:v>134.40595889701936</c:v>
                </c:pt>
                <c:pt idx="946">
                  <c:v>133.68671013475904</c:v>
                </c:pt>
                <c:pt idx="947">
                  <c:v>133.14679600834114</c:v>
                </c:pt>
                <c:pt idx="948">
                  <c:v>133.14679600834114</c:v>
                </c:pt>
                <c:pt idx="949">
                  <c:v>133.14679600834114</c:v>
                </c:pt>
                <c:pt idx="950">
                  <c:v>132.3847829909183</c:v>
                </c:pt>
                <c:pt idx="951">
                  <c:v>131.97671504792416</c:v>
                </c:pt>
                <c:pt idx="952">
                  <c:v>132.436934020629</c:v>
                </c:pt>
                <c:pt idx="953">
                  <c:v>132.50223064270472</c:v>
                </c:pt>
                <c:pt idx="954">
                  <c:v>132.5610366285502</c:v>
                </c:pt>
                <c:pt idx="955">
                  <c:v>132.5610366285502</c:v>
                </c:pt>
                <c:pt idx="956">
                  <c:v>132.5610366285502</c:v>
                </c:pt>
                <c:pt idx="957">
                  <c:v>132.73205256922415</c:v>
                </c:pt>
                <c:pt idx="958">
                  <c:v>132.7371464862656</c:v>
                </c:pt>
                <c:pt idx="959">
                  <c:v>132.36882342018762</c:v>
                </c:pt>
                <c:pt idx="960">
                  <c:v>132.08553590472101</c:v>
                </c:pt>
                <c:pt idx="961">
                  <c:v>132.37046661923324</c:v>
                </c:pt>
                <c:pt idx="962">
                  <c:v>132.37046661923324</c:v>
                </c:pt>
                <c:pt idx="963">
                  <c:v>132.37046661923324</c:v>
                </c:pt>
                <c:pt idx="964">
                  <c:v>132.25585348580054</c:v>
                </c:pt>
                <c:pt idx="965">
                  <c:v>132.80443548718412</c:v>
                </c:pt>
                <c:pt idx="966">
                  <c:v>133.65700931200925</c:v>
                </c:pt>
                <c:pt idx="967">
                  <c:v>134.08058494599652</c:v>
                </c:pt>
                <c:pt idx="968">
                  <c:v>133.61909249403135</c:v>
                </c:pt>
                <c:pt idx="969">
                  <c:v>133.61909249403135</c:v>
                </c:pt>
                <c:pt idx="970">
                  <c:v>133.61909249403135</c:v>
                </c:pt>
                <c:pt idx="971">
                  <c:v>133.82634097366142</c:v>
                </c:pt>
                <c:pt idx="972">
                  <c:v>133.89917577135898</c:v>
                </c:pt>
                <c:pt idx="973">
                  <c:v>134.89265391434691</c:v>
                </c:pt>
                <c:pt idx="974">
                  <c:v>135.05954131741871</c:v>
                </c:pt>
                <c:pt idx="975">
                  <c:v>134.45461812875809</c:v>
                </c:pt>
                <c:pt idx="976">
                  <c:v>134.45461812875809</c:v>
                </c:pt>
                <c:pt idx="977">
                  <c:v>134.45461812875809</c:v>
                </c:pt>
                <c:pt idx="978">
                  <c:v>134.45461812875809</c:v>
                </c:pt>
                <c:pt idx="979">
                  <c:v>134.79081665349401</c:v>
                </c:pt>
                <c:pt idx="980">
                  <c:v>135.13974997083352</c:v>
                </c:pt>
                <c:pt idx="981">
                  <c:v>134.93469926992697</c:v>
                </c:pt>
                <c:pt idx="982">
                  <c:v>134.91808241957804</c:v>
                </c:pt>
                <c:pt idx="983">
                  <c:v>134.91808241957804</c:v>
                </c:pt>
                <c:pt idx="984">
                  <c:v>134.91808241957804</c:v>
                </c:pt>
                <c:pt idx="985">
                  <c:v>135.17881702814338</c:v>
                </c:pt>
                <c:pt idx="986">
                  <c:v>135.12118182161794</c:v>
                </c:pt>
                <c:pt idx="987">
                  <c:v>134.88686163771109</c:v>
                </c:pt>
                <c:pt idx="988">
                  <c:v>134.80061422780358</c:v>
                </c:pt>
                <c:pt idx="989">
                  <c:v>134.30190331745487</c:v>
                </c:pt>
                <c:pt idx="990">
                  <c:v>134.30190331745487</c:v>
                </c:pt>
                <c:pt idx="991">
                  <c:v>134.30190331745487</c:v>
                </c:pt>
                <c:pt idx="992">
                  <c:v>134.36483784090248</c:v>
                </c:pt>
                <c:pt idx="993">
                  <c:v>134.02703719709709</c:v>
                </c:pt>
                <c:pt idx="994">
                  <c:v>133.42940570420143</c:v>
                </c:pt>
                <c:pt idx="995">
                  <c:v>133.27050835648902</c:v>
                </c:pt>
                <c:pt idx="996">
                  <c:v>133.43472556111169</c:v>
                </c:pt>
                <c:pt idx="997">
                  <c:v>133.43472556111169</c:v>
                </c:pt>
                <c:pt idx="998">
                  <c:v>133.43472556111169</c:v>
                </c:pt>
                <c:pt idx="999">
                  <c:v>134.23746937487809</c:v>
                </c:pt>
                <c:pt idx="1000">
                  <c:v>133.85957467435935</c:v>
                </c:pt>
                <c:pt idx="1001">
                  <c:v>133.24505931126987</c:v>
                </c:pt>
                <c:pt idx="1002">
                  <c:v>133.68859981366157</c:v>
                </c:pt>
                <c:pt idx="1003">
                  <c:v>134.35099388894307</c:v>
                </c:pt>
                <c:pt idx="1004">
                  <c:v>134.35099388894307</c:v>
                </c:pt>
                <c:pt idx="1005">
                  <c:v>134.35099388894307</c:v>
                </c:pt>
                <c:pt idx="1006">
                  <c:v>134.91118098358641</c:v>
                </c:pt>
                <c:pt idx="1007">
                  <c:v>134.79285011231298</c:v>
                </c:pt>
                <c:pt idx="1008">
                  <c:v>133.52351992953996</c:v>
                </c:pt>
                <c:pt idx="1009">
                  <c:v>132.75651569501602</c:v>
                </c:pt>
                <c:pt idx="1010">
                  <c:v>132.60558786267489</c:v>
                </c:pt>
                <c:pt idx="1011">
                  <c:v>132.60558786267489</c:v>
                </c:pt>
                <c:pt idx="1012">
                  <c:v>132.60558786267489</c:v>
                </c:pt>
                <c:pt idx="1013">
                  <c:v>131.97667396794807</c:v>
                </c:pt>
                <c:pt idx="1014">
                  <c:v>131.21273019164661</c:v>
                </c:pt>
                <c:pt idx="1015">
                  <c:v>130.45558515139646</c:v>
                </c:pt>
                <c:pt idx="1016">
                  <c:v>130.44644485670514</c:v>
                </c:pt>
                <c:pt idx="1017">
                  <c:v>130.98600980332583</c:v>
                </c:pt>
                <c:pt idx="1018">
                  <c:v>130.98600980332583</c:v>
                </c:pt>
                <c:pt idx="1019">
                  <c:v>130.98600980332583</c:v>
                </c:pt>
                <c:pt idx="1020">
                  <c:v>131.10579901375223</c:v>
                </c:pt>
                <c:pt idx="1021">
                  <c:v>130.80786648679145</c:v>
                </c:pt>
                <c:pt idx="1022">
                  <c:v>130.66476438990514</c:v>
                </c:pt>
                <c:pt idx="1023">
                  <c:v>130.67324740497821</c:v>
                </c:pt>
                <c:pt idx="1024">
                  <c:v>131.24345801379988</c:v>
                </c:pt>
                <c:pt idx="1025">
                  <c:v>131.24345801379988</c:v>
                </c:pt>
                <c:pt idx="1026">
                  <c:v>131.24345801379988</c:v>
                </c:pt>
                <c:pt idx="1027">
                  <c:v>131.23057944127979</c:v>
                </c:pt>
                <c:pt idx="1028">
                  <c:v>131.32982866363585</c:v>
                </c:pt>
                <c:pt idx="1029">
                  <c:v>131.11962242572361</c:v>
                </c:pt>
                <c:pt idx="1030">
                  <c:v>129.8761931679073</c:v>
                </c:pt>
                <c:pt idx="1031">
                  <c:v>129.716453680684</c:v>
                </c:pt>
                <c:pt idx="1032">
                  <c:v>129.716453680684</c:v>
                </c:pt>
                <c:pt idx="1033">
                  <c:v>129.716453680684</c:v>
                </c:pt>
                <c:pt idx="1034">
                  <c:v>130.95912295894169</c:v>
                </c:pt>
                <c:pt idx="1035">
                  <c:v>131.24382773358514</c:v>
                </c:pt>
                <c:pt idx="1036">
                  <c:v>132.37354761744382</c:v>
                </c:pt>
                <c:pt idx="1037">
                  <c:v>132.11427134803148</c:v>
                </c:pt>
                <c:pt idx="1038">
                  <c:v>132.14109657245137</c:v>
                </c:pt>
                <c:pt idx="1039">
                  <c:v>132.14109657245137</c:v>
                </c:pt>
                <c:pt idx="1040">
                  <c:v>132.14109657245137</c:v>
                </c:pt>
                <c:pt idx="1041">
                  <c:v>132.35530810803732</c:v>
                </c:pt>
                <c:pt idx="1042">
                  <c:v>131.95393620115414</c:v>
                </c:pt>
                <c:pt idx="1043">
                  <c:v>132.49814318507873</c:v>
                </c:pt>
                <c:pt idx="1044">
                  <c:v>132.21849124750057</c:v>
                </c:pt>
                <c:pt idx="1045">
                  <c:v>132.41499731336987</c:v>
                </c:pt>
                <c:pt idx="1046">
                  <c:v>132.41499731336987</c:v>
                </c:pt>
                <c:pt idx="1047">
                  <c:v>132.41499731336987</c:v>
                </c:pt>
                <c:pt idx="1048">
                  <c:v>132.54928775537397</c:v>
                </c:pt>
                <c:pt idx="1049">
                  <c:v>132.293914083695</c:v>
                </c:pt>
                <c:pt idx="1050">
                  <c:v>132.01017468849085</c:v>
                </c:pt>
                <c:pt idx="1051">
                  <c:v>132.71654487823102</c:v>
                </c:pt>
                <c:pt idx="1052">
                  <c:v>133.12159344297882</c:v>
                </c:pt>
                <c:pt idx="1053">
                  <c:v>133.12159344297882</c:v>
                </c:pt>
                <c:pt idx="1054">
                  <c:v>133.12159344297882</c:v>
                </c:pt>
                <c:pt idx="1055">
                  <c:v>133.78376157839156</c:v>
                </c:pt>
                <c:pt idx="1056">
                  <c:v>133.92893821407296</c:v>
                </c:pt>
                <c:pt idx="1057">
                  <c:v>133.74812469908946</c:v>
                </c:pt>
                <c:pt idx="1058">
                  <c:v>133.74812469908946</c:v>
                </c:pt>
                <c:pt idx="1059">
                  <c:v>133.68545719548675</c:v>
                </c:pt>
                <c:pt idx="1060">
                  <c:v>133.68545719548675</c:v>
                </c:pt>
                <c:pt idx="1061">
                  <c:v>133.68545719548675</c:v>
                </c:pt>
                <c:pt idx="1062">
                  <c:v>132.70218742656982</c:v>
                </c:pt>
                <c:pt idx="1063">
                  <c:v>132.89637247378712</c:v>
                </c:pt>
                <c:pt idx="1064">
                  <c:v>134.06661775410868</c:v>
                </c:pt>
                <c:pt idx="1065">
                  <c:v>134.34826207052967</c:v>
                </c:pt>
                <c:pt idx="1066">
                  <c:v>134.17398027175253</c:v>
                </c:pt>
                <c:pt idx="1067">
                  <c:v>134.17398027175253</c:v>
                </c:pt>
                <c:pt idx="1068">
                  <c:v>134.17398027175253</c:v>
                </c:pt>
                <c:pt idx="1069">
                  <c:v>133.93477157068494</c:v>
                </c:pt>
                <c:pt idx="1070">
                  <c:v>133.83554288831695</c:v>
                </c:pt>
                <c:pt idx="1071">
                  <c:v>133.6856831353555</c:v>
                </c:pt>
                <c:pt idx="1072">
                  <c:v>133.80048112868081</c:v>
                </c:pt>
                <c:pt idx="1073">
                  <c:v>133.72534585231941</c:v>
                </c:pt>
                <c:pt idx="1074">
                  <c:v>133.72534585231941</c:v>
                </c:pt>
                <c:pt idx="1075">
                  <c:v>133.72534585231941</c:v>
                </c:pt>
                <c:pt idx="1076">
                  <c:v>133.63780442316349</c:v>
                </c:pt>
                <c:pt idx="1077">
                  <c:v>133.29558768192297</c:v>
                </c:pt>
                <c:pt idx="1078">
                  <c:v>133.77425156391496</c:v>
                </c:pt>
                <c:pt idx="1079">
                  <c:v>133.61272509772954</c:v>
                </c:pt>
                <c:pt idx="1080">
                  <c:v>133.46128376568666</c:v>
                </c:pt>
                <c:pt idx="1081">
                  <c:v>133.46128376568666</c:v>
                </c:pt>
                <c:pt idx="1082">
                  <c:v>133.46128376568666</c:v>
                </c:pt>
                <c:pt idx="1083">
                  <c:v>133.01979726210203</c:v>
                </c:pt>
                <c:pt idx="1084">
                  <c:v>133.20344529543925</c:v>
                </c:pt>
                <c:pt idx="1085">
                  <c:v>133.92384429703154</c:v>
                </c:pt>
                <c:pt idx="1086">
                  <c:v>134.08105736572219</c:v>
                </c:pt>
                <c:pt idx="1087">
                  <c:v>134.43208576184489</c:v>
                </c:pt>
                <c:pt idx="1088">
                  <c:v>134.43208576184489</c:v>
                </c:pt>
                <c:pt idx="1089">
                  <c:v>134.43208576184489</c:v>
                </c:pt>
                <c:pt idx="1090">
                  <c:v>134.43208576184489</c:v>
                </c:pt>
                <c:pt idx="1091">
                  <c:v>133.98569020111142</c:v>
                </c:pt>
                <c:pt idx="1092">
                  <c:v>134.24283031176446</c:v>
                </c:pt>
                <c:pt idx="1093">
                  <c:v>134.54889667400113</c:v>
                </c:pt>
                <c:pt idx="1094">
                  <c:v>134.48247035258154</c:v>
                </c:pt>
                <c:pt idx="1095">
                  <c:v>134.48247035258154</c:v>
                </c:pt>
                <c:pt idx="1096">
                  <c:v>134.48247035258154</c:v>
                </c:pt>
                <c:pt idx="1097">
                  <c:v>134.48247035258154</c:v>
                </c:pt>
                <c:pt idx="1098">
                  <c:v>134.62349791067274</c:v>
                </c:pt>
                <c:pt idx="1099">
                  <c:v>135.0848055027453</c:v>
                </c:pt>
                <c:pt idx="1100">
                  <c:v>135.31764680751107</c:v>
                </c:pt>
                <c:pt idx="1101">
                  <c:v>135.10325041203248</c:v>
                </c:pt>
                <c:pt idx="1102">
                  <c:v>135.10325041203248</c:v>
                </c:pt>
                <c:pt idx="1103">
                  <c:v>135.10325041203248</c:v>
                </c:pt>
                <c:pt idx="1104">
                  <c:v>136.18919958131323</c:v>
                </c:pt>
                <c:pt idx="1105">
                  <c:v>136.9225593153779</c:v>
                </c:pt>
                <c:pt idx="1106">
                  <c:v>136.69121742974127</c:v>
                </c:pt>
                <c:pt idx="1107">
                  <c:v>136.61809507221074</c:v>
                </c:pt>
                <c:pt idx="1108">
                  <c:v>136.29393298048407</c:v>
                </c:pt>
                <c:pt idx="1109">
                  <c:v>136.29393298048407</c:v>
                </c:pt>
                <c:pt idx="1110">
                  <c:v>136.29393298048407</c:v>
                </c:pt>
                <c:pt idx="1111">
                  <c:v>136.29393298048407</c:v>
                </c:pt>
                <c:pt idx="1112">
                  <c:v>135.56827574194583</c:v>
                </c:pt>
                <c:pt idx="1113">
                  <c:v>135.67107838223805</c:v>
                </c:pt>
                <c:pt idx="1114">
                  <c:v>136.42964068166506</c:v>
                </c:pt>
                <c:pt idx="1115">
                  <c:v>136.91352172062696</c:v>
                </c:pt>
                <c:pt idx="1116">
                  <c:v>136.91352172062696</c:v>
                </c:pt>
                <c:pt idx="1117">
                  <c:v>136.91352172062696</c:v>
                </c:pt>
                <c:pt idx="1118">
                  <c:v>136.887559175706</c:v>
                </c:pt>
                <c:pt idx="1119">
                  <c:v>137.83765686388926</c:v>
                </c:pt>
                <c:pt idx="1120">
                  <c:v>138.32476268097818</c:v>
                </c:pt>
                <c:pt idx="1121">
                  <c:v>138.89170743169669</c:v>
                </c:pt>
                <c:pt idx="1122">
                  <c:v>138.7334673636025</c:v>
                </c:pt>
                <c:pt idx="1123">
                  <c:v>138.7334673636025</c:v>
                </c:pt>
                <c:pt idx="1124">
                  <c:v>138.7334673636025</c:v>
                </c:pt>
                <c:pt idx="1125">
                  <c:v>138.64695293385006</c:v>
                </c:pt>
                <c:pt idx="1126">
                  <c:v>139.1950830554961</c:v>
                </c:pt>
                <c:pt idx="1127">
                  <c:v>139.124137936701</c:v>
                </c:pt>
                <c:pt idx="1128">
                  <c:v>139.44484931043183</c:v>
                </c:pt>
                <c:pt idx="1129">
                  <c:v>139.68631741018717</c:v>
                </c:pt>
                <c:pt idx="1130">
                  <c:v>139.68631741018717</c:v>
                </c:pt>
                <c:pt idx="1131">
                  <c:v>139.68631741018717</c:v>
                </c:pt>
                <c:pt idx="1132">
                  <c:v>140.0693471077235</c:v>
                </c:pt>
                <c:pt idx="1133">
                  <c:v>139.548514630223</c:v>
                </c:pt>
                <c:pt idx="1134">
                  <c:v>138.96388494977592</c:v>
                </c:pt>
                <c:pt idx="1135">
                  <c:v>138.8902696325317</c:v>
                </c:pt>
                <c:pt idx="1136">
                  <c:v>138.53624239815073</c:v>
                </c:pt>
                <c:pt idx="1137">
                  <c:v>138.53624239815073</c:v>
                </c:pt>
                <c:pt idx="1138">
                  <c:v>138.53624239815073</c:v>
                </c:pt>
                <c:pt idx="1139">
                  <c:v>138.05940657509697</c:v>
                </c:pt>
                <c:pt idx="1140">
                  <c:v>138.08637557943337</c:v>
                </c:pt>
                <c:pt idx="1141">
                  <c:v>138.25498834150306</c:v>
                </c:pt>
                <c:pt idx="1142">
                  <c:v>138.31730666530859</c:v>
                </c:pt>
                <c:pt idx="1143">
                  <c:v>138.75920396865465</c:v>
                </c:pt>
                <c:pt idx="1144">
                  <c:v>138.75920396865465</c:v>
                </c:pt>
                <c:pt idx="1145">
                  <c:v>138.75920396865465</c:v>
                </c:pt>
                <c:pt idx="1146">
                  <c:v>138.75920396865465</c:v>
                </c:pt>
                <c:pt idx="1147">
                  <c:v>138.89811590797459</c:v>
                </c:pt>
                <c:pt idx="1148">
                  <c:v>138.87685702032172</c:v>
                </c:pt>
                <c:pt idx="1149">
                  <c:v>139.12284391745254</c:v>
                </c:pt>
                <c:pt idx="1150">
                  <c:v>139.34350500929258</c:v>
                </c:pt>
                <c:pt idx="1151">
                  <c:v>139.34350500929258</c:v>
                </c:pt>
                <c:pt idx="1152">
                  <c:v>139.34350500929258</c:v>
                </c:pt>
                <c:pt idx="1153">
                  <c:v>139.23910024993086</c:v>
                </c:pt>
                <c:pt idx="1154">
                  <c:v>139.43930351365279</c:v>
                </c:pt>
                <c:pt idx="1155">
                  <c:v>139.98858387463076</c:v>
                </c:pt>
                <c:pt idx="1156">
                  <c:v>140.03933818515267</c:v>
                </c:pt>
                <c:pt idx="1157">
                  <c:v>139.91827549546588</c:v>
                </c:pt>
                <c:pt idx="1158">
                  <c:v>139.91827549546588</c:v>
                </c:pt>
                <c:pt idx="1159">
                  <c:v>139.91827549546588</c:v>
                </c:pt>
                <c:pt idx="1160">
                  <c:v>140.26722935279346</c:v>
                </c:pt>
                <c:pt idx="1161">
                  <c:v>139.1809515437036</c:v>
                </c:pt>
                <c:pt idx="1162">
                  <c:v>139.14272662590463</c:v>
                </c:pt>
                <c:pt idx="1163">
                  <c:v>139.4333263771243</c:v>
                </c:pt>
                <c:pt idx="1164">
                  <c:v>139.62252020724054</c:v>
                </c:pt>
                <c:pt idx="1165">
                  <c:v>139.62252020724054</c:v>
                </c:pt>
                <c:pt idx="1166">
                  <c:v>139.62252020724054</c:v>
                </c:pt>
                <c:pt idx="1167">
                  <c:v>139.76100080681101</c:v>
                </c:pt>
                <c:pt idx="1168">
                  <c:v>139.66869410042273</c:v>
                </c:pt>
                <c:pt idx="1169">
                  <c:v>140.09105787511388</c:v>
                </c:pt>
                <c:pt idx="1170">
                  <c:v>140.55789072397735</c:v>
                </c:pt>
                <c:pt idx="1171">
                  <c:v>140.80582891997483</c:v>
                </c:pt>
                <c:pt idx="1172">
                  <c:v>140.80582891997483</c:v>
                </c:pt>
                <c:pt idx="1173">
                  <c:v>140.80582891997483</c:v>
                </c:pt>
                <c:pt idx="1174">
                  <c:v>140.70097228087556</c:v>
                </c:pt>
                <c:pt idx="1175">
                  <c:v>140.34862932551633</c:v>
                </c:pt>
                <c:pt idx="1176">
                  <c:v>140.33916039101589</c:v>
                </c:pt>
                <c:pt idx="1177">
                  <c:v>141.13097693112886</c:v>
                </c:pt>
                <c:pt idx="1178">
                  <c:v>141.45737788155517</c:v>
                </c:pt>
                <c:pt idx="1179">
                  <c:v>141.45737788155517</c:v>
                </c:pt>
                <c:pt idx="1180">
                  <c:v>141.45737788155517</c:v>
                </c:pt>
                <c:pt idx="1181">
                  <c:v>141.72082376854581</c:v>
                </c:pt>
                <c:pt idx="1182">
                  <c:v>142.41318568642203</c:v>
                </c:pt>
                <c:pt idx="1183">
                  <c:v>142.97045610275936</c:v>
                </c:pt>
                <c:pt idx="1184">
                  <c:v>142.80999771595361</c:v>
                </c:pt>
                <c:pt idx="1185">
                  <c:v>143.53645601402664</c:v>
                </c:pt>
                <c:pt idx="1186">
                  <c:v>143.53645601402664</c:v>
                </c:pt>
                <c:pt idx="1187">
                  <c:v>143.53645601402664</c:v>
                </c:pt>
                <c:pt idx="1188">
                  <c:v>142.50362325389588</c:v>
                </c:pt>
                <c:pt idx="1189">
                  <c:v>142.12615989312661</c:v>
                </c:pt>
                <c:pt idx="1190">
                  <c:v>142.44422160839636</c:v>
                </c:pt>
                <c:pt idx="1191">
                  <c:v>142.63990607474281</c:v>
                </c:pt>
                <c:pt idx="1192">
                  <c:v>142.72001202821727</c:v>
                </c:pt>
                <c:pt idx="1193">
                  <c:v>142.72001202821727</c:v>
                </c:pt>
                <c:pt idx="1194">
                  <c:v>142.72001202821727</c:v>
                </c:pt>
                <c:pt idx="1195">
                  <c:v>142.22678529468337</c:v>
                </c:pt>
                <c:pt idx="1196">
                  <c:v>141.83482070233643</c:v>
                </c:pt>
                <c:pt idx="1197">
                  <c:v>141.99673742829518</c:v>
                </c:pt>
                <c:pt idx="1198">
                  <c:v>141.94696903720066</c:v>
                </c:pt>
                <c:pt idx="1199">
                  <c:v>141.94696903720066</c:v>
                </c:pt>
                <c:pt idx="1200">
                  <c:v>141.94696903720066</c:v>
                </c:pt>
                <c:pt idx="1201">
                  <c:v>141.94696903720066</c:v>
                </c:pt>
                <c:pt idx="1202">
                  <c:v>142.22220487734367</c:v>
                </c:pt>
                <c:pt idx="1203">
                  <c:v>142.15013005920471</c:v>
                </c:pt>
                <c:pt idx="1204">
                  <c:v>142.88735131102661</c:v>
                </c:pt>
                <c:pt idx="1205">
                  <c:v>142.35961739753446</c:v>
                </c:pt>
                <c:pt idx="1206">
                  <c:v>142.01130027983706</c:v>
                </c:pt>
                <c:pt idx="1207">
                  <c:v>142.01130027983706</c:v>
                </c:pt>
                <c:pt idx="1208">
                  <c:v>142.01130027983706</c:v>
                </c:pt>
                <c:pt idx="1209">
                  <c:v>141.69401908411396</c:v>
                </c:pt>
                <c:pt idx="1210">
                  <c:v>142.34638964521716</c:v>
                </c:pt>
                <c:pt idx="1211">
                  <c:v>142.24467562429268</c:v>
                </c:pt>
                <c:pt idx="1212">
                  <c:v>141.84568635602562</c:v>
                </c:pt>
                <c:pt idx="1213">
                  <c:v>141.823318309017</c:v>
                </c:pt>
                <c:pt idx="1214">
                  <c:v>141.823318309017</c:v>
                </c:pt>
                <c:pt idx="1215">
                  <c:v>141.823318309017</c:v>
                </c:pt>
                <c:pt idx="1216">
                  <c:v>141.91572771534561</c:v>
                </c:pt>
                <c:pt idx="1217">
                  <c:v>141.56126914121518</c:v>
                </c:pt>
                <c:pt idx="1218">
                  <c:v>141.54514525057994</c:v>
                </c:pt>
                <c:pt idx="1219">
                  <c:v>142.03789956438823</c:v>
                </c:pt>
                <c:pt idx="1220">
                  <c:v>141.82079189048437</c:v>
                </c:pt>
                <c:pt idx="1221">
                  <c:v>141.82079189048437</c:v>
                </c:pt>
                <c:pt idx="1222">
                  <c:v>141.82079189048437</c:v>
                </c:pt>
                <c:pt idx="1223">
                  <c:v>142.53794557396151</c:v>
                </c:pt>
                <c:pt idx="1224">
                  <c:v>142.09510343116423</c:v>
                </c:pt>
                <c:pt idx="1225">
                  <c:v>141.98433127550069</c:v>
                </c:pt>
                <c:pt idx="1226">
                  <c:v>141.24801378315391</c:v>
                </c:pt>
                <c:pt idx="1227">
                  <c:v>140.63362165999285</c:v>
                </c:pt>
                <c:pt idx="1228">
                  <c:v>140.63362165999285</c:v>
                </c:pt>
                <c:pt idx="1229">
                  <c:v>140.63362165999285</c:v>
                </c:pt>
                <c:pt idx="1230">
                  <c:v>139.99542369065824</c:v>
                </c:pt>
                <c:pt idx="1231">
                  <c:v>139.49981431850816</c:v>
                </c:pt>
                <c:pt idx="1232">
                  <c:v>139.48545686684696</c:v>
                </c:pt>
                <c:pt idx="1233">
                  <c:v>139.55636090566588</c:v>
                </c:pt>
                <c:pt idx="1234">
                  <c:v>139.06184015288352</c:v>
                </c:pt>
                <c:pt idx="1235">
                  <c:v>139.06184015288352</c:v>
                </c:pt>
                <c:pt idx="1236">
                  <c:v>139.06184015288352</c:v>
                </c:pt>
                <c:pt idx="1237">
                  <c:v>138.64830857306265</c:v>
                </c:pt>
                <c:pt idx="1238">
                  <c:v>138.73287170394838</c:v>
                </c:pt>
                <c:pt idx="1239">
                  <c:v>138.4003498370771</c:v>
                </c:pt>
                <c:pt idx="1240">
                  <c:v>138.76238766680552</c:v>
                </c:pt>
                <c:pt idx="1241">
                  <c:v>138.79864074574974</c:v>
                </c:pt>
                <c:pt idx="1242">
                  <c:v>138.79864074574974</c:v>
                </c:pt>
                <c:pt idx="1243">
                  <c:v>138.79864074574974</c:v>
                </c:pt>
                <c:pt idx="1244">
                  <c:v>138.79864074574974</c:v>
                </c:pt>
                <c:pt idx="1245">
                  <c:v>138.59619862332815</c:v>
                </c:pt>
                <c:pt idx="1246">
                  <c:v>138.88123203778073</c:v>
                </c:pt>
                <c:pt idx="1247">
                  <c:v>139.35983429980854</c:v>
                </c:pt>
                <c:pt idx="1248">
                  <c:v>139.55627874571363</c:v>
                </c:pt>
                <c:pt idx="1249">
                  <c:v>139.55627874571363</c:v>
                </c:pt>
                <c:pt idx="1250">
                  <c:v>139.55627874571363</c:v>
                </c:pt>
                <c:pt idx="1251">
                  <c:v>138.91941587560359</c:v>
                </c:pt>
                <c:pt idx="1252">
                  <c:v>138.36851285556807</c:v>
                </c:pt>
                <c:pt idx="1253">
                  <c:v>138.56600484086474</c:v>
                </c:pt>
                <c:pt idx="1254">
                  <c:v>138.32030550356689</c:v>
                </c:pt>
                <c:pt idx="1255">
                  <c:v>138.62534486640004</c:v>
                </c:pt>
                <c:pt idx="1256">
                  <c:v>138.62534486640004</c:v>
                </c:pt>
                <c:pt idx="1257">
                  <c:v>138.62534486640004</c:v>
                </c:pt>
                <c:pt idx="1258">
                  <c:v>137.39091212335859</c:v>
                </c:pt>
                <c:pt idx="1259">
                  <c:v>136.53297736164708</c:v>
                </c:pt>
                <c:pt idx="1260">
                  <c:v>136.4800663523778</c:v>
                </c:pt>
                <c:pt idx="1261">
                  <c:v>137.47578335406538</c:v>
                </c:pt>
                <c:pt idx="1262">
                  <c:v>137.29137534116958</c:v>
                </c:pt>
                <c:pt idx="1263">
                  <c:v>137.29137534116958</c:v>
                </c:pt>
                <c:pt idx="1264">
                  <c:v>137.29137534116958</c:v>
                </c:pt>
                <c:pt idx="1265">
                  <c:v>136.8720309447248</c:v>
                </c:pt>
                <c:pt idx="1266">
                  <c:v>136.38691750647868</c:v>
                </c:pt>
                <c:pt idx="1267">
                  <c:v>137.23497253392833</c:v>
                </c:pt>
                <c:pt idx="1268">
                  <c:v>137.21568548513025</c:v>
                </c:pt>
                <c:pt idx="1269">
                  <c:v>138.16428375418437</c:v>
                </c:pt>
                <c:pt idx="1270">
                  <c:v>138.16428375418437</c:v>
                </c:pt>
                <c:pt idx="1271">
                  <c:v>138.16428375418437</c:v>
                </c:pt>
                <c:pt idx="1272">
                  <c:v>138.61016581521608</c:v>
                </c:pt>
                <c:pt idx="1273">
                  <c:v>138.44777666953169</c:v>
                </c:pt>
                <c:pt idx="1274">
                  <c:v>138.27676072885774</c:v>
                </c:pt>
                <c:pt idx="1275">
                  <c:v>139.14026182733633</c:v>
                </c:pt>
                <c:pt idx="1276">
                  <c:v>140.47435459249525</c:v>
                </c:pt>
                <c:pt idx="1277">
                  <c:v>140.47435459249525</c:v>
                </c:pt>
                <c:pt idx="1278">
                  <c:v>140.47435459249525</c:v>
                </c:pt>
                <c:pt idx="1279">
                  <c:v>140.13846416758039</c:v>
                </c:pt>
                <c:pt idx="1280">
                  <c:v>140.13846416758039</c:v>
                </c:pt>
                <c:pt idx="1281">
                  <c:v>139.99363671169615</c:v>
                </c:pt>
                <c:pt idx="1282">
                  <c:v>139.98570827630098</c:v>
                </c:pt>
                <c:pt idx="1283">
                  <c:v>139.82350399050924</c:v>
                </c:pt>
                <c:pt idx="1284">
                  <c:v>139.82350399050924</c:v>
                </c:pt>
                <c:pt idx="1285">
                  <c:v>139.82350399050924</c:v>
                </c:pt>
                <c:pt idx="1286">
                  <c:v>139.49433014169341</c:v>
                </c:pt>
                <c:pt idx="1287">
                  <c:v>139.41923594530812</c:v>
                </c:pt>
                <c:pt idx="1288">
                  <c:v>139.69695712400767</c:v>
                </c:pt>
                <c:pt idx="1289">
                  <c:v>139.25460794092407</c:v>
                </c:pt>
                <c:pt idx="1290">
                  <c:v>138.83462680484911</c:v>
                </c:pt>
                <c:pt idx="1291">
                  <c:v>138.83462680484911</c:v>
                </c:pt>
                <c:pt idx="1292">
                  <c:v>138.83462680484911</c:v>
                </c:pt>
                <c:pt idx="1293">
                  <c:v>138.36309029871751</c:v>
                </c:pt>
                <c:pt idx="1294">
                  <c:v>138.13209759287807</c:v>
                </c:pt>
                <c:pt idx="1295">
                  <c:v>138.20257029194755</c:v>
                </c:pt>
                <c:pt idx="1296">
                  <c:v>137.18982564014965</c:v>
                </c:pt>
                <c:pt idx="1297">
                  <c:v>136.60445652013203</c:v>
                </c:pt>
                <c:pt idx="1298">
                  <c:v>136.60445652013203</c:v>
                </c:pt>
                <c:pt idx="1299">
                  <c:v>136.60445652013203</c:v>
                </c:pt>
                <c:pt idx="1300">
                  <c:v>136.97335470587595</c:v>
                </c:pt>
                <c:pt idx="1301">
                  <c:v>137.10164747136349</c:v>
                </c:pt>
                <c:pt idx="1302">
                  <c:v>137.62999758449777</c:v>
                </c:pt>
                <c:pt idx="1303">
                  <c:v>136.4279358626552</c:v>
                </c:pt>
                <c:pt idx="1304">
                  <c:v>136.64736455521103</c:v>
                </c:pt>
                <c:pt idx="1305">
                  <c:v>136.64736455521103</c:v>
                </c:pt>
                <c:pt idx="1306">
                  <c:v>136.64736455521103</c:v>
                </c:pt>
                <c:pt idx="1307">
                  <c:v>137.17733732740282</c:v>
                </c:pt>
                <c:pt idx="1308">
                  <c:v>136.81924317538389</c:v>
                </c:pt>
                <c:pt idx="1309">
                  <c:v>136.63637566159335</c:v>
                </c:pt>
                <c:pt idx="1310">
                  <c:v>136.86233607035552</c:v>
                </c:pt>
                <c:pt idx="1311">
                  <c:v>136.92831051203757</c:v>
                </c:pt>
                <c:pt idx="1312">
                  <c:v>136.92831051203757</c:v>
                </c:pt>
                <c:pt idx="1313">
                  <c:v>136.92831051203757</c:v>
                </c:pt>
                <c:pt idx="1314">
                  <c:v>136.53831775854536</c:v>
                </c:pt>
                <c:pt idx="1315">
                  <c:v>135.91250540201716</c:v>
                </c:pt>
                <c:pt idx="1316">
                  <c:v>135.59321128746319</c:v>
                </c:pt>
                <c:pt idx="1317">
                  <c:v>135.43341018027567</c:v>
                </c:pt>
                <c:pt idx="1318">
                  <c:v>135.12777515778851</c:v>
                </c:pt>
                <c:pt idx="1319">
                  <c:v>135.12777515778851</c:v>
                </c:pt>
                <c:pt idx="1320">
                  <c:v>135.12777515778851</c:v>
                </c:pt>
                <c:pt idx="1321">
                  <c:v>135.35488580588265</c:v>
                </c:pt>
                <c:pt idx="1322">
                  <c:v>135.56710496262573</c:v>
                </c:pt>
                <c:pt idx="1323">
                  <c:v>136.29122170205872</c:v>
                </c:pt>
                <c:pt idx="1324">
                  <c:v>136.64136687869441</c:v>
                </c:pt>
                <c:pt idx="1325">
                  <c:v>136.50637807709592</c:v>
                </c:pt>
                <c:pt idx="1326">
                  <c:v>136.50637807709592</c:v>
                </c:pt>
                <c:pt idx="1327">
                  <c:v>136.50637807709592</c:v>
                </c:pt>
                <c:pt idx="1328">
                  <c:v>136.12647045774625</c:v>
                </c:pt>
                <c:pt idx="1329">
                  <c:v>136.31603400764774</c:v>
                </c:pt>
                <c:pt idx="1330">
                  <c:v>135.94760824162944</c:v>
                </c:pt>
                <c:pt idx="1331">
                  <c:v>135.65033299428691</c:v>
                </c:pt>
                <c:pt idx="1332">
                  <c:v>135.94479426326379</c:v>
                </c:pt>
                <c:pt idx="1333">
                  <c:v>135.94479426326379</c:v>
                </c:pt>
                <c:pt idx="1334">
                  <c:v>135.94479426326379</c:v>
                </c:pt>
                <c:pt idx="1335">
                  <c:v>136.37748965195433</c:v>
                </c:pt>
                <c:pt idx="1336">
                  <c:v>136.99426441373154</c:v>
                </c:pt>
                <c:pt idx="1337">
                  <c:v>137.49085970530899</c:v>
                </c:pt>
                <c:pt idx="1338">
                  <c:v>137.67027650110373</c:v>
                </c:pt>
                <c:pt idx="1339">
                  <c:v>137.32074752411015</c:v>
                </c:pt>
                <c:pt idx="1340">
                  <c:v>137.32074752411015</c:v>
                </c:pt>
                <c:pt idx="1341">
                  <c:v>137.32074752411015</c:v>
                </c:pt>
                <c:pt idx="1342">
                  <c:v>137.32074752411015</c:v>
                </c:pt>
                <c:pt idx="1343">
                  <c:v>137.80039732552956</c:v>
                </c:pt>
                <c:pt idx="1344">
                  <c:v>136.80071610614439</c:v>
                </c:pt>
                <c:pt idx="1345">
                  <c:v>136.83456600648438</c:v>
                </c:pt>
                <c:pt idx="1346">
                  <c:v>136.73862372220768</c:v>
                </c:pt>
                <c:pt idx="1347">
                  <c:v>136.73862372220768</c:v>
                </c:pt>
                <c:pt idx="1348">
                  <c:v>136.73862372220768</c:v>
                </c:pt>
                <c:pt idx="1349">
                  <c:v>136.74106798078805</c:v>
                </c:pt>
                <c:pt idx="1350">
                  <c:v>137.70194916270825</c:v>
                </c:pt>
                <c:pt idx="1351">
                  <c:v>138.13398727178054</c:v>
                </c:pt>
                <c:pt idx="1352">
                  <c:v>137.90371346552354</c:v>
                </c:pt>
                <c:pt idx="1353">
                  <c:v>137.80489558291697</c:v>
                </c:pt>
                <c:pt idx="1354">
                  <c:v>137.80489558291697</c:v>
                </c:pt>
                <c:pt idx="1355">
                  <c:v>137.80489558291697</c:v>
                </c:pt>
                <c:pt idx="1356">
                  <c:v>137.64145889784098</c:v>
                </c:pt>
                <c:pt idx="1357">
                  <c:v>137.74502151769181</c:v>
                </c:pt>
                <c:pt idx="1358">
                  <c:v>138.06148111389209</c:v>
                </c:pt>
                <c:pt idx="1359">
                  <c:v>137.78546475420239</c:v>
                </c:pt>
                <c:pt idx="1360">
                  <c:v>137.43322449878355</c:v>
                </c:pt>
                <c:pt idx="1361">
                  <c:v>137.43322449878355</c:v>
                </c:pt>
                <c:pt idx="1362">
                  <c:v>137.43322449878355</c:v>
                </c:pt>
                <c:pt idx="1363">
                  <c:v>137.2164454646888</c:v>
                </c:pt>
                <c:pt idx="1364">
                  <c:v>137.14030372891193</c:v>
                </c:pt>
                <c:pt idx="1365">
                  <c:v>136.83290226745069</c:v>
                </c:pt>
                <c:pt idx="1366">
                  <c:v>136.54971745192444</c:v>
                </c:pt>
                <c:pt idx="1367">
                  <c:v>136.17402053012921</c:v>
                </c:pt>
                <c:pt idx="1368">
                  <c:v>136.17402053012921</c:v>
                </c:pt>
                <c:pt idx="1369">
                  <c:v>136.17402053012921</c:v>
                </c:pt>
                <c:pt idx="1370">
                  <c:v>136.11700152324585</c:v>
                </c:pt>
                <c:pt idx="1371">
                  <c:v>135.56913842144473</c:v>
                </c:pt>
                <c:pt idx="1372">
                  <c:v>136.40100793829492</c:v>
                </c:pt>
                <c:pt idx="1373">
                  <c:v>137.49274938421149</c:v>
                </c:pt>
                <c:pt idx="1374">
                  <c:v>137.54052539646318</c:v>
                </c:pt>
                <c:pt idx="1375">
                  <c:v>137.54052539646318</c:v>
                </c:pt>
                <c:pt idx="1376">
                  <c:v>137.54052539646318</c:v>
                </c:pt>
                <c:pt idx="1377">
                  <c:v>138.02658367416052</c:v>
                </c:pt>
                <c:pt idx="1378">
                  <c:v>137.96847604790941</c:v>
                </c:pt>
                <c:pt idx="1379">
                  <c:v>137.95038031841943</c:v>
                </c:pt>
                <c:pt idx="1380">
                  <c:v>138.63797695906331</c:v>
                </c:pt>
                <c:pt idx="1381">
                  <c:v>138.83641378381122</c:v>
                </c:pt>
                <c:pt idx="1382">
                  <c:v>138.83641378381122</c:v>
                </c:pt>
                <c:pt idx="1383">
                  <c:v>138.83641378381122</c:v>
                </c:pt>
                <c:pt idx="1384">
                  <c:v>139.65569228797426</c:v>
                </c:pt>
                <c:pt idx="1385">
                  <c:v>139.12204285791782</c:v>
                </c:pt>
                <c:pt idx="1386">
                  <c:v>139.03277606976397</c:v>
                </c:pt>
                <c:pt idx="1387">
                  <c:v>139.05988885401689</c:v>
                </c:pt>
                <c:pt idx="1388">
                  <c:v>138.56756587995804</c:v>
                </c:pt>
                <c:pt idx="1389">
                  <c:v>138.56756587995804</c:v>
                </c:pt>
                <c:pt idx="1390">
                  <c:v>138.56756587995804</c:v>
                </c:pt>
                <c:pt idx="1391">
                  <c:v>138.27805474810611</c:v>
                </c:pt>
                <c:pt idx="1392">
                  <c:v>138.74856425483418</c:v>
                </c:pt>
                <c:pt idx="1393">
                  <c:v>138.81963261355767</c:v>
                </c:pt>
                <c:pt idx="1394">
                  <c:v>138.97879698111501</c:v>
                </c:pt>
                <c:pt idx="1395">
                  <c:v>139.19871863338452</c:v>
                </c:pt>
                <c:pt idx="1396">
                  <c:v>139.19871863338452</c:v>
                </c:pt>
                <c:pt idx="1397">
                  <c:v>139.19871863338452</c:v>
                </c:pt>
                <c:pt idx="1398">
                  <c:v>139.46744329730925</c:v>
                </c:pt>
                <c:pt idx="1399">
                  <c:v>138.99892616942398</c:v>
                </c:pt>
                <c:pt idx="1400">
                  <c:v>138.60735183685034</c:v>
                </c:pt>
                <c:pt idx="1401">
                  <c:v>138.75906018873815</c:v>
                </c:pt>
                <c:pt idx="1402">
                  <c:v>138.604620018437</c:v>
                </c:pt>
                <c:pt idx="1403">
                  <c:v>138.604620018437</c:v>
                </c:pt>
                <c:pt idx="1404">
                  <c:v>138.604620018437</c:v>
                </c:pt>
                <c:pt idx="1405">
                  <c:v>139.02427251470283</c:v>
                </c:pt>
                <c:pt idx="1406">
                  <c:v>139.0690907686724</c:v>
                </c:pt>
                <c:pt idx="1407">
                  <c:v>139.34767462687088</c:v>
                </c:pt>
                <c:pt idx="1408">
                  <c:v>139.55623766573746</c:v>
                </c:pt>
                <c:pt idx="1409">
                  <c:v>139.98094299906862</c:v>
                </c:pt>
                <c:pt idx="1410">
                  <c:v>139.98094299906862</c:v>
                </c:pt>
                <c:pt idx="1411">
                  <c:v>139.98094299906862</c:v>
                </c:pt>
                <c:pt idx="1412">
                  <c:v>139.98552341640831</c:v>
                </c:pt>
                <c:pt idx="1413">
                  <c:v>141.1572064958948</c:v>
                </c:pt>
                <c:pt idx="1414">
                  <c:v>141.50689979279295</c:v>
                </c:pt>
                <c:pt idx="1415">
                  <c:v>141.25555195877578</c:v>
                </c:pt>
                <c:pt idx="1416">
                  <c:v>140.80254252188365</c:v>
                </c:pt>
                <c:pt idx="1417">
                  <c:v>140.80254252188365</c:v>
                </c:pt>
                <c:pt idx="1418">
                  <c:v>140.80254252188365</c:v>
                </c:pt>
                <c:pt idx="1419">
                  <c:v>141.43515361446313</c:v>
                </c:pt>
                <c:pt idx="1420">
                  <c:v>141.901514043601</c:v>
                </c:pt>
                <c:pt idx="1421">
                  <c:v>142.08429939743928</c:v>
                </c:pt>
                <c:pt idx="1422">
                  <c:v>142.08429939743928</c:v>
                </c:pt>
                <c:pt idx="1423">
                  <c:v>142.53457701591805</c:v>
                </c:pt>
                <c:pt idx="1424">
                  <c:v>142.53457701591805</c:v>
                </c:pt>
                <c:pt idx="1425">
                  <c:v>142.53457701591805</c:v>
                </c:pt>
                <c:pt idx="1426">
                  <c:v>141.61943838743053</c:v>
                </c:pt>
                <c:pt idx="1427">
                  <c:v>141.59405096217554</c:v>
                </c:pt>
                <c:pt idx="1428">
                  <c:v>141.99875034712616</c:v>
                </c:pt>
                <c:pt idx="1429">
                  <c:v>142.84125957779682</c:v>
                </c:pt>
                <c:pt idx="1430">
                  <c:v>142.93346358424475</c:v>
                </c:pt>
                <c:pt idx="1431">
                  <c:v>142.93346358424475</c:v>
                </c:pt>
                <c:pt idx="1432">
                  <c:v>142.93346358424475</c:v>
                </c:pt>
                <c:pt idx="1433">
                  <c:v>143.07896885973528</c:v>
                </c:pt>
                <c:pt idx="1434">
                  <c:v>142.76041418475185</c:v>
                </c:pt>
                <c:pt idx="1435">
                  <c:v>142.99793860679767</c:v>
                </c:pt>
                <c:pt idx="1436">
                  <c:v>143.08683567516627</c:v>
                </c:pt>
                <c:pt idx="1437">
                  <c:v>142.79913206226453</c:v>
                </c:pt>
                <c:pt idx="1438">
                  <c:v>142.79913206226453</c:v>
                </c:pt>
                <c:pt idx="1439">
                  <c:v>142.79913206226453</c:v>
                </c:pt>
                <c:pt idx="1440">
                  <c:v>142.37005171147439</c:v>
                </c:pt>
                <c:pt idx="1441">
                  <c:v>141.87376451971798</c:v>
                </c:pt>
                <c:pt idx="1442">
                  <c:v>141.75072999117643</c:v>
                </c:pt>
                <c:pt idx="1443">
                  <c:v>141.53524497633012</c:v>
                </c:pt>
                <c:pt idx="1444">
                  <c:v>141.22016155933056</c:v>
                </c:pt>
                <c:pt idx="1445">
                  <c:v>141.22016155933056</c:v>
                </c:pt>
                <c:pt idx="1446">
                  <c:v>141.22016155933056</c:v>
                </c:pt>
                <c:pt idx="1447">
                  <c:v>140.40392297340193</c:v>
                </c:pt>
                <c:pt idx="1448">
                  <c:v>140.12985791257893</c:v>
                </c:pt>
                <c:pt idx="1449">
                  <c:v>140.70049986115009</c:v>
                </c:pt>
                <c:pt idx="1450">
                  <c:v>140.31065088757438</c:v>
                </c:pt>
                <c:pt idx="1451">
                  <c:v>140.51116225111741</c:v>
                </c:pt>
                <c:pt idx="1452">
                  <c:v>140.51116225111741</c:v>
                </c:pt>
                <c:pt idx="1453">
                  <c:v>140.51116225111741</c:v>
                </c:pt>
                <c:pt idx="1454">
                  <c:v>140.51116225111741</c:v>
                </c:pt>
                <c:pt idx="1455">
                  <c:v>140.66239818327955</c:v>
                </c:pt>
                <c:pt idx="1456">
                  <c:v>140.83776860142441</c:v>
                </c:pt>
                <c:pt idx="1457">
                  <c:v>140.71459029296634</c:v>
                </c:pt>
                <c:pt idx="1458">
                  <c:v>140.53525565712391</c:v>
                </c:pt>
                <c:pt idx="1459">
                  <c:v>140.53525565712391</c:v>
                </c:pt>
                <c:pt idx="1460">
                  <c:v>140.53525565712391</c:v>
                </c:pt>
                <c:pt idx="1461">
                  <c:v>140.53525565712391</c:v>
                </c:pt>
                <c:pt idx="1462">
                  <c:v>140.53525565712391</c:v>
                </c:pt>
                <c:pt idx="1463">
                  <c:v>140.6871488689043</c:v>
                </c:pt>
                <c:pt idx="1464">
                  <c:v>140.7473310339505</c:v>
                </c:pt>
                <c:pt idx="1465">
                  <c:v>140.41990308412068</c:v>
                </c:pt>
                <c:pt idx="1466">
                  <c:v>140.41990308412068</c:v>
                </c:pt>
                <c:pt idx="1467">
                  <c:v>140.41990308412068</c:v>
                </c:pt>
                <c:pt idx="1468">
                  <c:v>140.364547816271</c:v>
                </c:pt>
                <c:pt idx="1469">
                  <c:v>140.99874048793188</c:v>
                </c:pt>
                <c:pt idx="1470">
                  <c:v>140.93539516472285</c:v>
                </c:pt>
                <c:pt idx="1471">
                  <c:v>141.48342258642853</c:v>
                </c:pt>
                <c:pt idx="1472">
                  <c:v>142.00719228222312</c:v>
                </c:pt>
                <c:pt idx="1473">
                  <c:v>142.00719228222312</c:v>
                </c:pt>
                <c:pt idx="1474">
                  <c:v>142.00719228222312</c:v>
                </c:pt>
                <c:pt idx="1475">
                  <c:v>142.00719228222312</c:v>
                </c:pt>
                <c:pt idx="1476">
                  <c:v>141.84127025859061</c:v>
                </c:pt>
                <c:pt idx="1477">
                  <c:v>141.86789008312982</c:v>
                </c:pt>
                <c:pt idx="1478">
                  <c:v>141.24750028345221</c:v>
                </c:pt>
                <c:pt idx="1479">
                  <c:v>141.80620849895448</c:v>
                </c:pt>
                <c:pt idx="1480">
                  <c:v>141.80620849895448</c:v>
                </c:pt>
                <c:pt idx="1481">
                  <c:v>141.80620849895448</c:v>
                </c:pt>
                <c:pt idx="1482">
                  <c:v>141.90800467983127</c:v>
                </c:pt>
                <c:pt idx="1483">
                  <c:v>142.51789854560494</c:v>
                </c:pt>
                <c:pt idx="1484">
                  <c:v>142.58726208531857</c:v>
                </c:pt>
                <c:pt idx="1485">
                  <c:v>143.12160987496938</c:v>
                </c:pt>
                <c:pt idx="1486">
                  <c:v>144.04013760148848</c:v>
                </c:pt>
                <c:pt idx="1487">
                  <c:v>144.04013760148848</c:v>
                </c:pt>
                <c:pt idx="1488">
                  <c:v>144.04013760148848</c:v>
                </c:pt>
                <c:pt idx="1489">
                  <c:v>144.73925717543986</c:v>
                </c:pt>
                <c:pt idx="1490">
                  <c:v>144.88320141183704</c:v>
                </c:pt>
                <c:pt idx="1491">
                  <c:v>144.6393095934894</c:v>
                </c:pt>
                <c:pt idx="1492">
                  <c:v>145.03959288100486</c:v>
                </c:pt>
                <c:pt idx="1493">
                  <c:v>145.06701376507883</c:v>
                </c:pt>
                <c:pt idx="1494">
                  <c:v>145.06701376507883</c:v>
                </c:pt>
                <c:pt idx="1495">
                  <c:v>145.06701376507883</c:v>
                </c:pt>
                <c:pt idx="1496">
                  <c:v>145.76496255971017</c:v>
                </c:pt>
                <c:pt idx="1497">
                  <c:v>146.03572068245384</c:v>
                </c:pt>
                <c:pt idx="1498">
                  <c:v>146.40461886819779</c:v>
                </c:pt>
                <c:pt idx="1499">
                  <c:v>146.63918553196146</c:v>
                </c:pt>
                <c:pt idx="1500">
                  <c:v>146.40806958619362</c:v>
                </c:pt>
                <c:pt idx="1501">
                  <c:v>146.40806958619362</c:v>
                </c:pt>
                <c:pt idx="1502">
                  <c:v>146.40806958619362</c:v>
                </c:pt>
                <c:pt idx="1503">
                  <c:v>146.20283402539445</c:v>
                </c:pt>
                <c:pt idx="1504">
                  <c:v>146.37089220778626</c:v>
                </c:pt>
                <c:pt idx="1505">
                  <c:v>145.87550877550495</c:v>
                </c:pt>
                <c:pt idx="1506">
                  <c:v>146.29575693142485</c:v>
                </c:pt>
                <c:pt idx="1507">
                  <c:v>146.51980712129648</c:v>
                </c:pt>
                <c:pt idx="1508">
                  <c:v>146.51980712129648</c:v>
                </c:pt>
                <c:pt idx="1509">
                  <c:v>146.51980712129648</c:v>
                </c:pt>
                <c:pt idx="1510">
                  <c:v>146.51980712129648</c:v>
                </c:pt>
                <c:pt idx="1511">
                  <c:v>147.08825129114413</c:v>
                </c:pt>
                <c:pt idx="1512">
                  <c:v>147.5863665418388</c:v>
                </c:pt>
                <c:pt idx="1513">
                  <c:v>147.84640279080978</c:v>
                </c:pt>
                <c:pt idx="1514">
                  <c:v>147.69798083701323</c:v>
                </c:pt>
                <c:pt idx="1515">
                  <c:v>147.69798083701323</c:v>
                </c:pt>
                <c:pt idx="1516">
                  <c:v>147.69798083701323</c:v>
                </c:pt>
                <c:pt idx="1517">
                  <c:v>147.48307094183289</c:v>
                </c:pt>
                <c:pt idx="1518">
                  <c:v>147.89218642421864</c:v>
                </c:pt>
                <c:pt idx="1519">
                  <c:v>147.77241775378025</c:v>
                </c:pt>
                <c:pt idx="1520">
                  <c:v>147.81378528975398</c:v>
                </c:pt>
                <c:pt idx="1521">
                  <c:v>147.15369169313632</c:v>
                </c:pt>
                <c:pt idx="1522">
                  <c:v>147.15369169313632</c:v>
                </c:pt>
                <c:pt idx="1523">
                  <c:v>147.15369169313632</c:v>
                </c:pt>
                <c:pt idx="1524">
                  <c:v>145.90523013824281</c:v>
                </c:pt>
                <c:pt idx="1525">
                  <c:v>146.25364995588058</c:v>
                </c:pt>
                <c:pt idx="1526">
                  <c:v>146.84187413423999</c:v>
                </c:pt>
                <c:pt idx="1527">
                  <c:v>146.93837099819464</c:v>
                </c:pt>
                <c:pt idx="1528">
                  <c:v>147.38392441941721</c:v>
                </c:pt>
                <c:pt idx="1529">
                  <c:v>147.38392441941721</c:v>
                </c:pt>
                <c:pt idx="1530">
                  <c:v>147.38392441941721</c:v>
                </c:pt>
                <c:pt idx="1531">
                  <c:v>147.45868997599337</c:v>
                </c:pt>
                <c:pt idx="1532">
                  <c:v>147.54052128846575</c:v>
                </c:pt>
                <c:pt idx="1533">
                  <c:v>147.59119343903535</c:v>
                </c:pt>
                <c:pt idx="1534">
                  <c:v>147.98239805182374</c:v>
                </c:pt>
                <c:pt idx="1535">
                  <c:v>147.56968807152566</c:v>
                </c:pt>
                <c:pt idx="1536">
                  <c:v>147.56968807152566</c:v>
                </c:pt>
                <c:pt idx="1537">
                  <c:v>147.56968807152566</c:v>
                </c:pt>
                <c:pt idx="1538">
                  <c:v>147.62557737906516</c:v>
                </c:pt>
                <c:pt idx="1539">
                  <c:v>147.77297233345817</c:v>
                </c:pt>
                <c:pt idx="1540">
                  <c:v>147.4513982802284</c:v>
                </c:pt>
                <c:pt idx="1541">
                  <c:v>148.14692335626742</c:v>
                </c:pt>
                <c:pt idx="1542">
                  <c:v>148.37467074399174</c:v>
                </c:pt>
                <c:pt idx="1543">
                  <c:v>148.37467074399174</c:v>
                </c:pt>
                <c:pt idx="1544">
                  <c:v>148.37467074399174</c:v>
                </c:pt>
                <c:pt idx="1545">
                  <c:v>148.18229321572463</c:v>
                </c:pt>
                <c:pt idx="1546">
                  <c:v>148.20825576064559</c:v>
                </c:pt>
                <c:pt idx="1547">
                  <c:v>148.86194088098529</c:v>
                </c:pt>
                <c:pt idx="1548">
                  <c:v>148.44035762584085</c:v>
                </c:pt>
                <c:pt idx="1549">
                  <c:v>148.64904390463585</c:v>
                </c:pt>
                <c:pt idx="1550">
                  <c:v>148.64904390463585</c:v>
                </c:pt>
                <c:pt idx="1551">
                  <c:v>148.64904390463585</c:v>
                </c:pt>
                <c:pt idx="1552">
                  <c:v>148.84579645036197</c:v>
                </c:pt>
                <c:pt idx="1553">
                  <c:v>148.54482400516679</c:v>
                </c:pt>
                <c:pt idx="1554">
                  <c:v>148.72442566085411</c:v>
                </c:pt>
                <c:pt idx="1555">
                  <c:v>148.84865150870374</c:v>
                </c:pt>
                <c:pt idx="1556">
                  <c:v>148.84865150870374</c:v>
                </c:pt>
                <c:pt idx="1557">
                  <c:v>148.84865150870374</c:v>
                </c:pt>
                <c:pt idx="1558">
                  <c:v>148.84865150870374</c:v>
                </c:pt>
                <c:pt idx="1559">
                  <c:v>148.7213857426197</c:v>
                </c:pt>
                <c:pt idx="1560">
                  <c:v>148.7432197499385</c:v>
                </c:pt>
                <c:pt idx="1561">
                  <c:v>149.04176847654142</c:v>
                </c:pt>
                <c:pt idx="1562">
                  <c:v>148.99723778240485</c:v>
                </c:pt>
                <c:pt idx="1563">
                  <c:v>148.99117848592408</c:v>
                </c:pt>
                <c:pt idx="1564">
                  <c:v>148.99117848592408</c:v>
                </c:pt>
                <c:pt idx="1565">
                  <c:v>148.99117848592408</c:v>
                </c:pt>
                <c:pt idx="1566">
                  <c:v>148.70821961026658</c:v>
                </c:pt>
                <c:pt idx="1567">
                  <c:v>148.35793065371442</c:v>
                </c:pt>
                <c:pt idx="1568">
                  <c:v>148.19155675034438</c:v>
                </c:pt>
                <c:pt idx="1569">
                  <c:v>147.96204292364601</c:v>
                </c:pt>
                <c:pt idx="1570">
                  <c:v>147.74984430689096</c:v>
                </c:pt>
                <c:pt idx="1571">
                  <c:v>147.74984430689096</c:v>
                </c:pt>
                <c:pt idx="1572">
                  <c:v>147.74984430689096</c:v>
                </c:pt>
                <c:pt idx="1573">
                  <c:v>148.4454310028942</c:v>
                </c:pt>
                <c:pt idx="1574">
                  <c:v>148.40732932502365</c:v>
                </c:pt>
                <c:pt idx="1575">
                  <c:v>148.13197024495219</c:v>
                </c:pt>
                <c:pt idx="1576">
                  <c:v>148.46586829102418</c:v>
                </c:pt>
                <c:pt idx="1577">
                  <c:v>148.78760666415852</c:v>
                </c:pt>
                <c:pt idx="1578">
                  <c:v>148.78760666415852</c:v>
                </c:pt>
                <c:pt idx="1579">
                  <c:v>148.78760666415852</c:v>
                </c:pt>
                <c:pt idx="1580">
                  <c:v>148.01937003035036</c:v>
                </c:pt>
                <c:pt idx="1581">
                  <c:v>148.58814284000712</c:v>
                </c:pt>
                <c:pt idx="1582">
                  <c:v>148.9670850799175</c:v>
                </c:pt>
                <c:pt idx="1583">
                  <c:v>148.57690746653267</c:v>
                </c:pt>
                <c:pt idx="1584">
                  <c:v>148.74373324964026</c:v>
                </c:pt>
                <c:pt idx="1585">
                  <c:v>148.74373324964026</c:v>
                </c:pt>
                <c:pt idx="1586">
                  <c:v>148.74373324964026</c:v>
                </c:pt>
                <c:pt idx="1587">
                  <c:v>148.30263700582893</c:v>
                </c:pt>
                <c:pt idx="1588">
                  <c:v>148.34556558089602</c:v>
                </c:pt>
                <c:pt idx="1589">
                  <c:v>148.79873933769269</c:v>
                </c:pt>
                <c:pt idx="1590">
                  <c:v>148.89207304348446</c:v>
                </c:pt>
                <c:pt idx="1591">
                  <c:v>148.88356948842332</c:v>
                </c:pt>
                <c:pt idx="1592">
                  <c:v>148.88356948842332</c:v>
                </c:pt>
                <c:pt idx="1593">
                  <c:v>148.88356948842332</c:v>
                </c:pt>
                <c:pt idx="1594">
                  <c:v>148.40983520356821</c:v>
                </c:pt>
                <c:pt idx="1595">
                  <c:v>147.65147830402188</c:v>
                </c:pt>
                <c:pt idx="1596">
                  <c:v>147.11840399363143</c:v>
                </c:pt>
                <c:pt idx="1597">
                  <c:v>146.99828614339589</c:v>
                </c:pt>
                <c:pt idx="1598">
                  <c:v>147.76711843685808</c:v>
                </c:pt>
                <c:pt idx="1599">
                  <c:v>147.76711843685808</c:v>
                </c:pt>
                <c:pt idx="1600">
                  <c:v>147.76711843685808</c:v>
                </c:pt>
                <c:pt idx="1601">
                  <c:v>148.74628020816093</c:v>
                </c:pt>
                <c:pt idx="1602">
                  <c:v>149.42677001293245</c:v>
                </c:pt>
                <c:pt idx="1603">
                  <c:v>149.04719103339193</c:v>
                </c:pt>
                <c:pt idx="1604">
                  <c:v>148.55610045861732</c:v>
                </c:pt>
                <c:pt idx="1605">
                  <c:v>148.66898823305209</c:v>
                </c:pt>
                <c:pt idx="1606">
                  <c:v>148.66898823305209</c:v>
                </c:pt>
                <c:pt idx="1607">
                  <c:v>148.66898823305209</c:v>
                </c:pt>
                <c:pt idx="1608">
                  <c:v>148.66898823305209</c:v>
                </c:pt>
                <c:pt idx="1609">
                  <c:v>149.3341757467112</c:v>
                </c:pt>
                <c:pt idx="1610">
                  <c:v>149.58176476291149</c:v>
                </c:pt>
                <c:pt idx="1611">
                  <c:v>150.51660123995848</c:v>
                </c:pt>
                <c:pt idx="1612">
                  <c:v>150.83069873753064</c:v>
                </c:pt>
                <c:pt idx="1613">
                  <c:v>150.83069873753064</c:v>
                </c:pt>
                <c:pt idx="1614">
                  <c:v>150.83069873753064</c:v>
                </c:pt>
                <c:pt idx="1615">
                  <c:v>151.20290386135392</c:v>
                </c:pt>
                <c:pt idx="1616">
                  <c:v>150.99795586038772</c:v>
                </c:pt>
                <c:pt idx="1617">
                  <c:v>150.60576532817197</c:v>
                </c:pt>
                <c:pt idx="1618">
                  <c:v>150.53426562969901</c:v>
                </c:pt>
                <c:pt idx="1619">
                  <c:v>150.28427343489446</c:v>
                </c:pt>
                <c:pt idx="1620">
                  <c:v>150.28427343489446</c:v>
                </c:pt>
                <c:pt idx="1621">
                  <c:v>150.28427343489446</c:v>
                </c:pt>
                <c:pt idx="1622">
                  <c:v>149.95470932630531</c:v>
                </c:pt>
                <c:pt idx="1623">
                  <c:v>150.03664333871802</c:v>
                </c:pt>
                <c:pt idx="1624">
                  <c:v>149.43769728658592</c:v>
                </c:pt>
                <c:pt idx="1625">
                  <c:v>149.66435605494249</c:v>
                </c:pt>
                <c:pt idx="1626">
                  <c:v>149.6382908100812</c:v>
                </c:pt>
                <c:pt idx="1627">
                  <c:v>149.6382908100812</c:v>
                </c:pt>
                <c:pt idx="1628">
                  <c:v>149.6382908100812</c:v>
                </c:pt>
                <c:pt idx="1629">
                  <c:v>149.42050531657102</c:v>
                </c:pt>
                <c:pt idx="1630">
                  <c:v>149.7482002862458</c:v>
                </c:pt>
                <c:pt idx="1631">
                  <c:v>150.29628932791567</c:v>
                </c:pt>
                <c:pt idx="1632">
                  <c:v>150.14971597304549</c:v>
                </c:pt>
                <c:pt idx="1633">
                  <c:v>150.32950248862548</c:v>
                </c:pt>
                <c:pt idx="1634">
                  <c:v>150.32950248862548</c:v>
                </c:pt>
                <c:pt idx="1635">
                  <c:v>150.32950248862548</c:v>
                </c:pt>
                <c:pt idx="1636">
                  <c:v>150.05765574651409</c:v>
                </c:pt>
                <c:pt idx="1637">
                  <c:v>150.22612472866732</c:v>
                </c:pt>
                <c:pt idx="1638">
                  <c:v>150.6575260981094</c:v>
                </c:pt>
                <c:pt idx="1639">
                  <c:v>150.94377137185816</c:v>
                </c:pt>
                <c:pt idx="1640">
                  <c:v>150.6793806454163</c:v>
                </c:pt>
                <c:pt idx="1641">
                  <c:v>150.6793806454163</c:v>
                </c:pt>
                <c:pt idx="1642">
                  <c:v>150.6793806454163</c:v>
                </c:pt>
                <c:pt idx="1643">
                  <c:v>150.65516399948132</c:v>
                </c:pt>
                <c:pt idx="1644">
                  <c:v>150.84361839002702</c:v>
                </c:pt>
                <c:pt idx="1645">
                  <c:v>150.84361839002702</c:v>
                </c:pt>
                <c:pt idx="1646">
                  <c:v>151.23624026199224</c:v>
                </c:pt>
                <c:pt idx="1647">
                  <c:v>151.03201116060848</c:v>
                </c:pt>
                <c:pt idx="1648">
                  <c:v>151.03201116060848</c:v>
                </c:pt>
                <c:pt idx="1649">
                  <c:v>151.03201116060848</c:v>
                </c:pt>
                <c:pt idx="1650">
                  <c:v>150.9832492289294</c:v>
                </c:pt>
                <c:pt idx="1651">
                  <c:v>150.6155834424697</c:v>
                </c:pt>
                <c:pt idx="1652">
                  <c:v>150.45635745494815</c:v>
                </c:pt>
                <c:pt idx="1653">
                  <c:v>149.94047511457262</c:v>
                </c:pt>
                <c:pt idx="1654">
                  <c:v>150.17267967970821</c:v>
                </c:pt>
                <c:pt idx="1655">
                  <c:v>150.17267967970821</c:v>
                </c:pt>
                <c:pt idx="1656">
                  <c:v>150.17267967970821</c:v>
                </c:pt>
                <c:pt idx="1657">
                  <c:v>149.76613169583126</c:v>
                </c:pt>
                <c:pt idx="1658">
                  <c:v>149.83128453799051</c:v>
                </c:pt>
                <c:pt idx="1659">
                  <c:v>149.53881564785644</c:v>
                </c:pt>
                <c:pt idx="1660">
                  <c:v>149.73517793380924</c:v>
                </c:pt>
                <c:pt idx="1661">
                  <c:v>149.6990891747696</c:v>
                </c:pt>
                <c:pt idx="1662">
                  <c:v>149.6990891747696</c:v>
                </c:pt>
                <c:pt idx="1663">
                  <c:v>149.6990891747696</c:v>
                </c:pt>
                <c:pt idx="1664">
                  <c:v>148.45303079848028</c:v>
                </c:pt>
                <c:pt idx="1665">
                  <c:v>148.39432751257516</c:v>
                </c:pt>
                <c:pt idx="1666">
                  <c:v>147.7286264992143</c:v>
                </c:pt>
                <c:pt idx="1667">
                  <c:v>148.16637472497013</c:v>
                </c:pt>
                <c:pt idx="1668">
                  <c:v>148.04557905512826</c:v>
                </c:pt>
                <c:pt idx="1669">
                  <c:v>148.04557905512826</c:v>
                </c:pt>
                <c:pt idx="1670">
                  <c:v>148.04557905512826</c:v>
                </c:pt>
                <c:pt idx="1671">
                  <c:v>147.21005342040152</c:v>
                </c:pt>
                <c:pt idx="1672">
                  <c:v>147.28036179956644</c:v>
                </c:pt>
                <c:pt idx="1673">
                  <c:v>146.39412293429396</c:v>
                </c:pt>
                <c:pt idx="1674">
                  <c:v>146.86216764245358</c:v>
                </c:pt>
                <c:pt idx="1675">
                  <c:v>146.24068922340828</c:v>
                </c:pt>
                <c:pt idx="1676">
                  <c:v>146.24068922340828</c:v>
                </c:pt>
                <c:pt idx="1677">
                  <c:v>146.24068922340828</c:v>
                </c:pt>
                <c:pt idx="1678">
                  <c:v>144.25486263677638</c:v>
                </c:pt>
                <c:pt idx="1679">
                  <c:v>143.78061485221949</c:v>
                </c:pt>
                <c:pt idx="1680">
                  <c:v>144.23481560841967</c:v>
                </c:pt>
                <c:pt idx="1681">
                  <c:v>144.70288085656739</c:v>
                </c:pt>
                <c:pt idx="1682">
                  <c:v>145.57281097131198</c:v>
                </c:pt>
                <c:pt idx="1683">
                  <c:v>145.57281097131198</c:v>
                </c:pt>
                <c:pt idx="1684">
                  <c:v>145.57281097131198</c:v>
                </c:pt>
                <c:pt idx="1685">
                  <c:v>145.94294155634014</c:v>
                </c:pt>
                <c:pt idx="1686">
                  <c:v>145.53994699039939</c:v>
                </c:pt>
                <c:pt idx="1687">
                  <c:v>145.00108040337309</c:v>
                </c:pt>
                <c:pt idx="1688">
                  <c:v>145.11304387834471</c:v>
                </c:pt>
                <c:pt idx="1689">
                  <c:v>144.87521135647782</c:v>
                </c:pt>
                <c:pt idx="1690">
                  <c:v>144.87521135647782</c:v>
                </c:pt>
                <c:pt idx="1691">
                  <c:v>144.87521135647782</c:v>
                </c:pt>
                <c:pt idx="1692">
                  <c:v>145.88481339010096</c:v>
                </c:pt>
                <c:pt idx="1693">
                  <c:v>146.15306563430005</c:v>
                </c:pt>
                <c:pt idx="1694">
                  <c:v>146.4250150763518</c:v>
                </c:pt>
                <c:pt idx="1695">
                  <c:v>146.0961082473809</c:v>
                </c:pt>
                <c:pt idx="1696">
                  <c:v>146.21357643915536</c:v>
                </c:pt>
                <c:pt idx="1697">
                  <c:v>146.21357643915536</c:v>
                </c:pt>
                <c:pt idx="1698">
                  <c:v>146.21357643915536</c:v>
                </c:pt>
                <c:pt idx="1699">
                  <c:v>145.90383341905414</c:v>
                </c:pt>
                <c:pt idx="1700">
                  <c:v>145.74366259208134</c:v>
                </c:pt>
                <c:pt idx="1701">
                  <c:v>145.42588843664456</c:v>
                </c:pt>
                <c:pt idx="1702">
                  <c:v>145.53025211603014</c:v>
                </c:pt>
                <c:pt idx="1703">
                  <c:v>146.00988137746148</c:v>
                </c:pt>
                <c:pt idx="1704">
                  <c:v>146.00988137746148</c:v>
                </c:pt>
                <c:pt idx="1705">
                  <c:v>146.00988137746148</c:v>
                </c:pt>
                <c:pt idx="1706">
                  <c:v>146.00988137746148</c:v>
                </c:pt>
                <c:pt idx="1707">
                  <c:v>145.94378369585101</c:v>
                </c:pt>
                <c:pt idx="1708">
                  <c:v>146.04479935718112</c:v>
                </c:pt>
                <c:pt idx="1709">
                  <c:v>145.37706488500129</c:v>
                </c:pt>
                <c:pt idx="1710">
                  <c:v>145.38022804316412</c:v>
                </c:pt>
                <c:pt idx="1711">
                  <c:v>145.38022804316412</c:v>
                </c:pt>
                <c:pt idx="1712">
                  <c:v>145.38022804316412</c:v>
                </c:pt>
                <c:pt idx="1713">
                  <c:v>144.34158246640948</c:v>
                </c:pt>
                <c:pt idx="1714">
                  <c:v>144.26344835178975</c:v>
                </c:pt>
                <c:pt idx="1715">
                  <c:v>144.11073354048651</c:v>
                </c:pt>
                <c:pt idx="1716">
                  <c:v>143.46643519469498</c:v>
                </c:pt>
                <c:pt idx="1717">
                  <c:v>143.91344695507055</c:v>
                </c:pt>
                <c:pt idx="1718">
                  <c:v>143.91344695507055</c:v>
                </c:pt>
                <c:pt idx="1719">
                  <c:v>143.91344695507055</c:v>
                </c:pt>
                <c:pt idx="1720">
                  <c:v>143.49792299640688</c:v>
                </c:pt>
                <c:pt idx="1721">
                  <c:v>143.43289339417609</c:v>
                </c:pt>
                <c:pt idx="1722">
                  <c:v>143.85480528912964</c:v>
                </c:pt>
                <c:pt idx="1723">
                  <c:v>143.47167289165293</c:v>
                </c:pt>
                <c:pt idx="1724">
                  <c:v>143.16377847047804</c:v>
                </c:pt>
                <c:pt idx="1725">
                  <c:v>143.16377847047804</c:v>
                </c:pt>
                <c:pt idx="1726">
                  <c:v>143.16377847047804</c:v>
                </c:pt>
                <c:pt idx="1727">
                  <c:v>143.05146581570921</c:v>
                </c:pt>
                <c:pt idx="1728">
                  <c:v>142.8522073914385</c:v>
                </c:pt>
                <c:pt idx="1729">
                  <c:v>142.91733969360968</c:v>
                </c:pt>
                <c:pt idx="1730">
                  <c:v>143.49326041911493</c:v>
                </c:pt>
                <c:pt idx="1731">
                  <c:v>143.41278474585519</c:v>
                </c:pt>
                <c:pt idx="1732">
                  <c:v>143.41278474585519</c:v>
                </c:pt>
                <c:pt idx="1733">
                  <c:v>143.41278474585519</c:v>
                </c:pt>
                <c:pt idx="1734">
                  <c:v>143.75732250574765</c:v>
                </c:pt>
                <c:pt idx="1735">
                  <c:v>145.0703412431464</c:v>
                </c:pt>
                <c:pt idx="1736">
                  <c:v>145.6622420793704</c:v>
                </c:pt>
                <c:pt idx="1737">
                  <c:v>145.0844111349746</c:v>
                </c:pt>
                <c:pt idx="1738">
                  <c:v>145.95916814691574</c:v>
                </c:pt>
                <c:pt idx="1739">
                  <c:v>145.95916814691574</c:v>
                </c:pt>
                <c:pt idx="1740">
                  <c:v>145.95916814691574</c:v>
                </c:pt>
                <c:pt idx="1741">
                  <c:v>145.35794215610778</c:v>
                </c:pt>
                <c:pt idx="1742">
                  <c:v>145.35621679710988</c:v>
                </c:pt>
                <c:pt idx="1743">
                  <c:v>145.57973294729172</c:v>
                </c:pt>
                <c:pt idx="1744">
                  <c:v>145.10351332388007</c:v>
                </c:pt>
                <c:pt idx="1745">
                  <c:v>144.49298271847624</c:v>
                </c:pt>
                <c:pt idx="1746">
                  <c:v>144.49298271847624</c:v>
                </c:pt>
                <c:pt idx="1747">
                  <c:v>144.49298271847624</c:v>
                </c:pt>
                <c:pt idx="1748">
                  <c:v>144.76374084121994</c:v>
                </c:pt>
                <c:pt idx="1749">
                  <c:v>144.41725178246077</c:v>
                </c:pt>
                <c:pt idx="1750">
                  <c:v>144.08014949824977</c:v>
                </c:pt>
                <c:pt idx="1751">
                  <c:v>143.91490529422362</c:v>
                </c:pt>
                <c:pt idx="1752">
                  <c:v>144.16218621060287</c:v>
                </c:pt>
                <c:pt idx="1753">
                  <c:v>144.16218621060287</c:v>
                </c:pt>
                <c:pt idx="1754">
                  <c:v>144.16218621060287</c:v>
                </c:pt>
                <c:pt idx="1755">
                  <c:v>144.61398378819885</c:v>
                </c:pt>
                <c:pt idx="1756">
                  <c:v>144.28661745833321</c:v>
                </c:pt>
                <c:pt idx="1757">
                  <c:v>143.92006083122931</c:v>
                </c:pt>
                <c:pt idx="1758">
                  <c:v>143.35221232103569</c:v>
                </c:pt>
                <c:pt idx="1759">
                  <c:v>143.88183591343034</c:v>
                </c:pt>
                <c:pt idx="1760">
                  <c:v>143.88183591343034</c:v>
                </c:pt>
                <c:pt idx="1761">
                  <c:v>143.88183591343034</c:v>
                </c:pt>
                <c:pt idx="1762">
                  <c:v>143.79012486669612</c:v>
                </c:pt>
                <c:pt idx="1763">
                  <c:v>144.62314462287824</c:v>
                </c:pt>
                <c:pt idx="1764">
                  <c:v>145.3416744855561</c:v>
                </c:pt>
                <c:pt idx="1765">
                  <c:v>145.3247495353861</c:v>
                </c:pt>
                <c:pt idx="1766">
                  <c:v>144.98532623252316</c:v>
                </c:pt>
                <c:pt idx="1767">
                  <c:v>144.98532623252316</c:v>
                </c:pt>
                <c:pt idx="1768">
                  <c:v>144.98532623252316</c:v>
                </c:pt>
                <c:pt idx="1769">
                  <c:v>144.45539454030748</c:v>
                </c:pt>
                <c:pt idx="1770">
                  <c:v>143.87380477809481</c:v>
                </c:pt>
                <c:pt idx="1771">
                  <c:v>144.69698587999122</c:v>
                </c:pt>
                <c:pt idx="1772">
                  <c:v>145.29157745465244</c:v>
                </c:pt>
                <c:pt idx="1773">
                  <c:v>145.75007106835935</c:v>
                </c:pt>
                <c:pt idx="1774">
                  <c:v>145.75007106835935</c:v>
                </c:pt>
                <c:pt idx="1775">
                  <c:v>145.75007106835935</c:v>
                </c:pt>
                <c:pt idx="1776">
                  <c:v>146.36337457215268</c:v>
                </c:pt>
                <c:pt idx="1777">
                  <c:v>145.72505336288964</c:v>
                </c:pt>
                <c:pt idx="1778">
                  <c:v>145.11789131552936</c:v>
                </c:pt>
                <c:pt idx="1779">
                  <c:v>145.33902482709502</c:v>
                </c:pt>
                <c:pt idx="1780">
                  <c:v>144.02276077158118</c:v>
                </c:pt>
                <c:pt idx="1781">
                  <c:v>144.02276077158118</c:v>
                </c:pt>
                <c:pt idx="1782">
                  <c:v>144.02276077158118</c:v>
                </c:pt>
                <c:pt idx="1783">
                  <c:v>143.54941674649936</c:v>
                </c:pt>
                <c:pt idx="1784">
                  <c:v>142.28657719995655</c:v>
                </c:pt>
                <c:pt idx="1785">
                  <c:v>143.13286578843213</c:v>
                </c:pt>
                <c:pt idx="1786">
                  <c:v>143.13286578843213</c:v>
                </c:pt>
                <c:pt idx="1787">
                  <c:v>142.88184659422407</c:v>
                </c:pt>
                <c:pt idx="1788">
                  <c:v>142.88184659422407</c:v>
                </c:pt>
                <c:pt idx="1789">
                  <c:v>142.88184659422407</c:v>
                </c:pt>
                <c:pt idx="1790">
                  <c:v>143.71133347245808</c:v>
                </c:pt>
                <c:pt idx="1791">
                  <c:v>142.83253008286707</c:v>
                </c:pt>
                <c:pt idx="1792">
                  <c:v>142.57286355368137</c:v>
                </c:pt>
                <c:pt idx="1793">
                  <c:v>142.50366433387231</c:v>
                </c:pt>
                <c:pt idx="1794">
                  <c:v>142.46326217733787</c:v>
                </c:pt>
                <c:pt idx="1795">
                  <c:v>142.46326217733787</c:v>
                </c:pt>
                <c:pt idx="1796">
                  <c:v>142.46326217733787</c:v>
                </c:pt>
                <c:pt idx="1797">
                  <c:v>142.16325511158198</c:v>
                </c:pt>
                <c:pt idx="1798">
                  <c:v>142.31009548629709</c:v>
                </c:pt>
                <c:pt idx="1799">
                  <c:v>142.26478427261384</c:v>
                </c:pt>
                <c:pt idx="1800">
                  <c:v>143.08843779423589</c:v>
                </c:pt>
                <c:pt idx="1801">
                  <c:v>143.1748084440718</c:v>
                </c:pt>
                <c:pt idx="1802">
                  <c:v>143.1748084440718</c:v>
                </c:pt>
                <c:pt idx="1803">
                  <c:v>143.1748084440718</c:v>
                </c:pt>
                <c:pt idx="1804">
                  <c:v>142.96733402457295</c:v>
                </c:pt>
                <c:pt idx="1805">
                  <c:v>142.70390867757038</c:v>
                </c:pt>
                <c:pt idx="1806">
                  <c:v>142.34503400600479</c:v>
                </c:pt>
                <c:pt idx="1807">
                  <c:v>141.60089077820319</c:v>
                </c:pt>
                <c:pt idx="1808">
                  <c:v>141.49295314089338</c:v>
                </c:pt>
                <c:pt idx="1809">
                  <c:v>141.49295314089338</c:v>
                </c:pt>
                <c:pt idx="1810">
                  <c:v>141.49295314089338</c:v>
                </c:pt>
                <c:pt idx="1811">
                  <c:v>141.92924302749623</c:v>
                </c:pt>
                <c:pt idx="1812">
                  <c:v>141.99827792740075</c:v>
                </c:pt>
                <c:pt idx="1813">
                  <c:v>142.34187084784196</c:v>
                </c:pt>
                <c:pt idx="1814">
                  <c:v>142.96610162528876</c:v>
                </c:pt>
                <c:pt idx="1815">
                  <c:v>142.76022932485938</c:v>
                </c:pt>
                <c:pt idx="1816">
                  <c:v>142.76022932485938</c:v>
                </c:pt>
                <c:pt idx="1817">
                  <c:v>142.76022932485938</c:v>
                </c:pt>
                <c:pt idx="1818">
                  <c:v>143.33358255185584</c:v>
                </c:pt>
                <c:pt idx="1819">
                  <c:v>143.33358255185584</c:v>
                </c:pt>
                <c:pt idx="1820">
                  <c:v>142.75948988528887</c:v>
                </c:pt>
                <c:pt idx="1821">
                  <c:v>142.27373970741257</c:v>
                </c:pt>
                <c:pt idx="1822">
                  <c:v>141.95413749303754</c:v>
                </c:pt>
                <c:pt idx="1823">
                  <c:v>141.95413749303754</c:v>
                </c:pt>
                <c:pt idx="1824">
                  <c:v>141.95413749303754</c:v>
                </c:pt>
                <c:pt idx="1825">
                  <c:v>142.30781554762132</c:v>
                </c:pt>
                <c:pt idx="1826">
                  <c:v>142.30781554762132</c:v>
                </c:pt>
                <c:pt idx="1827">
                  <c:v>142.71095389347857</c:v>
                </c:pt>
                <c:pt idx="1828">
                  <c:v>141.06282525071168</c:v>
                </c:pt>
                <c:pt idx="1829">
                  <c:v>140.52642346225386</c:v>
                </c:pt>
                <c:pt idx="1830">
                  <c:v>140.52642346225386</c:v>
                </c:pt>
                <c:pt idx="1831">
                  <c:v>140.52642346225386</c:v>
                </c:pt>
                <c:pt idx="1832">
                  <c:v>140.6545724478249</c:v>
                </c:pt>
                <c:pt idx="1833">
                  <c:v>139.75420207076004</c:v>
                </c:pt>
                <c:pt idx="1834">
                  <c:v>138.58009527268123</c:v>
                </c:pt>
                <c:pt idx="1835">
                  <c:v>138.65253981060548</c:v>
                </c:pt>
                <c:pt idx="1836">
                  <c:v>138.52927934219517</c:v>
                </c:pt>
                <c:pt idx="1837">
                  <c:v>138.52927934219517</c:v>
                </c:pt>
                <c:pt idx="1838">
                  <c:v>138.52927934219517</c:v>
                </c:pt>
                <c:pt idx="1839">
                  <c:v>138.2796363271878</c:v>
                </c:pt>
                <c:pt idx="1840">
                  <c:v>138.72742860711006</c:v>
                </c:pt>
                <c:pt idx="1841">
                  <c:v>139.84295535921214</c:v>
                </c:pt>
                <c:pt idx="1842">
                  <c:v>140.43411675586557</c:v>
                </c:pt>
                <c:pt idx="1843">
                  <c:v>140.44802232778923</c:v>
                </c:pt>
                <c:pt idx="1844">
                  <c:v>140.44802232778923</c:v>
                </c:pt>
                <c:pt idx="1845">
                  <c:v>140.44802232778923</c:v>
                </c:pt>
                <c:pt idx="1846">
                  <c:v>140.44802232778923</c:v>
                </c:pt>
                <c:pt idx="1847">
                  <c:v>141.81849141182079</c:v>
                </c:pt>
                <c:pt idx="1848">
                  <c:v>143.2592894150053</c:v>
                </c:pt>
                <c:pt idx="1849">
                  <c:v>142.71419921159369</c:v>
                </c:pt>
                <c:pt idx="1850">
                  <c:v>143.42303419990233</c:v>
                </c:pt>
                <c:pt idx="1851">
                  <c:v>143.42303419990233</c:v>
                </c:pt>
                <c:pt idx="1852">
                  <c:v>143.42303419990233</c:v>
                </c:pt>
                <c:pt idx="1853">
                  <c:v>144.63976147322714</c:v>
                </c:pt>
                <c:pt idx="1854">
                  <c:v>145.56465659604808</c:v>
                </c:pt>
                <c:pt idx="1855">
                  <c:v>145.43925996887845</c:v>
                </c:pt>
                <c:pt idx="1856">
                  <c:v>146.96355302356903</c:v>
                </c:pt>
                <c:pt idx="1857">
                  <c:v>147.97796141440065</c:v>
                </c:pt>
                <c:pt idx="1858">
                  <c:v>147.97796141440065</c:v>
                </c:pt>
                <c:pt idx="1859">
                  <c:v>147.97796141440065</c:v>
                </c:pt>
                <c:pt idx="1860">
                  <c:v>147.43927968726697</c:v>
                </c:pt>
                <c:pt idx="1861">
                  <c:v>148.07669713705494</c:v>
                </c:pt>
                <c:pt idx="1862">
                  <c:v>147.09644674638437</c:v>
                </c:pt>
                <c:pt idx="1863">
                  <c:v>147.57295392962899</c:v>
                </c:pt>
                <c:pt idx="1864">
                  <c:v>147.11706889440705</c:v>
                </c:pt>
                <c:pt idx="1865">
                  <c:v>147.11706889440705</c:v>
                </c:pt>
                <c:pt idx="1866">
                  <c:v>147.11706889440705</c:v>
                </c:pt>
                <c:pt idx="1867">
                  <c:v>146.73773639472336</c:v>
                </c:pt>
                <c:pt idx="1868">
                  <c:v>146.4565439580399</c:v>
                </c:pt>
                <c:pt idx="1869">
                  <c:v>146.62696423905982</c:v>
                </c:pt>
                <c:pt idx="1870">
                  <c:v>146.13846170278208</c:v>
                </c:pt>
                <c:pt idx="1871">
                  <c:v>145.69494174037848</c:v>
                </c:pt>
                <c:pt idx="1872">
                  <c:v>145.69494174037848</c:v>
                </c:pt>
                <c:pt idx="1873">
                  <c:v>145.69494174037848</c:v>
                </c:pt>
                <c:pt idx="1874">
                  <c:v>145.69494174037848</c:v>
                </c:pt>
                <c:pt idx="1875">
                  <c:v>145.2497374989531</c:v>
                </c:pt>
                <c:pt idx="1876">
                  <c:v>146.01002515737801</c:v>
                </c:pt>
                <c:pt idx="1877">
                  <c:v>145.93205536266288</c:v>
                </c:pt>
                <c:pt idx="1878">
                  <c:v>145.18400953712791</c:v>
                </c:pt>
                <c:pt idx="1879">
                  <c:v>145.18400953712791</c:v>
                </c:pt>
                <c:pt idx="1880">
                  <c:v>145.18400953712791</c:v>
                </c:pt>
                <c:pt idx="1881">
                  <c:v>146.02655984777468</c:v>
                </c:pt>
                <c:pt idx="1882">
                  <c:v>146.39890875151445</c:v>
                </c:pt>
                <c:pt idx="1883">
                  <c:v>146.38473615974587</c:v>
                </c:pt>
                <c:pt idx="1884">
                  <c:v>145.35264283918568</c:v>
                </c:pt>
                <c:pt idx="1885">
                  <c:v>145.3334995703041</c:v>
                </c:pt>
                <c:pt idx="1886">
                  <c:v>145.3334995703041</c:v>
                </c:pt>
                <c:pt idx="1887">
                  <c:v>145.3334995703041</c:v>
                </c:pt>
                <c:pt idx="1888">
                  <c:v>145.61569846640296</c:v>
                </c:pt>
                <c:pt idx="1889">
                  <c:v>145.14806455800473</c:v>
                </c:pt>
                <c:pt idx="1890">
                  <c:v>144.42867201582791</c:v>
                </c:pt>
                <c:pt idx="1891">
                  <c:v>143.17526032380943</c:v>
                </c:pt>
                <c:pt idx="1892">
                  <c:v>143.60173209611463</c:v>
                </c:pt>
                <c:pt idx="1893">
                  <c:v>143.60173209611463</c:v>
                </c:pt>
                <c:pt idx="1894">
                  <c:v>143.60173209611463</c:v>
                </c:pt>
                <c:pt idx="1895">
                  <c:v>143.01005719975939</c:v>
                </c:pt>
                <c:pt idx="1896">
                  <c:v>142.77208089797602</c:v>
                </c:pt>
                <c:pt idx="1897">
                  <c:v>142.61211547088394</c:v>
                </c:pt>
                <c:pt idx="1898">
                  <c:v>143.66035322206747</c:v>
                </c:pt>
                <c:pt idx="1899">
                  <c:v>143.68257748915963</c:v>
                </c:pt>
                <c:pt idx="1900">
                  <c:v>143.68257748915963</c:v>
                </c:pt>
                <c:pt idx="1901">
                  <c:v>143.68257748915963</c:v>
                </c:pt>
                <c:pt idx="1902">
                  <c:v>142.25558235795839</c:v>
                </c:pt>
                <c:pt idx="1903">
                  <c:v>141.8533066916001</c:v>
                </c:pt>
                <c:pt idx="1904">
                  <c:v>142.22150651774965</c:v>
                </c:pt>
                <c:pt idx="1905">
                  <c:v>142.17771526318361</c:v>
                </c:pt>
                <c:pt idx="1906">
                  <c:v>142.17771526318361</c:v>
                </c:pt>
                <c:pt idx="1907">
                  <c:v>142.17771526318361</c:v>
                </c:pt>
                <c:pt idx="1908">
                  <c:v>142.17771526318361</c:v>
                </c:pt>
                <c:pt idx="1909">
                  <c:v>143.58679952478747</c:v>
                </c:pt>
                <c:pt idx="1910">
                  <c:v>144.0549058529113</c:v>
                </c:pt>
                <c:pt idx="1911">
                  <c:v>144.27733338372539</c:v>
                </c:pt>
                <c:pt idx="1912">
                  <c:v>143.98574771307835</c:v>
                </c:pt>
                <c:pt idx="1913">
                  <c:v>143.56252125888827</c:v>
                </c:pt>
                <c:pt idx="1914">
                  <c:v>143.56252125888827</c:v>
                </c:pt>
                <c:pt idx="1915">
                  <c:v>143.56252125888827</c:v>
                </c:pt>
                <c:pt idx="1916">
                  <c:v>144.27873010291418</c:v>
                </c:pt>
                <c:pt idx="1917">
                  <c:v>143.72053538711367</c:v>
                </c:pt>
                <c:pt idx="1918">
                  <c:v>144.5094557889087</c:v>
                </c:pt>
                <c:pt idx="1919">
                  <c:v>144.99945774431558</c:v>
                </c:pt>
                <c:pt idx="1920">
                  <c:v>144.52753097841065</c:v>
                </c:pt>
                <c:pt idx="1921">
                  <c:v>144.52753097841065</c:v>
                </c:pt>
                <c:pt idx="1922">
                  <c:v>144.52753097841065</c:v>
                </c:pt>
                <c:pt idx="1923">
                  <c:v>144.32558181570272</c:v>
                </c:pt>
                <c:pt idx="1924">
                  <c:v>144.46545913446198</c:v>
                </c:pt>
                <c:pt idx="1925">
                  <c:v>143.29435117464149</c:v>
                </c:pt>
                <c:pt idx="1926">
                  <c:v>144.13636744559847</c:v>
                </c:pt>
                <c:pt idx="1927">
                  <c:v>143.72396556512149</c:v>
                </c:pt>
                <c:pt idx="1928">
                  <c:v>143.72396556512149</c:v>
                </c:pt>
                <c:pt idx="1929">
                  <c:v>143.72396556512149</c:v>
                </c:pt>
                <c:pt idx="1930">
                  <c:v>143.41467442475778</c:v>
                </c:pt>
                <c:pt idx="1931">
                  <c:v>143.4057189899591</c:v>
                </c:pt>
                <c:pt idx="1932">
                  <c:v>144.21170812184062</c:v>
                </c:pt>
                <c:pt idx="1933">
                  <c:v>143.63102211910302</c:v>
                </c:pt>
                <c:pt idx="1934">
                  <c:v>143.73096970105348</c:v>
                </c:pt>
                <c:pt idx="1935">
                  <c:v>143.73096970105348</c:v>
                </c:pt>
                <c:pt idx="1936">
                  <c:v>143.73096970105348</c:v>
                </c:pt>
                <c:pt idx="1937">
                  <c:v>143.45201612306971</c:v>
                </c:pt>
                <c:pt idx="1938">
                  <c:v>142.45408080267055</c:v>
                </c:pt>
                <c:pt idx="1939">
                  <c:v>143.00350494356502</c:v>
                </c:pt>
                <c:pt idx="1940">
                  <c:v>144.21462480014659</c:v>
                </c:pt>
                <c:pt idx="1941">
                  <c:v>144.82573052521639</c:v>
                </c:pt>
                <c:pt idx="1942">
                  <c:v>144.82573052521639</c:v>
                </c:pt>
                <c:pt idx="1943">
                  <c:v>144.82573052521639</c:v>
                </c:pt>
                <c:pt idx="1944">
                  <c:v>145.0439884384522</c:v>
                </c:pt>
                <c:pt idx="1945">
                  <c:v>145.25758377439604</c:v>
                </c:pt>
                <c:pt idx="1946">
                  <c:v>144.92267926890855</c:v>
                </c:pt>
                <c:pt idx="1947">
                  <c:v>145.67653791106747</c:v>
                </c:pt>
                <c:pt idx="1948">
                  <c:v>144.89673726397569</c:v>
                </c:pt>
                <c:pt idx="1949">
                  <c:v>144.89673726397569</c:v>
                </c:pt>
                <c:pt idx="1950">
                  <c:v>144.89673726397569</c:v>
                </c:pt>
                <c:pt idx="1951">
                  <c:v>145.52597979851163</c:v>
                </c:pt>
                <c:pt idx="1952">
                  <c:v>145.15274767528484</c:v>
                </c:pt>
                <c:pt idx="1953">
                  <c:v>145.84642415239753</c:v>
                </c:pt>
                <c:pt idx="1954">
                  <c:v>145.75358340631945</c:v>
                </c:pt>
                <c:pt idx="1955">
                  <c:v>146.40369456873489</c:v>
                </c:pt>
                <c:pt idx="1956">
                  <c:v>146.40369456873489</c:v>
                </c:pt>
                <c:pt idx="1957">
                  <c:v>146.40369456873489</c:v>
                </c:pt>
                <c:pt idx="1958">
                  <c:v>146.9608417451438</c:v>
                </c:pt>
                <c:pt idx="1959">
                  <c:v>147.51591438275761</c:v>
                </c:pt>
                <c:pt idx="1960">
                  <c:v>147.97260047751433</c:v>
                </c:pt>
                <c:pt idx="1961">
                  <c:v>148.30960006178501</c:v>
                </c:pt>
                <c:pt idx="1962">
                  <c:v>148.17074974242928</c:v>
                </c:pt>
                <c:pt idx="1963">
                  <c:v>148.17074974242928</c:v>
                </c:pt>
                <c:pt idx="1964">
                  <c:v>148.17074974242928</c:v>
                </c:pt>
                <c:pt idx="1965">
                  <c:v>147.84693683049983</c:v>
                </c:pt>
                <c:pt idx="1966">
                  <c:v>148.22244889240241</c:v>
                </c:pt>
                <c:pt idx="1967">
                  <c:v>147.99223670610965</c:v>
                </c:pt>
                <c:pt idx="1968">
                  <c:v>148.19621932763656</c:v>
                </c:pt>
                <c:pt idx="1969">
                  <c:v>148.41250540201762</c:v>
                </c:pt>
                <c:pt idx="1970">
                  <c:v>148.41250540201762</c:v>
                </c:pt>
                <c:pt idx="1971">
                  <c:v>148.41250540201762</c:v>
                </c:pt>
                <c:pt idx="1972">
                  <c:v>148.41250540201762</c:v>
                </c:pt>
                <c:pt idx="1973">
                  <c:v>149.21793995422124</c:v>
                </c:pt>
                <c:pt idx="1974">
                  <c:v>149.3931665924496</c:v>
                </c:pt>
                <c:pt idx="1975">
                  <c:v>149.7048403714295</c:v>
                </c:pt>
                <c:pt idx="1976">
                  <c:v>150.42912143076705</c:v>
                </c:pt>
                <c:pt idx="1977">
                  <c:v>150.42912143076705</c:v>
                </c:pt>
                <c:pt idx="1978">
                  <c:v>150.42912143076705</c:v>
                </c:pt>
                <c:pt idx="1979">
                  <c:v>150.84741828782026</c:v>
                </c:pt>
                <c:pt idx="1980">
                  <c:v>151.45135555705349</c:v>
                </c:pt>
                <c:pt idx="1981">
                  <c:v>152.37867439846673</c:v>
                </c:pt>
                <c:pt idx="1982">
                  <c:v>152.44618933925403</c:v>
                </c:pt>
                <c:pt idx="1983">
                  <c:v>152.56390401088535</c:v>
                </c:pt>
                <c:pt idx="1984">
                  <c:v>152.56390401088535</c:v>
                </c:pt>
                <c:pt idx="1985">
                  <c:v>152.56390401088535</c:v>
                </c:pt>
                <c:pt idx="1986">
                  <c:v>151.67135936927525</c:v>
                </c:pt>
                <c:pt idx="1987">
                  <c:v>151.78352824412758</c:v>
                </c:pt>
                <c:pt idx="1988">
                  <c:v>151.42744701093957</c:v>
                </c:pt>
                <c:pt idx="1989">
                  <c:v>151.32098825277083</c:v>
                </c:pt>
                <c:pt idx="1990">
                  <c:v>151.2735819603044</c:v>
                </c:pt>
                <c:pt idx="1991">
                  <c:v>151.2735819603044</c:v>
                </c:pt>
                <c:pt idx="1992">
                  <c:v>151.2735819603044</c:v>
                </c:pt>
                <c:pt idx="1993">
                  <c:v>152.61757499971327</c:v>
                </c:pt>
                <c:pt idx="1994">
                  <c:v>152.95061036628633</c:v>
                </c:pt>
                <c:pt idx="1995">
                  <c:v>153.02176088496211</c:v>
                </c:pt>
                <c:pt idx="1996">
                  <c:v>153.5327341681888</c:v>
                </c:pt>
                <c:pt idx="1997">
                  <c:v>153.44215282079847</c:v>
                </c:pt>
                <c:pt idx="1998">
                  <c:v>153.44215282079847</c:v>
                </c:pt>
                <c:pt idx="1999">
                  <c:v>153.44215282079847</c:v>
                </c:pt>
                <c:pt idx="2000">
                  <c:v>152.36801414465819</c:v>
                </c:pt>
                <c:pt idx="2001">
                  <c:v>151.10498973822277</c:v>
                </c:pt>
                <c:pt idx="2002">
                  <c:v>152.10487635748862</c:v>
                </c:pt>
                <c:pt idx="2003">
                  <c:v>152.14002027707704</c:v>
                </c:pt>
                <c:pt idx="2004">
                  <c:v>152.2475676546135</c:v>
                </c:pt>
                <c:pt idx="2005">
                  <c:v>152.2475676546135</c:v>
                </c:pt>
                <c:pt idx="2006">
                  <c:v>152.2475676546135</c:v>
                </c:pt>
                <c:pt idx="2007">
                  <c:v>151.26939180273803</c:v>
                </c:pt>
                <c:pt idx="2008">
                  <c:v>151.57537600502241</c:v>
                </c:pt>
                <c:pt idx="2009">
                  <c:v>150.77057819244897</c:v>
                </c:pt>
                <c:pt idx="2010">
                  <c:v>149.38803159543201</c:v>
                </c:pt>
                <c:pt idx="2011">
                  <c:v>149.38803159543201</c:v>
                </c:pt>
                <c:pt idx="2012">
                  <c:v>149.38803159543201</c:v>
                </c:pt>
                <c:pt idx="2013">
                  <c:v>149.38803159543201</c:v>
                </c:pt>
                <c:pt idx="2014">
                  <c:v>148.94820883088107</c:v>
                </c:pt>
                <c:pt idx="2015">
                  <c:v>150.05948380545257</c:v>
                </c:pt>
                <c:pt idx="2016">
                  <c:v>149.55107802073465</c:v>
                </c:pt>
                <c:pt idx="2017">
                  <c:v>148.81786206658649</c:v>
                </c:pt>
                <c:pt idx="2018">
                  <c:v>149.73489037397644</c:v>
                </c:pt>
                <c:pt idx="2019">
                  <c:v>149.73489037397644</c:v>
                </c:pt>
                <c:pt idx="2020">
                  <c:v>149.73489037397644</c:v>
                </c:pt>
                <c:pt idx="2021">
                  <c:v>148.77895932918119</c:v>
                </c:pt>
                <c:pt idx="2022">
                  <c:v>149.87616441192446</c:v>
                </c:pt>
                <c:pt idx="2023">
                  <c:v>150.9463799503433</c:v>
                </c:pt>
                <c:pt idx="2024">
                  <c:v>152.04467365245432</c:v>
                </c:pt>
                <c:pt idx="2025">
                  <c:v>151.51418738056077</c:v>
                </c:pt>
                <c:pt idx="2026">
                  <c:v>151.51418738056077</c:v>
                </c:pt>
                <c:pt idx="2027">
                  <c:v>151.51418738056077</c:v>
                </c:pt>
                <c:pt idx="2028">
                  <c:v>152.11660469067678</c:v>
                </c:pt>
                <c:pt idx="2029">
                  <c:v>153.2076888569751</c:v>
                </c:pt>
                <c:pt idx="2030">
                  <c:v>153.62387009525705</c:v>
                </c:pt>
                <c:pt idx="2031">
                  <c:v>152.05336206740813</c:v>
                </c:pt>
                <c:pt idx="2032">
                  <c:v>152.4969025697998</c:v>
                </c:pt>
                <c:pt idx="2033">
                  <c:v>152.4969025697998</c:v>
                </c:pt>
                <c:pt idx="2034">
                  <c:v>152.4969025697998</c:v>
                </c:pt>
                <c:pt idx="2035">
                  <c:v>152.99103306280878</c:v>
                </c:pt>
                <c:pt idx="2036">
                  <c:v>152.90404621333076</c:v>
                </c:pt>
                <c:pt idx="2037">
                  <c:v>151.24583243642132</c:v>
                </c:pt>
                <c:pt idx="2038">
                  <c:v>152.6541567184666</c:v>
                </c:pt>
                <c:pt idx="2039">
                  <c:v>153.07695183290718</c:v>
                </c:pt>
                <c:pt idx="2040">
                  <c:v>153.07695183290718</c:v>
                </c:pt>
                <c:pt idx="2041">
                  <c:v>153.07695183290718</c:v>
                </c:pt>
                <c:pt idx="2042">
                  <c:v>152.50990438224832</c:v>
                </c:pt>
                <c:pt idx="2043">
                  <c:v>152.61424752164584</c:v>
                </c:pt>
                <c:pt idx="2044">
                  <c:v>153.74916402248633</c:v>
                </c:pt>
                <c:pt idx="2045">
                  <c:v>154.13120780059529</c:v>
                </c:pt>
                <c:pt idx="2046">
                  <c:v>155.11757910771084</c:v>
                </c:pt>
                <c:pt idx="2047">
                  <c:v>155.11757910771084</c:v>
                </c:pt>
                <c:pt idx="2048">
                  <c:v>155.11757910771084</c:v>
                </c:pt>
                <c:pt idx="2049">
                  <c:v>157.40289926039691</c:v>
                </c:pt>
                <c:pt idx="2050">
                  <c:v>157.31991770859258</c:v>
                </c:pt>
                <c:pt idx="2051">
                  <c:v>157.30983257445001</c:v>
                </c:pt>
                <c:pt idx="2052">
                  <c:v>158.29790870057542</c:v>
                </c:pt>
                <c:pt idx="2053">
                  <c:v>157.83635462864601</c:v>
                </c:pt>
                <c:pt idx="2054">
                  <c:v>157.83635462864601</c:v>
                </c:pt>
                <c:pt idx="2055">
                  <c:v>157.83635462864601</c:v>
                </c:pt>
                <c:pt idx="2056">
                  <c:v>157.64110150204903</c:v>
                </c:pt>
                <c:pt idx="2057">
                  <c:v>156.88769473962768</c:v>
                </c:pt>
                <c:pt idx="2058">
                  <c:v>156.64441912092215</c:v>
                </c:pt>
                <c:pt idx="2059">
                  <c:v>156.05898838094032</c:v>
                </c:pt>
                <c:pt idx="2060">
                  <c:v>156.40525149983068</c:v>
                </c:pt>
                <c:pt idx="2061">
                  <c:v>156.40525149983068</c:v>
                </c:pt>
                <c:pt idx="2062">
                  <c:v>156.40525149983068</c:v>
                </c:pt>
                <c:pt idx="2063">
                  <c:v>156.52723848898066</c:v>
                </c:pt>
                <c:pt idx="2064">
                  <c:v>156.63891440411928</c:v>
                </c:pt>
                <c:pt idx="2065">
                  <c:v>157.33474757997936</c:v>
                </c:pt>
                <c:pt idx="2066">
                  <c:v>157.3435386948735</c:v>
                </c:pt>
                <c:pt idx="2067">
                  <c:v>158.28166157001172</c:v>
                </c:pt>
                <c:pt idx="2068">
                  <c:v>158.28166157001172</c:v>
                </c:pt>
                <c:pt idx="2069">
                  <c:v>158.28166157001172</c:v>
                </c:pt>
                <c:pt idx="2070">
                  <c:v>158.28166157001172</c:v>
                </c:pt>
                <c:pt idx="2071">
                  <c:v>158.82956575178898</c:v>
                </c:pt>
                <c:pt idx="2072">
                  <c:v>159.3903895860625</c:v>
                </c:pt>
                <c:pt idx="2073">
                  <c:v>159.56526704449368</c:v>
                </c:pt>
                <c:pt idx="2074">
                  <c:v>159.34107307470555</c:v>
                </c:pt>
                <c:pt idx="2075">
                  <c:v>159.34107307470555</c:v>
                </c:pt>
                <c:pt idx="2076">
                  <c:v>159.34107307470555</c:v>
                </c:pt>
                <c:pt idx="2077">
                  <c:v>159.2941802819409</c:v>
                </c:pt>
                <c:pt idx="2078">
                  <c:v>159.0810368257346</c:v>
                </c:pt>
                <c:pt idx="2079">
                  <c:v>159.77461060290696</c:v>
                </c:pt>
                <c:pt idx="2080">
                  <c:v>158.18709546493577</c:v>
                </c:pt>
                <c:pt idx="2081">
                  <c:v>158.46485772361143</c:v>
                </c:pt>
                <c:pt idx="2082">
                  <c:v>158.46485772361143</c:v>
                </c:pt>
                <c:pt idx="2083">
                  <c:v>158.46485772361143</c:v>
                </c:pt>
                <c:pt idx="2084">
                  <c:v>157.96271663525496</c:v>
                </c:pt>
                <c:pt idx="2085">
                  <c:v>158.18571928573502</c:v>
                </c:pt>
                <c:pt idx="2086">
                  <c:v>158.97192840910478</c:v>
                </c:pt>
                <c:pt idx="2087">
                  <c:v>161.99929671080929</c:v>
                </c:pt>
                <c:pt idx="2088">
                  <c:v>162.3262727809016</c:v>
                </c:pt>
                <c:pt idx="2089">
                  <c:v>162.3262727809016</c:v>
                </c:pt>
                <c:pt idx="2090">
                  <c:v>162.3262727809016</c:v>
                </c:pt>
                <c:pt idx="2091">
                  <c:v>159.97386902717767</c:v>
                </c:pt>
                <c:pt idx="2092">
                  <c:v>160.69009841119163</c:v>
                </c:pt>
                <c:pt idx="2093">
                  <c:v>159.95912131574315</c:v>
                </c:pt>
                <c:pt idx="2094">
                  <c:v>159.2397493135544</c:v>
                </c:pt>
                <c:pt idx="2095">
                  <c:v>158.43850491891712</c:v>
                </c:pt>
                <c:pt idx="2096">
                  <c:v>158.43850491891712</c:v>
                </c:pt>
                <c:pt idx="2097">
                  <c:v>158.43850491891712</c:v>
                </c:pt>
                <c:pt idx="2098">
                  <c:v>160.93283999020733</c:v>
                </c:pt>
                <c:pt idx="2099">
                  <c:v>158.66773118578249</c:v>
                </c:pt>
                <c:pt idx="2100">
                  <c:v>158.9102468249294</c:v>
                </c:pt>
                <c:pt idx="2101">
                  <c:v>157.98155180431547</c:v>
                </c:pt>
                <c:pt idx="2102">
                  <c:v>155.17474189451067</c:v>
                </c:pt>
                <c:pt idx="2103">
                  <c:v>155.17474189451067</c:v>
                </c:pt>
                <c:pt idx="2104">
                  <c:v>155.17474189451067</c:v>
                </c:pt>
                <c:pt idx="2105">
                  <c:v>154.50589826297505</c:v>
                </c:pt>
                <c:pt idx="2106">
                  <c:v>154.8828070440664</c:v>
                </c:pt>
                <c:pt idx="2107">
                  <c:v>154.42607986933353</c:v>
                </c:pt>
                <c:pt idx="2108">
                  <c:v>153.77547574720441</c:v>
                </c:pt>
                <c:pt idx="2109">
                  <c:v>157.50428464151224</c:v>
                </c:pt>
                <c:pt idx="2110">
                  <c:v>157.50428464151224</c:v>
                </c:pt>
                <c:pt idx="2111">
                  <c:v>157.50428464151224</c:v>
                </c:pt>
                <c:pt idx="2112">
                  <c:v>154.43871196199686</c:v>
                </c:pt>
                <c:pt idx="2113">
                  <c:v>152.93183681718992</c:v>
                </c:pt>
                <c:pt idx="2114">
                  <c:v>153.11616267013346</c:v>
                </c:pt>
                <c:pt idx="2115">
                  <c:v>153.75686651801269</c:v>
                </c:pt>
                <c:pt idx="2116">
                  <c:v>153.27707293667677</c:v>
                </c:pt>
                <c:pt idx="2117">
                  <c:v>153.27707293667677</c:v>
                </c:pt>
                <c:pt idx="2118">
                  <c:v>153.27707293667677</c:v>
                </c:pt>
                <c:pt idx="2119">
                  <c:v>152.35110973447618</c:v>
                </c:pt>
                <c:pt idx="2120">
                  <c:v>152.68950603793562</c:v>
                </c:pt>
                <c:pt idx="2121">
                  <c:v>152.97751775065842</c:v>
                </c:pt>
                <c:pt idx="2122">
                  <c:v>149.25821887082719</c:v>
                </c:pt>
                <c:pt idx="2123">
                  <c:v>149.14648133572436</c:v>
                </c:pt>
                <c:pt idx="2124">
                  <c:v>149.14648133572436</c:v>
                </c:pt>
                <c:pt idx="2125">
                  <c:v>149.14648133572436</c:v>
                </c:pt>
                <c:pt idx="2126">
                  <c:v>149.54415604475489</c:v>
                </c:pt>
                <c:pt idx="2127">
                  <c:v>146.16709444615225</c:v>
                </c:pt>
                <c:pt idx="2128">
                  <c:v>149.42235391549755</c:v>
                </c:pt>
                <c:pt idx="2129">
                  <c:v>150.0272565641701</c:v>
                </c:pt>
                <c:pt idx="2130">
                  <c:v>152.16312776365612</c:v>
                </c:pt>
                <c:pt idx="2131">
                  <c:v>152.16312776365612</c:v>
                </c:pt>
                <c:pt idx="2132">
                  <c:v>152.16312776365612</c:v>
                </c:pt>
                <c:pt idx="2133">
                  <c:v>152.49971654816534</c:v>
                </c:pt>
                <c:pt idx="2134">
                  <c:v>149.75241098380039</c:v>
                </c:pt>
                <c:pt idx="2135">
                  <c:v>148.86596671864723</c:v>
                </c:pt>
                <c:pt idx="2136">
                  <c:v>149.67974050600742</c:v>
                </c:pt>
                <c:pt idx="2137">
                  <c:v>148.65103628347879</c:v>
                </c:pt>
                <c:pt idx="2138">
                  <c:v>148.65103628347879</c:v>
                </c:pt>
                <c:pt idx="2139">
                  <c:v>148.65103628347879</c:v>
                </c:pt>
                <c:pt idx="2140">
                  <c:v>147.49494305493775</c:v>
                </c:pt>
                <c:pt idx="2141">
                  <c:v>147.77013781510462</c:v>
                </c:pt>
                <c:pt idx="2142">
                  <c:v>146.27330672446411</c:v>
                </c:pt>
                <c:pt idx="2143">
                  <c:v>147.38774485719844</c:v>
                </c:pt>
                <c:pt idx="2144">
                  <c:v>145.09930262632568</c:v>
                </c:pt>
                <c:pt idx="2145">
                  <c:v>145.09930262632568</c:v>
                </c:pt>
                <c:pt idx="2146">
                  <c:v>145.09930262632568</c:v>
                </c:pt>
                <c:pt idx="2147">
                  <c:v>146.42573397593438</c:v>
                </c:pt>
                <c:pt idx="2148">
                  <c:v>144.84357977484953</c:v>
                </c:pt>
                <c:pt idx="2149">
                  <c:v>142.53022253844742</c:v>
                </c:pt>
                <c:pt idx="2150">
                  <c:v>142.31695584231272</c:v>
                </c:pt>
                <c:pt idx="2151">
                  <c:v>139.86365966718711</c:v>
                </c:pt>
                <c:pt idx="2152">
                  <c:v>139.86365966718711</c:v>
                </c:pt>
                <c:pt idx="2153">
                  <c:v>139.86365966718711</c:v>
                </c:pt>
                <c:pt idx="2154">
                  <c:v>140.93397790554627</c:v>
                </c:pt>
                <c:pt idx="2155">
                  <c:v>142.45553914182349</c:v>
                </c:pt>
                <c:pt idx="2156">
                  <c:v>145.07282658170297</c:v>
                </c:pt>
                <c:pt idx="2157">
                  <c:v>145.07282658170297</c:v>
                </c:pt>
                <c:pt idx="2158">
                  <c:v>144.79183954490026</c:v>
                </c:pt>
                <c:pt idx="2159">
                  <c:v>144.79183954490026</c:v>
                </c:pt>
                <c:pt idx="2160">
                  <c:v>144.79183954490026</c:v>
                </c:pt>
                <c:pt idx="2161">
                  <c:v>141.91601527517898</c:v>
                </c:pt>
                <c:pt idx="2162">
                  <c:v>143.71971378759088</c:v>
                </c:pt>
                <c:pt idx="2163">
                  <c:v>144.51678856464983</c:v>
                </c:pt>
                <c:pt idx="2164">
                  <c:v>144.2042726461591</c:v>
                </c:pt>
                <c:pt idx="2165">
                  <c:v>145.62280530227534</c:v>
                </c:pt>
                <c:pt idx="2166">
                  <c:v>145.62280530227534</c:v>
                </c:pt>
                <c:pt idx="2167">
                  <c:v>145.62280530227534</c:v>
                </c:pt>
                <c:pt idx="2168">
                  <c:v>148.05213131132277</c:v>
                </c:pt>
                <c:pt idx="2169">
                  <c:v>147.67060103291556</c:v>
                </c:pt>
                <c:pt idx="2170">
                  <c:v>150.28121297667215</c:v>
                </c:pt>
                <c:pt idx="2171">
                  <c:v>146.30130272820401</c:v>
                </c:pt>
                <c:pt idx="2172">
                  <c:v>150.24697281655884</c:v>
                </c:pt>
                <c:pt idx="2173">
                  <c:v>150.24697281655884</c:v>
                </c:pt>
                <c:pt idx="2174">
                  <c:v>150.24697281655884</c:v>
                </c:pt>
                <c:pt idx="2175">
                  <c:v>147.91681386991516</c:v>
                </c:pt>
                <c:pt idx="2176">
                  <c:v>150.17970435562836</c:v>
                </c:pt>
                <c:pt idx="2177">
                  <c:v>153.49126393227459</c:v>
                </c:pt>
                <c:pt idx="2178">
                  <c:v>151.55479493697578</c:v>
                </c:pt>
                <c:pt idx="2179">
                  <c:v>152.94995308666793</c:v>
                </c:pt>
                <c:pt idx="2180">
                  <c:v>152.94995308666793</c:v>
                </c:pt>
                <c:pt idx="2181">
                  <c:v>152.94995308666793</c:v>
                </c:pt>
                <c:pt idx="2182">
                  <c:v>151.6238298368803</c:v>
                </c:pt>
                <c:pt idx="2183">
                  <c:v>150.73426349354045</c:v>
                </c:pt>
                <c:pt idx="2184">
                  <c:v>150.79196032003014</c:v>
                </c:pt>
                <c:pt idx="2185">
                  <c:v>150.79196032003014</c:v>
                </c:pt>
                <c:pt idx="2186">
                  <c:v>152.27281129995188</c:v>
                </c:pt>
                <c:pt idx="2187">
                  <c:v>152.27281129995188</c:v>
                </c:pt>
                <c:pt idx="2188">
                  <c:v>152.27281129995188</c:v>
                </c:pt>
                <c:pt idx="2189">
                  <c:v>150.00959217442954</c:v>
                </c:pt>
                <c:pt idx="2190">
                  <c:v>152.11377017232294</c:v>
                </c:pt>
                <c:pt idx="2191">
                  <c:v>154.84813554420356</c:v>
                </c:pt>
                <c:pt idx="2192">
                  <c:v>154.84813554420356</c:v>
                </c:pt>
                <c:pt idx="2193">
                  <c:v>154.30661929871619</c:v>
                </c:pt>
                <c:pt idx="2194">
                  <c:v>154.30661929871619</c:v>
                </c:pt>
                <c:pt idx="2195">
                  <c:v>154.30661929871619</c:v>
                </c:pt>
                <c:pt idx="2196">
                  <c:v>155.84064830775213</c:v>
                </c:pt>
                <c:pt idx="2197">
                  <c:v>159.05456078111177</c:v>
                </c:pt>
                <c:pt idx="2198">
                  <c:v>158.02254962050387</c:v>
                </c:pt>
                <c:pt idx="2199">
                  <c:v>159.13160627636375</c:v>
                </c:pt>
                <c:pt idx="2200">
                  <c:v>156.97784474726845</c:v>
                </c:pt>
                <c:pt idx="2201">
                  <c:v>156.97784474726845</c:v>
                </c:pt>
                <c:pt idx="2202">
                  <c:v>156.97784474726845</c:v>
                </c:pt>
                <c:pt idx="2203">
                  <c:v>154.7483317421696</c:v>
                </c:pt>
                <c:pt idx="2204">
                  <c:v>156.21441447066877</c:v>
                </c:pt>
                <c:pt idx="2205">
                  <c:v>154.62211351547714</c:v>
                </c:pt>
                <c:pt idx="2206">
                  <c:v>156.09865109790411</c:v>
                </c:pt>
                <c:pt idx="2207">
                  <c:v>157.33053688242487</c:v>
                </c:pt>
                <c:pt idx="2208">
                  <c:v>157.33053688242487</c:v>
                </c:pt>
                <c:pt idx="2209">
                  <c:v>157.33053688242487</c:v>
                </c:pt>
                <c:pt idx="2210">
                  <c:v>157.33053688242487</c:v>
                </c:pt>
                <c:pt idx="2211">
                  <c:v>154.98940958215158</c:v>
                </c:pt>
                <c:pt idx="2212">
                  <c:v>155.98317528497248</c:v>
                </c:pt>
                <c:pt idx="2213">
                  <c:v>154.88106114508037</c:v>
                </c:pt>
                <c:pt idx="2214">
                  <c:v>155.77206528758515</c:v>
                </c:pt>
                <c:pt idx="2215">
                  <c:v>155.77206528758515</c:v>
                </c:pt>
                <c:pt idx="2216">
                  <c:v>155.77206528758515</c:v>
                </c:pt>
                <c:pt idx="2217">
                  <c:v>156.85809661681813</c:v>
                </c:pt>
                <c:pt idx="2218">
                  <c:v>157.1097320106683</c:v>
                </c:pt>
                <c:pt idx="2219">
                  <c:v>158.44228427672195</c:v>
                </c:pt>
                <c:pt idx="2220">
                  <c:v>157.21475296967211</c:v>
                </c:pt>
                <c:pt idx="2221">
                  <c:v>156.30937083551805</c:v>
                </c:pt>
                <c:pt idx="2222">
                  <c:v>156.30937083551805</c:v>
                </c:pt>
                <c:pt idx="2223">
                  <c:v>156.30937083551805</c:v>
                </c:pt>
                <c:pt idx="2224">
                  <c:v>156.77624476435764</c:v>
                </c:pt>
                <c:pt idx="2225">
                  <c:v>156.37413341790392</c:v>
                </c:pt>
                <c:pt idx="2226">
                  <c:v>157.04332622923675</c:v>
                </c:pt>
                <c:pt idx="2227">
                  <c:v>157.21621130882511</c:v>
                </c:pt>
                <c:pt idx="2228">
                  <c:v>159.82020937642304</c:v>
                </c:pt>
                <c:pt idx="2229">
                  <c:v>159.82020937642304</c:v>
                </c:pt>
                <c:pt idx="2230">
                  <c:v>159.82020937642304</c:v>
                </c:pt>
                <c:pt idx="2231">
                  <c:v>159.52788426620546</c:v>
                </c:pt>
                <c:pt idx="2232">
                  <c:v>158.92010601920305</c:v>
                </c:pt>
                <c:pt idx="2233">
                  <c:v>158.10631169185478</c:v>
                </c:pt>
                <c:pt idx="2234">
                  <c:v>158.03943349069763</c:v>
                </c:pt>
                <c:pt idx="2235">
                  <c:v>157.92095883950773</c:v>
                </c:pt>
                <c:pt idx="2236">
                  <c:v>157.92095883950773</c:v>
                </c:pt>
                <c:pt idx="2237">
                  <c:v>157.92095883950773</c:v>
                </c:pt>
                <c:pt idx="2238">
                  <c:v>157.92095883950773</c:v>
                </c:pt>
                <c:pt idx="2239">
                  <c:v>157.43783778010442</c:v>
                </c:pt>
                <c:pt idx="2240">
                  <c:v>155.09794287911538</c:v>
                </c:pt>
                <c:pt idx="2241">
                  <c:v>153.86287339644372</c:v>
                </c:pt>
                <c:pt idx="2242">
                  <c:v>153.45837941137381</c:v>
                </c:pt>
                <c:pt idx="2243">
                  <c:v>153.45837941137381</c:v>
                </c:pt>
                <c:pt idx="2244">
                  <c:v>153.45837941137381</c:v>
                </c:pt>
                <c:pt idx="2245">
                  <c:v>152.56252783168441</c:v>
                </c:pt>
                <c:pt idx="2246">
                  <c:v>152.55893333377207</c:v>
                </c:pt>
                <c:pt idx="2247">
                  <c:v>152.23625012118652</c:v>
                </c:pt>
                <c:pt idx="2248">
                  <c:v>151.34612919816874</c:v>
                </c:pt>
                <c:pt idx="2249">
                  <c:v>153.09301410357799</c:v>
                </c:pt>
                <c:pt idx="2250">
                  <c:v>153.09301410357799</c:v>
                </c:pt>
                <c:pt idx="2251">
                  <c:v>153.09301410357799</c:v>
                </c:pt>
                <c:pt idx="2252">
                  <c:v>150.02014972829761</c:v>
                </c:pt>
                <c:pt idx="2253">
                  <c:v>148.50353862914534</c:v>
                </c:pt>
                <c:pt idx="2254">
                  <c:v>150.21747739368971</c:v>
                </c:pt>
                <c:pt idx="2255">
                  <c:v>148.16148620780939</c:v>
                </c:pt>
                <c:pt idx="2256">
                  <c:v>147.00029906222687</c:v>
                </c:pt>
                <c:pt idx="2257">
                  <c:v>147.00029906222687</c:v>
                </c:pt>
                <c:pt idx="2258">
                  <c:v>147.00029906222687</c:v>
                </c:pt>
                <c:pt idx="2259">
                  <c:v>147.48144828277543</c:v>
                </c:pt>
                <c:pt idx="2260">
                  <c:v>149.09722644433148</c:v>
                </c:pt>
                <c:pt idx="2261">
                  <c:v>149.37342766391382</c:v>
                </c:pt>
                <c:pt idx="2262">
                  <c:v>151.14179739684465</c:v>
                </c:pt>
                <c:pt idx="2263">
                  <c:v>150.9880555861379</c:v>
                </c:pt>
                <c:pt idx="2264">
                  <c:v>150.9880555861379</c:v>
                </c:pt>
                <c:pt idx="2265">
                  <c:v>150.9880555861379</c:v>
                </c:pt>
                <c:pt idx="2266">
                  <c:v>148.58278190312086</c:v>
                </c:pt>
                <c:pt idx="2267">
                  <c:v>148.80290895527108</c:v>
                </c:pt>
                <c:pt idx="2268">
                  <c:v>151.00904745394584</c:v>
                </c:pt>
                <c:pt idx="2269">
                  <c:v>153.12450190528989</c:v>
                </c:pt>
                <c:pt idx="2270">
                  <c:v>150.15271481130381</c:v>
                </c:pt>
                <c:pt idx="2271">
                  <c:v>150.15271481130381</c:v>
                </c:pt>
                <c:pt idx="2272">
                  <c:v>150.15271481130381</c:v>
                </c:pt>
                <c:pt idx="2273">
                  <c:v>152.09721494193815</c:v>
                </c:pt>
                <c:pt idx="2274">
                  <c:v>151.14296817616466</c:v>
                </c:pt>
                <c:pt idx="2275">
                  <c:v>152.32730388830248</c:v>
                </c:pt>
                <c:pt idx="2276">
                  <c:v>155.99782029646659</c:v>
                </c:pt>
                <c:pt idx="2277">
                  <c:v>154.70836092538457</c:v>
                </c:pt>
                <c:pt idx="2278">
                  <c:v>154.70836092538457</c:v>
                </c:pt>
                <c:pt idx="2279">
                  <c:v>154.70836092538457</c:v>
                </c:pt>
                <c:pt idx="2280">
                  <c:v>152.85140222390618</c:v>
                </c:pt>
                <c:pt idx="2281">
                  <c:v>152.37996841771496</c:v>
                </c:pt>
                <c:pt idx="2282">
                  <c:v>152.72933307480395</c:v>
                </c:pt>
                <c:pt idx="2283">
                  <c:v>156.21123077251778</c:v>
                </c:pt>
                <c:pt idx="2284">
                  <c:v>157.92935969462849</c:v>
                </c:pt>
                <c:pt idx="2285">
                  <c:v>157.92935969462849</c:v>
                </c:pt>
                <c:pt idx="2286">
                  <c:v>157.92935969462849</c:v>
                </c:pt>
                <c:pt idx="2287">
                  <c:v>156.93536805193884</c:v>
                </c:pt>
                <c:pt idx="2288">
                  <c:v>154.99542779865612</c:v>
                </c:pt>
                <c:pt idx="2289">
                  <c:v>156.34046837745657</c:v>
                </c:pt>
                <c:pt idx="2290">
                  <c:v>161.0698827906127</c:v>
                </c:pt>
                <c:pt idx="2291">
                  <c:v>161.0698827906127</c:v>
                </c:pt>
                <c:pt idx="2292">
                  <c:v>161.0698827906127</c:v>
                </c:pt>
                <c:pt idx="2293">
                  <c:v>161.0698827906127</c:v>
                </c:pt>
                <c:pt idx="2294">
                  <c:v>161.21245084780918</c:v>
                </c:pt>
                <c:pt idx="2295">
                  <c:v>160.04481414597257</c:v>
                </c:pt>
                <c:pt idx="2296">
                  <c:v>160.39958081992407</c:v>
                </c:pt>
                <c:pt idx="2297">
                  <c:v>163.38687560490328</c:v>
                </c:pt>
                <c:pt idx="2298">
                  <c:v>166.30382093074144</c:v>
                </c:pt>
                <c:pt idx="2299">
                  <c:v>166.30382093074144</c:v>
                </c:pt>
                <c:pt idx="2300">
                  <c:v>166.30382093074144</c:v>
                </c:pt>
                <c:pt idx="2301">
                  <c:v>161.27836366952698</c:v>
                </c:pt>
                <c:pt idx="2302">
                  <c:v>164.04025262542189</c:v>
                </c:pt>
                <c:pt idx="2303">
                  <c:v>165.16851417012757</c:v>
                </c:pt>
                <c:pt idx="2304">
                  <c:v>163.5994644814316</c:v>
                </c:pt>
                <c:pt idx="2305">
                  <c:v>167.57898447012639</c:v>
                </c:pt>
                <c:pt idx="2306">
                  <c:v>167.57898447012639</c:v>
                </c:pt>
                <c:pt idx="2307">
                  <c:v>167.57898447012639</c:v>
                </c:pt>
                <c:pt idx="2308">
                  <c:v>165.57448703433849</c:v>
                </c:pt>
                <c:pt idx="2309">
                  <c:v>166.18540789951567</c:v>
                </c:pt>
                <c:pt idx="2310">
                  <c:v>168.79988136102949</c:v>
                </c:pt>
                <c:pt idx="2311">
                  <c:v>169.53609615343592</c:v>
                </c:pt>
                <c:pt idx="2312">
                  <c:v>168.88312993267868</c:v>
                </c:pt>
                <c:pt idx="2313">
                  <c:v>168.88312993267868</c:v>
                </c:pt>
                <c:pt idx="2314">
                  <c:v>168.88312993267868</c:v>
                </c:pt>
                <c:pt idx="2315">
                  <c:v>171.55480726096846</c:v>
                </c:pt>
                <c:pt idx="2316">
                  <c:v>171.31434562062859</c:v>
                </c:pt>
                <c:pt idx="2317">
                  <c:v>170.24402738226939</c:v>
                </c:pt>
                <c:pt idx="2318">
                  <c:v>168.59374204075513</c:v>
                </c:pt>
                <c:pt idx="2319">
                  <c:v>171.44871822258497</c:v>
                </c:pt>
                <c:pt idx="2320">
                  <c:v>171.44871822258494</c:v>
                </c:pt>
                <c:pt idx="2321">
                  <c:v>171.44871822258494</c:v>
                </c:pt>
                <c:pt idx="2322">
                  <c:v>170.89693198306239</c:v>
                </c:pt>
                <c:pt idx="2323">
                  <c:v>168.5316701968064</c:v>
                </c:pt>
                <c:pt idx="2324">
                  <c:v>164.32378662074521</c:v>
                </c:pt>
                <c:pt idx="2325">
                  <c:v>165.76041500635145</c:v>
                </c:pt>
                <c:pt idx="2326">
                  <c:v>165.29033683937286</c:v>
                </c:pt>
                <c:pt idx="2327">
                  <c:v>165.29033683937286</c:v>
                </c:pt>
                <c:pt idx="2328">
                  <c:v>165.29033683937286</c:v>
                </c:pt>
                <c:pt idx="2329">
                  <c:v>167.65377056669055</c:v>
                </c:pt>
                <c:pt idx="2330">
                  <c:v>167.86718104274175</c:v>
                </c:pt>
                <c:pt idx="2331">
                  <c:v>167.40718800990572</c:v>
                </c:pt>
                <c:pt idx="2332">
                  <c:v>166.75206509040109</c:v>
                </c:pt>
                <c:pt idx="2333">
                  <c:v>165.38812772257592</c:v>
                </c:pt>
                <c:pt idx="2334">
                  <c:v>165.38812772257592</c:v>
                </c:pt>
                <c:pt idx="2335">
                  <c:v>165.38812772257592</c:v>
                </c:pt>
                <c:pt idx="2336">
                  <c:v>165.38812772257592</c:v>
                </c:pt>
                <c:pt idx="2337">
                  <c:v>167.62372056414361</c:v>
                </c:pt>
                <c:pt idx="2338">
                  <c:v>168.22726757360348</c:v>
                </c:pt>
                <c:pt idx="2339">
                  <c:v>167.00339238443019</c:v>
                </c:pt>
                <c:pt idx="2340">
                  <c:v>167.81961043037074</c:v>
                </c:pt>
                <c:pt idx="2341">
                  <c:v>167.81961043037074</c:v>
                </c:pt>
                <c:pt idx="2342">
                  <c:v>167.81961043037074</c:v>
                </c:pt>
                <c:pt idx="2343">
                  <c:v>169.78886124662986</c:v>
                </c:pt>
                <c:pt idx="2344">
                  <c:v>170.66922567531421</c:v>
                </c:pt>
                <c:pt idx="2345">
                  <c:v>169.99990962405295</c:v>
                </c:pt>
                <c:pt idx="2346">
                  <c:v>170.97247805918519</c:v>
                </c:pt>
                <c:pt idx="2347">
                  <c:v>171.3670512300171</c:v>
                </c:pt>
                <c:pt idx="2348">
                  <c:v>171.36705123001707</c:v>
                </c:pt>
                <c:pt idx="2349">
                  <c:v>171.36705123001707</c:v>
                </c:pt>
                <c:pt idx="2350">
                  <c:v>169.88708346958234</c:v>
                </c:pt>
                <c:pt idx="2351">
                  <c:v>170.6985773182667</c:v>
                </c:pt>
                <c:pt idx="2352">
                  <c:v>170.51792812318777</c:v>
                </c:pt>
                <c:pt idx="2353">
                  <c:v>170.8094521738706</c:v>
                </c:pt>
                <c:pt idx="2354">
                  <c:v>170.45291906094502</c:v>
                </c:pt>
                <c:pt idx="2355">
                  <c:v>170.45291906094499</c:v>
                </c:pt>
                <c:pt idx="2356">
                  <c:v>170.45291906094499</c:v>
                </c:pt>
                <c:pt idx="2357">
                  <c:v>169.8140843519802</c:v>
                </c:pt>
                <c:pt idx="2358">
                  <c:v>168.900486222598</c:v>
                </c:pt>
                <c:pt idx="2359">
                  <c:v>168.79419178433383</c:v>
                </c:pt>
                <c:pt idx="2360">
                  <c:v>168.15278957686024</c:v>
                </c:pt>
                <c:pt idx="2361">
                  <c:v>168.74988703006602</c:v>
                </c:pt>
                <c:pt idx="2362">
                  <c:v>168.74988703006602</c:v>
                </c:pt>
                <c:pt idx="2363">
                  <c:v>168.74988703006602</c:v>
                </c:pt>
                <c:pt idx="2364">
                  <c:v>167.16202271229764</c:v>
                </c:pt>
                <c:pt idx="2365">
                  <c:v>165.55955446301121</c:v>
                </c:pt>
                <c:pt idx="2366">
                  <c:v>166.204818188242</c:v>
                </c:pt>
                <c:pt idx="2367">
                  <c:v>167.91105445725998</c:v>
                </c:pt>
                <c:pt idx="2368">
                  <c:v>169.11426641843448</c:v>
                </c:pt>
                <c:pt idx="2369">
                  <c:v>169.11426641843448</c:v>
                </c:pt>
                <c:pt idx="2370">
                  <c:v>169.11426641843448</c:v>
                </c:pt>
                <c:pt idx="2371">
                  <c:v>168.40436335074617</c:v>
                </c:pt>
                <c:pt idx="2372">
                  <c:v>169.33246271170606</c:v>
                </c:pt>
                <c:pt idx="2373">
                  <c:v>170.74224533290433</c:v>
                </c:pt>
                <c:pt idx="2374">
                  <c:v>169.89796966325963</c:v>
                </c:pt>
                <c:pt idx="2375">
                  <c:v>169.89796966325963</c:v>
                </c:pt>
                <c:pt idx="2376">
                  <c:v>169.89796966325963</c:v>
                </c:pt>
                <c:pt idx="2377">
                  <c:v>169.89796966325963</c:v>
                </c:pt>
                <c:pt idx="2378">
                  <c:v>167.98185579613855</c:v>
                </c:pt>
                <c:pt idx="2379">
                  <c:v>167.86941990144132</c:v>
                </c:pt>
                <c:pt idx="2380">
                  <c:v>167.01479207780915</c:v>
                </c:pt>
                <c:pt idx="2381">
                  <c:v>167.22514209563786</c:v>
                </c:pt>
                <c:pt idx="2382">
                  <c:v>167.79514730457885</c:v>
                </c:pt>
                <c:pt idx="2383">
                  <c:v>167.79514730457885</c:v>
                </c:pt>
                <c:pt idx="2384">
                  <c:v>167.79514730457885</c:v>
                </c:pt>
                <c:pt idx="2385">
                  <c:v>167.78592484993527</c:v>
                </c:pt>
                <c:pt idx="2386">
                  <c:v>168.37486792787715</c:v>
                </c:pt>
                <c:pt idx="2387">
                  <c:v>169.2759572045245</c:v>
                </c:pt>
                <c:pt idx="2388">
                  <c:v>169.77230601624512</c:v>
                </c:pt>
                <c:pt idx="2389">
                  <c:v>169.76579484002681</c:v>
                </c:pt>
                <c:pt idx="2390">
                  <c:v>169.76579484002681</c:v>
                </c:pt>
                <c:pt idx="2391">
                  <c:v>169.76579484002681</c:v>
                </c:pt>
                <c:pt idx="2392">
                  <c:v>170.27489898433913</c:v>
                </c:pt>
                <c:pt idx="2393">
                  <c:v>169.02701254911156</c:v>
                </c:pt>
                <c:pt idx="2394">
                  <c:v>170.68007078901533</c:v>
                </c:pt>
                <c:pt idx="2395">
                  <c:v>171.59781799598775</c:v>
                </c:pt>
                <c:pt idx="2396">
                  <c:v>172.33456682808404</c:v>
                </c:pt>
                <c:pt idx="2397">
                  <c:v>172.33456682808404</c:v>
                </c:pt>
                <c:pt idx="2398">
                  <c:v>172.33456682808404</c:v>
                </c:pt>
                <c:pt idx="2399">
                  <c:v>172.48557682037742</c:v>
                </c:pt>
                <c:pt idx="2400">
                  <c:v>172.6884502825485</c:v>
                </c:pt>
                <c:pt idx="2401">
                  <c:v>172.31901805711476</c:v>
                </c:pt>
                <c:pt idx="2402">
                  <c:v>173.13412694369953</c:v>
                </c:pt>
                <c:pt idx="2403">
                  <c:v>173.41125246274504</c:v>
                </c:pt>
                <c:pt idx="2404">
                  <c:v>173.41125246274504</c:v>
                </c:pt>
                <c:pt idx="2405">
                  <c:v>173.41125246274504</c:v>
                </c:pt>
                <c:pt idx="2406">
                  <c:v>173.99729940236898</c:v>
                </c:pt>
                <c:pt idx="2407">
                  <c:v>175.0434420747693</c:v>
                </c:pt>
                <c:pt idx="2408">
                  <c:v>175.23842818152141</c:v>
                </c:pt>
                <c:pt idx="2409">
                  <c:v>173.96934447860522</c:v>
                </c:pt>
                <c:pt idx="2410">
                  <c:v>175.64696854424119</c:v>
                </c:pt>
                <c:pt idx="2411">
                  <c:v>175.64696854424119</c:v>
                </c:pt>
                <c:pt idx="2412">
                  <c:v>175.64696854424119</c:v>
                </c:pt>
                <c:pt idx="2413">
                  <c:v>175.80163465441112</c:v>
                </c:pt>
                <c:pt idx="2414">
                  <c:v>174.9594335235615</c:v>
                </c:pt>
                <c:pt idx="2415">
                  <c:v>175.233929924134</c:v>
                </c:pt>
                <c:pt idx="2416">
                  <c:v>175.31709633583094</c:v>
                </c:pt>
                <c:pt idx="2417">
                  <c:v>174.53329039106541</c:v>
                </c:pt>
                <c:pt idx="2418">
                  <c:v>174.53329039106541</c:v>
                </c:pt>
                <c:pt idx="2419">
                  <c:v>174.53329039106541</c:v>
                </c:pt>
                <c:pt idx="2420">
                  <c:v>173.33213242869795</c:v>
                </c:pt>
                <c:pt idx="2421">
                  <c:v>173.71308758743919</c:v>
                </c:pt>
                <c:pt idx="2422">
                  <c:v>173.77953444884687</c:v>
                </c:pt>
                <c:pt idx="2423">
                  <c:v>174.32789051036164</c:v>
                </c:pt>
                <c:pt idx="2424">
                  <c:v>174.9698883774893</c:v>
                </c:pt>
                <c:pt idx="2425">
                  <c:v>174.9698883774893</c:v>
                </c:pt>
                <c:pt idx="2426">
                  <c:v>174.9698883774893</c:v>
                </c:pt>
                <c:pt idx="2427">
                  <c:v>174.69222881875396</c:v>
                </c:pt>
                <c:pt idx="2428">
                  <c:v>175.43327050835694</c:v>
                </c:pt>
                <c:pt idx="2429">
                  <c:v>175.84924634675818</c:v>
                </c:pt>
                <c:pt idx="2430">
                  <c:v>175.58452698050718</c:v>
                </c:pt>
                <c:pt idx="2431">
                  <c:v>176.51020262287477</c:v>
                </c:pt>
                <c:pt idx="2432">
                  <c:v>176.51020262287477</c:v>
                </c:pt>
                <c:pt idx="2433">
                  <c:v>176.51020262287477</c:v>
                </c:pt>
                <c:pt idx="2434">
                  <c:v>175.55632557688656</c:v>
                </c:pt>
                <c:pt idx="2435">
                  <c:v>174.87848543057612</c:v>
                </c:pt>
                <c:pt idx="2436">
                  <c:v>174.3258570515427</c:v>
                </c:pt>
                <c:pt idx="2437">
                  <c:v>174.8393567533021</c:v>
                </c:pt>
                <c:pt idx="2438">
                  <c:v>174.78420688533313</c:v>
                </c:pt>
                <c:pt idx="2439">
                  <c:v>174.78420688533313</c:v>
                </c:pt>
                <c:pt idx="2440">
                  <c:v>174.78420688533313</c:v>
                </c:pt>
                <c:pt idx="2441">
                  <c:v>174.78420688533313</c:v>
                </c:pt>
                <c:pt idx="2442">
                  <c:v>175.58384916090091</c:v>
                </c:pt>
                <c:pt idx="2443">
                  <c:v>176.73827865040826</c:v>
                </c:pt>
                <c:pt idx="2444">
                  <c:v>177.82728827791144</c:v>
                </c:pt>
                <c:pt idx="2445">
                  <c:v>177.92417540163939</c:v>
                </c:pt>
                <c:pt idx="2446">
                  <c:v>177.92417540163939</c:v>
                </c:pt>
                <c:pt idx="2447">
                  <c:v>177.92417540163939</c:v>
                </c:pt>
                <c:pt idx="2448">
                  <c:v>178.83185801445734</c:v>
                </c:pt>
                <c:pt idx="2449">
                  <c:v>180.33920557898989</c:v>
                </c:pt>
                <c:pt idx="2450">
                  <c:v>181.47592959878057</c:v>
                </c:pt>
                <c:pt idx="2451">
                  <c:v>180.82431901723598</c:v>
                </c:pt>
                <c:pt idx="2452">
                  <c:v>180.71391658135769</c:v>
                </c:pt>
                <c:pt idx="2453">
                  <c:v>180.71391658135769</c:v>
                </c:pt>
                <c:pt idx="2454">
                  <c:v>180.71391658135769</c:v>
                </c:pt>
                <c:pt idx="2455">
                  <c:v>181.00897350998866</c:v>
                </c:pt>
                <c:pt idx="2456">
                  <c:v>181.30647469719997</c:v>
                </c:pt>
                <c:pt idx="2457">
                  <c:v>180.60832050268792</c:v>
                </c:pt>
                <c:pt idx="2458">
                  <c:v>179.23187428212785</c:v>
                </c:pt>
                <c:pt idx="2459">
                  <c:v>179.31115863607951</c:v>
                </c:pt>
                <c:pt idx="2460">
                  <c:v>179.31115863607951</c:v>
                </c:pt>
                <c:pt idx="2461">
                  <c:v>179.31115863607951</c:v>
                </c:pt>
                <c:pt idx="2462">
                  <c:v>179.74389510474617</c:v>
                </c:pt>
                <c:pt idx="2463">
                  <c:v>180.70044234918353</c:v>
                </c:pt>
                <c:pt idx="2464">
                  <c:v>180.38843993039453</c:v>
                </c:pt>
                <c:pt idx="2465">
                  <c:v>178.54994667819142</c:v>
                </c:pt>
                <c:pt idx="2466">
                  <c:v>178.02371218382842</c:v>
                </c:pt>
                <c:pt idx="2467">
                  <c:v>178.02371218382842</c:v>
                </c:pt>
                <c:pt idx="2468">
                  <c:v>178.02371218382842</c:v>
                </c:pt>
                <c:pt idx="2469">
                  <c:v>179.54621825955687</c:v>
                </c:pt>
                <c:pt idx="2470">
                  <c:v>179.62539991356815</c:v>
                </c:pt>
                <c:pt idx="2471">
                  <c:v>179.47009706376804</c:v>
                </c:pt>
                <c:pt idx="2472">
                  <c:v>180.93057237552401</c:v>
                </c:pt>
                <c:pt idx="2473">
                  <c:v>181.25383070777559</c:v>
                </c:pt>
                <c:pt idx="2474">
                  <c:v>181.25383070777559</c:v>
                </c:pt>
                <c:pt idx="2475">
                  <c:v>181.25383070777559</c:v>
                </c:pt>
                <c:pt idx="2476">
                  <c:v>180.7854778997949</c:v>
                </c:pt>
                <c:pt idx="2477">
                  <c:v>180.75668083652025</c:v>
                </c:pt>
                <c:pt idx="2478">
                  <c:v>180.89976239341848</c:v>
                </c:pt>
                <c:pt idx="2479">
                  <c:v>180.41629215421796</c:v>
                </c:pt>
                <c:pt idx="2480">
                  <c:v>179.20529553756481</c:v>
                </c:pt>
                <c:pt idx="2481">
                  <c:v>179.20529553756478</c:v>
                </c:pt>
                <c:pt idx="2482">
                  <c:v>179.20529553756478</c:v>
                </c:pt>
                <c:pt idx="2483">
                  <c:v>178.43518976484222</c:v>
                </c:pt>
                <c:pt idx="2484">
                  <c:v>177.47632150175289</c:v>
                </c:pt>
                <c:pt idx="2485">
                  <c:v>176.81713166461037</c:v>
                </c:pt>
                <c:pt idx="2486">
                  <c:v>177.31982733264473</c:v>
                </c:pt>
                <c:pt idx="2487">
                  <c:v>176.80111047391549</c:v>
                </c:pt>
                <c:pt idx="2488">
                  <c:v>176.80111047391549</c:v>
                </c:pt>
                <c:pt idx="2489">
                  <c:v>176.80111047391549</c:v>
                </c:pt>
                <c:pt idx="2490">
                  <c:v>176.79351067832943</c:v>
                </c:pt>
                <c:pt idx="2491">
                  <c:v>175.45056517831219</c:v>
                </c:pt>
                <c:pt idx="2492">
                  <c:v>172.89801978083057</c:v>
                </c:pt>
                <c:pt idx="2493">
                  <c:v>172.75144642596038</c:v>
                </c:pt>
                <c:pt idx="2494">
                  <c:v>172.80795193314196</c:v>
                </c:pt>
                <c:pt idx="2495">
                  <c:v>172.80795193314196</c:v>
                </c:pt>
                <c:pt idx="2496">
                  <c:v>172.80795193314196</c:v>
                </c:pt>
                <c:pt idx="2497">
                  <c:v>171.69723153824839</c:v>
                </c:pt>
                <c:pt idx="2498">
                  <c:v>173.8688217769888</c:v>
                </c:pt>
                <c:pt idx="2499">
                  <c:v>172.12462761001674</c:v>
                </c:pt>
                <c:pt idx="2500">
                  <c:v>172.69535171854019</c:v>
                </c:pt>
                <c:pt idx="2501">
                  <c:v>172.28547625659584</c:v>
                </c:pt>
                <c:pt idx="2502">
                  <c:v>172.28547625659587</c:v>
                </c:pt>
                <c:pt idx="2503">
                  <c:v>172.28547625659587</c:v>
                </c:pt>
                <c:pt idx="2504">
                  <c:v>172.62976753663148</c:v>
                </c:pt>
                <c:pt idx="2505">
                  <c:v>172.5481416240398</c:v>
                </c:pt>
                <c:pt idx="2506">
                  <c:v>173.66387377602257</c:v>
                </c:pt>
                <c:pt idx="2507">
                  <c:v>172.39033289569511</c:v>
                </c:pt>
                <c:pt idx="2508">
                  <c:v>172.64675410676568</c:v>
                </c:pt>
                <c:pt idx="2509">
                  <c:v>172.64675410676568</c:v>
                </c:pt>
                <c:pt idx="2510">
                  <c:v>172.64675410676568</c:v>
                </c:pt>
                <c:pt idx="2511">
                  <c:v>173.66689315426891</c:v>
                </c:pt>
                <c:pt idx="2512">
                  <c:v>173.17699389880241</c:v>
                </c:pt>
                <c:pt idx="2513">
                  <c:v>172.93544363909481</c:v>
                </c:pt>
                <c:pt idx="2514">
                  <c:v>171.54114816890163</c:v>
                </c:pt>
                <c:pt idx="2515">
                  <c:v>171.37649962452949</c:v>
                </c:pt>
                <c:pt idx="2516">
                  <c:v>171.37649962452949</c:v>
                </c:pt>
                <c:pt idx="2517">
                  <c:v>171.37649962452949</c:v>
                </c:pt>
                <c:pt idx="2518">
                  <c:v>171.03746658143987</c:v>
                </c:pt>
                <c:pt idx="2519">
                  <c:v>170.66464525797448</c:v>
                </c:pt>
                <c:pt idx="2520">
                  <c:v>170.83603091843369</c:v>
                </c:pt>
                <c:pt idx="2521">
                  <c:v>170.83603091843369</c:v>
                </c:pt>
                <c:pt idx="2522">
                  <c:v>170.37523682606286</c:v>
                </c:pt>
                <c:pt idx="2523">
                  <c:v>170.37523682606286</c:v>
                </c:pt>
                <c:pt idx="2524">
                  <c:v>170.37523682606286</c:v>
                </c:pt>
                <c:pt idx="2525">
                  <c:v>169.84867369189075</c:v>
                </c:pt>
                <c:pt idx="2526">
                  <c:v>170.45739677834442</c:v>
                </c:pt>
                <c:pt idx="2527">
                  <c:v>171.92863504384923</c:v>
                </c:pt>
                <c:pt idx="2528">
                  <c:v>171.76682101783084</c:v>
                </c:pt>
                <c:pt idx="2529">
                  <c:v>173.94697643159657</c:v>
                </c:pt>
                <c:pt idx="2530">
                  <c:v>173.94697643159657</c:v>
                </c:pt>
                <c:pt idx="2531">
                  <c:v>173.94697643159657</c:v>
                </c:pt>
                <c:pt idx="2532">
                  <c:v>173.83059685918982</c:v>
                </c:pt>
                <c:pt idx="2533">
                  <c:v>174.24762023698264</c:v>
                </c:pt>
                <c:pt idx="2534">
                  <c:v>173.89708480057362</c:v>
                </c:pt>
                <c:pt idx="2535">
                  <c:v>173.14505421735299</c:v>
                </c:pt>
                <c:pt idx="2536">
                  <c:v>173.60747096878134</c:v>
                </c:pt>
                <c:pt idx="2537">
                  <c:v>173.60747096878134</c:v>
                </c:pt>
                <c:pt idx="2538">
                  <c:v>173.60747096878134</c:v>
                </c:pt>
                <c:pt idx="2539">
                  <c:v>174.66115181680351</c:v>
                </c:pt>
                <c:pt idx="2540">
                  <c:v>175.28825819258012</c:v>
                </c:pt>
                <c:pt idx="2541">
                  <c:v>176.08286817107066</c:v>
                </c:pt>
                <c:pt idx="2542">
                  <c:v>176.15944124659703</c:v>
                </c:pt>
                <c:pt idx="2543">
                  <c:v>176.96175372061396</c:v>
                </c:pt>
                <c:pt idx="2544">
                  <c:v>176.96175372061398</c:v>
                </c:pt>
                <c:pt idx="2545">
                  <c:v>176.96175372061398</c:v>
                </c:pt>
                <c:pt idx="2546">
                  <c:v>177.938635553241</c:v>
                </c:pt>
                <c:pt idx="2547">
                  <c:v>178.78406146221761</c:v>
                </c:pt>
                <c:pt idx="2548">
                  <c:v>179.63774444639853</c:v>
                </c:pt>
                <c:pt idx="2549">
                  <c:v>179.70634800655361</c:v>
                </c:pt>
                <c:pt idx="2550">
                  <c:v>179.70634800655361</c:v>
                </c:pt>
                <c:pt idx="2551">
                  <c:v>179.70634800655361</c:v>
                </c:pt>
                <c:pt idx="2552">
                  <c:v>179.70634800655361</c:v>
                </c:pt>
                <c:pt idx="2553">
                  <c:v>179.18561822899346</c:v>
                </c:pt>
                <c:pt idx="2554">
                  <c:v>179.11163319196399</c:v>
                </c:pt>
                <c:pt idx="2555">
                  <c:v>178.6361324681348</c:v>
                </c:pt>
                <c:pt idx="2556">
                  <c:v>178.26688510259368</c:v>
                </c:pt>
                <c:pt idx="2557">
                  <c:v>178.26688510259368</c:v>
                </c:pt>
                <c:pt idx="2558">
                  <c:v>178.26688510259368</c:v>
                </c:pt>
                <c:pt idx="2559">
                  <c:v>178.26688510259368</c:v>
                </c:pt>
                <c:pt idx="2560">
                  <c:v>178.82444307876401</c:v>
                </c:pt>
                <c:pt idx="2561">
                  <c:v>179.29055702804504</c:v>
                </c:pt>
                <c:pt idx="2562">
                  <c:v>180.11852394716183</c:v>
                </c:pt>
                <c:pt idx="2563">
                  <c:v>180.82807783505294</c:v>
                </c:pt>
                <c:pt idx="2564">
                  <c:v>180.93669329196911</c:v>
                </c:pt>
                <c:pt idx="2565">
                  <c:v>180.93669329196911</c:v>
                </c:pt>
                <c:pt idx="2566">
                  <c:v>180.93669329196911</c:v>
                </c:pt>
                <c:pt idx="2567">
                  <c:v>180.15331868695304</c:v>
                </c:pt>
                <c:pt idx="2568">
                  <c:v>179.17610821451692</c:v>
                </c:pt>
                <c:pt idx="2569">
                  <c:v>179.96794529461795</c:v>
                </c:pt>
                <c:pt idx="2570">
                  <c:v>180.17648779349648</c:v>
                </c:pt>
                <c:pt idx="2571">
                  <c:v>179.61494505964049</c:v>
                </c:pt>
                <c:pt idx="2572">
                  <c:v>179.61494505964049</c:v>
                </c:pt>
                <c:pt idx="2573">
                  <c:v>179.61494505964049</c:v>
                </c:pt>
                <c:pt idx="2574">
                  <c:v>179.61494505964049</c:v>
                </c:pt>
                <c:pt idx="2575">
                  <c:v>180.01966498457918</c:v>
                </c:pt>
                <c:pt idx="2576">
                  <c:v>180.30003582173978</c:v>
                </c:pt>
                <c:pt idx="2577">
                  <c:v>181.19736628057026</c:v>
                </c:pt>
                <c:pt idx="2578">
                  <c:v>181.38766927004227</c:v>
                </c:pt>
                <c:pt idx="2579">
                  <c:v>181.38766927004227</c:v>
                </c:pt>
                <c:pt idx="2580">
                  <c:v>181.38766927004227</c:v>
                </c:pt>
                <c:pt idx="2581">
                  <c:v>180.85535493921043</c:v>
                </c:pt>
                <c:pt idx="2582">
                  <c:v>180.51521273676502</c:v>
                </c:pt>
                <c:pt idx="2583">
                  <c:v>180.45802940997712</c:v>
                </c:pt>
                <c:pt idx="2584">
                  <c:v>179.89535697677724</c:v>
                </c:pt>
                <c:pt idx="2585">
                  <c:v>179.18395448995983</c:v>
                </c:pt>
                <c:pt idx="2586">
                  <c:v>179.18395448995983</c:v>
                </c:pt>
                <c:pt idx="2587">
                  <c:v>179.18395448995983</c:v>
                </c:pt>
                <c:pt idx="2588">
                  <c:v>179.27168077900842</c:v>
                </c:pt>
                <c:pt idx="2589">
                  <c:v>179.74911226171622</c:v>
                </c:pt>
                <c:pt idx="2590">
                  <c:v>179.49698390815237</c:v>
                </c:pt>
                <c:pt idx="2591">
                  <c:v>178.84132694895794</c:v>
                </c:pt>
                <c:pt idx="2592">
                  <c:v>178.96399175771418</c:v>
                </c:pt>
                <c:pt idx="2593">
                  <c:v>178.96399175771418</c:v>
                </c:pt>
                <c:pt idx="2594">
                  <c:v>178.96399175771418</c:v>
                </c:pt>
                <c:pt idx="2595">
                  <c:v>178.84868026468712</c:v>
                </c:pt>
                <c:pt idx="2596">
                  <c:v>178.85913511861494</c:v>
                </c:pt>
                <c:pt idx="2597">
                  <c:v>178.97658277040136</c:v>
                </c:pt>
                <c:pt idx="2598">
                  <c:v>180.02069198398274</c:v>
                </c:pt>
                <c:pt idx="2599">
                  <c:v>182.11957066495401</c:v>
                </c:pt>
                <c:pt idx="2600">
                  <c:v>182.11957066495401</c:v>
                </c:pt>
                <c:pt idx="2601">
                  <c:v>182.11957066495401</c:v>
                </c:pt>
                <c:pt idx="2602">
                  <c:v>182.11957066495401</c:v>
                </c:pt>
                <c:pt idx="2603">
                  <c:v>182.08980822224004</c:v>
                </c:pt>
                <c:pt idx="2604">
                  <c:v>182.31802802969</c:v>
                </c:pt>
                <c:pt idx="2605">
                  <c:v>182.01237246721476</c:v>
                </c:pt>
                <c:pt idx="2606">
                  <c:v>182.27265519604254</c:v>
                </c:pt>
                <c:pt idx="2607">
                  <c:v>182.27265519604254</c:v>
                </c:pt>
                <c:pt idx="2608">
                  <c:v>182.27265519604254</c:v>
                </c:pt>
                <c:pt idx="2609">
                  <c:v>182.69152717276168</c:v>
                </c:pt>
                <c:pt idx="2610">
                  <c:v>182.23186277973474</c:v>
                </c:pt>
                <c:pt idx="2611">
                  <c:v>182.26363814127961</c:v>
                </c:pt>
                <c:pt idx="2612">
                  <c:v>182.42247386902781</c:v>
                </c:pt>
                <c:pt idx="2613">
                  <c:v>182.48633269193863</c:v>
                </c:pt>
                <c:pt idx="2614">
                  <c:v>182.48633269193863</c:v>
                </c:pt>
                <c:pt idx="2615">
                  <c:v>182.48633269193863</c:v>
                </c:pt>
                <c:pt idx="2616">
                  <c:v>183.98147950355738</c:v>
                </c:pt>
                <c:pt idx="2617">
                  <c:v>184.64479787830209</c:v>
                </c:pt>
                <c:pt idx="2618">
                  <c:v>185.30986215203276</c:v>
                </c:pt>
                <c:pt idx="2619">
                  <c:v>185.26085374049683</c:v>
                </c:pt>
                <c:pt idx="2620">
                  <c:v>185.65696741043399</c:v>
                </c:pt>
                <c:pt idx="2621">
                  <c:v>185.65696741043399</c:v>
                </c:pt>
                <c:pt idx="2622">
                  <c:v>185.65696741043399</c:v>
                </c:pt>
                <c:pt idx="2623">
                  <c:v>186.29192006165349</c:v>
                </c:pt>
                <c:pt idx="2624">
                  <c:v>186.44835261079749</c:v>
                </c:pt>
                <c:pt idx="2625">
                  <c:v>187.37786923093424</c:v>
                </c:pt>
                <c:pt idx="2626">
                  <c:v>187.35550118392558</c:v>
                </c:pt>
                <c:pt idx="2627">
                  <c:v>187.75660607096387</c:v>
                </c:pt>
                <c:pt idx="2628">
                  <c:v>187.75660607096387</c:v>
                </c:pt>
                <c:pt idx="2629">
                  <c:v>187.75660607096387</c:v>
                </c:pt>
                <c:pt idx="2630">
                  <c:v>187.11791514191557</c:v>
                </c:pt>
                <c:pt idx="2631">
                  <c:v>187.59323100585215</c:v>
                </c:pt>
                <c:pt idx="2632">
                  <c:v>187.60958083635617</c:v>
                </c:pt>
                <c:pt idx="2633">
                  <c:v>186.96628894998011</c:v>
                </c:pt>
                <c:pt idx="2634">
                  <c:v>185.93900198662837</c:v>
                </c:pt>
                <c:pt idx="2635">
                  <c:v>185.93900198662837</c:v>
                </c:pt>
                <c:pt idx="2636">
                  <c:v>185.93900198662837</c:v>
                </c:pt>
                <c:pt idx="2637">
                  <c:v>187.40724141387491</c:v>
                </c:pt>
                <c:pt idx="2638">
                  <c:v>187.7441588381933</c:v>
                </c:pt>
                <c:pt idx="2639">
                  <c:v>187.44033133465629</c:v>
                </c:pt>
                <c:pt idx="2640">
                  <c:v>186.30106035634486</c:v>
                </c:pt>
                <c:pt idx="2641">
                  <c:v>186.08473320198769</c:v>
                </c:pt>
                <c:pt idx="2642">
                  <c:v>186.08473320198769</c:v>
                </c:pt>
                <c:pt idx="2643">
                  <c:v>186.08473320198769</c:v>
                </c:pt>
                <c:pt idx="2644">
                  <c:v>186.14906444462409</c:v>
                </c:pt>
                <c:pt idx="2645">
                  <c:v>186.33803233487154</c:v>
                </c:pt>
                <c:pt idx="2646">
                  <c:v>186.00097113063666</c:v>
                </c:pt>
                <c:pt idx="2647">
                  <c:v>186.70955963908844</c:v>
                </c:pt>
                <c:pt idx="2648">
                  <c:v>186.70955963908844</c:v>
                </c:pt>
                <c:pt idx="2649">
                  <c:v>186.70955963908844</c:v>
                </c:pt>
                <c:pt idx="2650">
                  <c:v>186.70955963908844</c:v>
                </c:pt>
                <c:pt idx="2651">
                  <c:v>188.43498025696414</c:v>
                </c:pt>
                <c:pt idx="2652">
                  <c:v>189.1366057094601</c:v>
                </c:pt>
                <c:pt idx="2653">
                  <c:v>189.13983048758712</c:v>
                </c:pt>
                <c:pt idx="2654">
                  <c:v>188.46835773757849</c:v>
                </c:pt>
                <c:pt idx="2655">
                  <c:v>188.79646350701464</c:v>
                </c:pt>
                <c:pt idx="2656">
                  <c:v>188.79646350701464</c:v>
                </c:pt>
                <c:pt idx="2657">
                  <c:v>188.79646350701464</c:v>
                </c:pt>
                <c:pt idx="2658">
                  <c:v>189.0608747734446</c:v>
                </c:pt>
                <c:pt idx="2659">
                  <c:v>189.6779370950548</c:v>
                </c:pt>
                <c:pt idx="2660">
                  <c:v>191.1405074855939</c:v>
                </c:pt>
                <c:pt idx="2661">
                  <c:v>191.56153616106045</c:v>
                </c:pt>
                <c:pt idx="2662">
                  <c:v>191.27588654696572</c:v>
                </c:pt>
                <c:pt idx="2663">
                  <c:v>191.27588654696572</c:v>
                </c:pt>
                <c:pt idx="2664">
                  <c:v>191.27588654696572</c:v>
                </c:pt>
                <c:pt idx="2665">
                  <c:v>189.49498742131192</c:v>
                </c:pt>
                <c:pt idx="2666">
                  <c:v>190.72933800440111</c:v>
                </c:pt>
                <c:pt idx="2667">
                  <c:v>192.08403237759464</c:v>
                </c:pt>
                <c:pt idx="2668">
                  <c:v>193.75767168554495</c:v>
                </c:pt>
                <c:pt idx="2669">
                  <c:v>194.60359055423527</c:v>
                </c:pt>
                <c:pt idx="2670">
                  <c:v>194.60359055423527</c:v>
                </c:pt>
                <c:pt idx="2671">
                  <c:v>194.60359055423527</c:v>
                </c:pt>
                <c:pt idx="2672">
                  <c:v>194.93861829965118</c:v>
                </c:pt>
                <c:pt idx="2673">
                  <c:v>194.62986119897732</c:v>
                </c:pt>
                <c:pt idx="2674">
                  <c:v>193.51289664771033</c:v>
                </c:pt>
                <c:pt idx="2675">
                  <c:v>194.19420805200465</c:v>
                </c:pt>
                <c:pt idx="2676">
                  <c:v>193.11234634034992</c:v>
                </c:pt>
                <c:pt idx="2677">
                  <c:v>193.11234634034994</c:v>
                </c:pt>
                <c:pt idx="2678">
                  <c:v>193.11234634034994</c:v>
                </c:pt>
                <c:pt idx="2679">
                  <c:v>194.10448938411326</c:v>
                </c:pt>
                <c:pt idx="2680">
                  <c:v>193.00321738373205</c:v>
                </c:pt>
                <c:pt idx="2681">
                  <c:v>192.08544963677153</c:v>
                </c:pt>
                <c:pt idx="2682">
                  <c:v>191.14056910555814</c:v>
                </c:pt>
                <c:pt idx="2683">
                  <c:v>189.05415819734557</c:v>
                </c:pt>
                <c:pt idx="2684">
                  <c:v>189.05415819734557</c:v>
                </c:pt>
                <c:pt idx="2685">
                  <c:v>189.05415819734557</c:v>
                </c:pt>
                <c:pt idx="2686">
                  <c:v>190.75004231237608</c:v>
                </c:pt>
                <c:pt idx="2687">
                  <c:v>191.75212671036547</c:v>
                </c:pt>
                <c:pt idx="2688">
                  <c:v>193.59022970279528</c:v>
                </c:pt>
                <c:pt idx="2689">
                  <c:v>193.87522203727175</c:v>
                </c:pt>
                <c:pt idx="2690">
                  <c:v>192.8980115648356</c:v>
                </c:pt>
                <c:pt idx="2691">
                  <c:v>192.8980115648356</c:v>
                </c:pt>
                <c:pt idx="2692">
                  <c:v>192.8980115648356</c:v>
                </c:pt>
                <c:pt idx="2693">
                  <c:v>192.72983014251537</c:v>
                </c:pt>
                <c:pt idx="2694">
                  <c:v>192.25722555700412</c:v>
                </c:pt>
                <c:pt idx="2695">
                  <c:v>191.87323048002844</c:v>
                </c:pt>
                <c:pt idx="2696">
                  <c:v>190.90285982361971</c:v>
                </c:pt>
                <c:pt idx="2697">
                  <c:v>190.57697237289514</c:v>
                </c:pt>
                <c:pt idx="2698">
                  <c:v>190.57697237289514</c:v>
                </c:pt>
                <c:pt idx="2699">
                  <c:v>190.57697237289514</c:v>
                </c:pt>
                <c:pt idx="2700">
                  <c:v>190.75326709050319</c:v>
                </c:pt>
                <c:pt idx="2701">
                  <c:v>190.91477301670056</c:v>
                </c:pt>
                <c:pt idx="2702">
                  <c:v>192.47080035295988</c:v>
                </c:pt>
                <c:pt idx="2703">
                  <c:v>193.64733086963099</c:v>
                </c:pt>
                <c:pt idx="2704">
                  <c:v>193.86663632225836</c:v>
                </c:pt>
                <c:pt idx="2705">
                  <c:v>193.86663632225833</c:v>
                </c:pt>
                <c:pt idx="2706">
                  <c:v>193.86663632225833</c:v>
                </c:pt>
                <c:pt idx="2707">
                  <c:v>193.86663632225833</c:v>
                </c:pt>
                <c:pt idx="2708">
                  <c:v>191.88744415177317</c:v>
                </c:pt>
                <c:pt idx="2709">
                  <c:v>192.30674746824178</c:v>
                </c:pt>
                <c:pt idx="2710">
                  <c:v>193.32520223672327</c:v>
                </c:pt>
                <c:pt idx="2711">
                  <c:v>191.71248453338973</c:v>
                </c:pt>
                <c:pt idx="2712">
                  <c:v>191.71248453338973</c:v>
                </c:pt>
                <c:pt idx="2713">
                  <c:v>191.71248453338973</c:v>
                </c:pt>
                <c:pt idx="2714">
                  <c:v>189.74179591796565</c:v>
                </c:pt>
                <c:pt idx="2715">
                  <c:v>188.51894772819588</c:v>
                </c:pt>
                <c:pt idx="2716">
                  <c:v>189.69549878485503</c:v>
                </c:pt>
                <c:pt idx="2717">
                  <c:v>190.16270135350376</c:v>
                </c:pt>
                <c:pt idx="2718">
                  <c:v>190.92296847194064</c:v>
                </c:pt>
                <c:pt idx="2719">
                  <c:v>190.92296847194064</c:v>
                </c:pt>
                <c:pt idx="2720">
                  <c:v>190.92296847194064</c:v>
                </c:pt>
                <c:pt idx="2721">
                  <c:v>192.50271949442126</c:v>
                </c:pt>
                <c:pt idx="2722">
                  <c:v>192.53948607306722</c:v>
                </c:pt>
                <c:pt idx="2723">
                  <c:v>192.17346348565314</c:v>
                </c:pt>
                <c:pt idx="2724">
                  <c:v>191.45489254299915</c:v>
                </c:pt>
                <c:pt idx="2725">
                  <c:v>191.2406810074132</c:v>
                </c:pt>
                <c:pt idx="2726">
                  <c:v>191.2406810074132</c:v>
                </c:pt>
                <c:pt idx="2727">
                  <c:v>191.2406810074132</c:v>
                </c:pt>
                <c:pt idx="2728">
                  <c:v>189.82512664956718</c:v>
                </c:pt>
                <c:pt idx="2729">
                  <c:v>188.94274930205196</c:v>
                </c:pt>
                <c:pt idx="2730">
                  <c:v>189.05294633804951</c:v>
                </c:pt>
                <c:pt idx="2731">
                  <c:v>189.29361337827007</c:v>
                </c:pt>
                <c:pt idx="2732">
                  <c:v>190.28791312078079</c:v>
                </c:pt>
                <c:pt idx="2733">
                  <c:v>190.28791312078079</c:v>
                </c:pt>
                <c:pt idx="2734">
                  <c:v>190.28791312078079</c:v>
                </c:pt>
                <c:pt idx="2735">
                  <c:v>190.17835282441339</c:v>
                </c:pt>
                <c:pt idx="2736">
                  <c:v>189.49330314229027</c:v>
                </c:pt>
                <c:pt idx="2737">
                  <c:v>189.51842354770034</c:v>
                </c:pt>
                <c:pt idx="2738">
                  <c:v>189.01028478282734</c:v>
                </c:pt>
                <c:pt idx="2739">
                  <c:v>188.45843692334054</c:v>
                </c:pt>
                <c:pt idx="2740">
                  <c:v>188.45843692334054</c:v>
                </c:pt>
                <c:pt idx="2741">
                  <c:v>188.45843692334054</c:v>
                </c:pt>
                <c:pt idx="2742">
                  <c:v>188.45843692334054</c:v>
                </c:pt>
                <c:pt idx="2743">
                  <c:v>186.28978390289421</c:v>
                </c:pt>
                <c:pt idx="2744">
                  <c:v>186.89497411139973</c:v>
                </c:pt>
                <c:pt idx="2745">
                  <c:v>187.33274287714363</c:v>
                </c:pt>
                <c:pt idx="2746">
                  <c:v>187.95588503522265</c:v>
                </c:pt>
                <c:pt idx="2747">
                  <c:v>187.95588503522265</c:v>
                </c:pt>
                <c:pt idx="2748">
                  <c:v>187.95588503522265</c:v>
                </c:pt>
                <c:pt idx="2749">
                  <c:v>186.81092448021573</c:v>
                </c:pt>
                <c:pt idx="2750">
                  <c:v>188.79015773067707</c:v>
                </c:pt>
                <c:pt idx="2751">
                  <c:v>188.39878879798417</c:v>
                </c:pt>
                <c:pt idx="2752">
                  <c:v>187.72723388802328</c:v>
                </c:pt>
                <c:pt idx="2753">
                  <c:v>186.70783428009057</c:v>
                </c:pt>
                <c:pt idx="2754">
                  <c:v>186.70783428009057</c:v>
                </c:pt>
                <c:pt idx="2755">
                  <c:v>186.70783428009057</c:v>
                </c:pt>
                <c:pt idx="2756">
                  <c:v>186.54992285180552</c:v>
                </c:pt>
                <c:pt idx="2757">
                  <c:v>187.11029480634147</c:v>
                </c:pt>
                <c:pt idx="2758">
                  <c:v>187.01205204340087</c:v>
                </c:pt>
                <c:pt idx="2759">
                  <c:v>188.11038682548804</c:v>
                </c:pt>
                <c:pt idx="2760">
                  <c:v>189.23065831483436</c:v>
                </c:pt>
                <c:pt idx="2761">
                  <c:v>189.23065831483436</c:v>
                </c:pt>
                <c:pt idx="2762">
                  <c:v>189.23065831483436</c:v>
                </c:pt>
                <c:pt idx="2763">
                  <c:v>191.39341635870448</c:v>
                </c:pt>
                <c:pt idx="2764">
                  <c:v>190.62635050421633</c:v>
                </c:pt>
                <c:pt idx="2765">
                  <c:v>188.92163419431557</c:v>
                </c:pt>
                <c:pt idx="2766">
                  <c:v>189.28578764281525</c:v>
                </c:pt>
                <c:pt idx="2767">
                  <c:v>189.38575576475378</c:v>
                </c:pt>
                <c:pt idx="2768">
                  <c:v>189.38575576475378</c:v>
                </c:pt>
                <c:pt idx="2769">
                  <c:v>189.38575576475378</c:v>
                </c:pt>
                <c:pt idx="2770">
                  <c:v>189.07192528702649</c:v>
                </c:pt>
                <c:pt idx="2771">
                  <c:v>188.19328621734007</c:v>
                </c:pt>
                <c:pt idx="2772">
                  <c:v>188.70820317827628</c:v>
                </c:pt>
                <c:pt idx="2773">
                  <c:v>186.97154718692607</c:v>
                </c:pt>
                <c:pt idx="2774">
                  <c:v>187.08544142077628</c:v>
                </c:pt>
                <c:pt idx="2775">
                  <c:v>187.08544142077628</c:v>
                </c:pt>
                <c:pt idx="2776">
                  <c:v>187.08544142077628</c:v>
                </c:pt>
                <c:pt idx="2777">
                  <c:v>187.72881546710462</c:v>
                </c:pt>
                <c:pt idx="2778">
                  <c:v>185.83067408954517</c:v>
                </c:pt>
                <c:pt idx="2779">
                  <c:v>184.59223604882999</c:v>
                </c:pt>
                <c:pt idx="2780">
                  <c:v>184.56325412566267</c:v>
                </c:pt>
                <c:pt idx="2781">
                  <c:v>183.98538210129075</c:v>
                </c:pt>
                <c:pt idx="2782">
                  <c:v>183.98538210129075</c:v>
                </c:pt>
                <c:pt idx="2783">
                  <c:v>183.98538210129075</c:v>
                </c:pt>
                <c:pt idx="2784">
                  <c:v>184.42218548759536</c:v>
                </c:pt>
                <c:pt idx="2785">
                  <c:v>185.00328229009432</c:v>
                </c:pt>
                <c:pt idx="2786">
                  <c:v>185.54216941710865</c:v>
                </c:pt>
                <c:pt idx="2787">
                  <c:v>185.05381066074742</c:v>
                </c:pt>
                <c:pt idx="2788">
                  <c:v>185.10160721298715</c:v>
                </c:pt>
                <c:pt idx="2789">
                  <c:v>185.10160721298712</c:v>
                </c:pt>
                <c:pt idx="2790">
                  <c:v>185.10160721298712</c:v>
                </c:pt>
                <c:pt idx="2791">
                  <c:v>184.43744669873158</c:v>
                </c:pt>
                <c:pt idx="2792">
                  <c:v>184.58459517326776</c:v>
                </c:pt>
                <c:pt idx="2793">
                  <c:v>185.70425046297197</c:v>
                </c:pt>
                <c:pt idx="2794">
                  <c:v>185.54746873403079</c:v>
                </c:pt>
                <c:pt idx="2795">
                  <c:v>186.17782042792251</c:v>
                </c:pt>
                <c:pt idx="2796">
                  <c:v>186.17782042792248</c:v>
                </c:pt>
                <c:pt idx="2797">
                  <c:v>186.17782042792248</c:v>
                </c:pt>
                <c:pt idx="2798">
                  <c:v>185.77509288182665</c:v>
                </c:pt>
                <c:pt idx="2799">
                  <c:v>185.8222937744124</c:v>
                </c:pt>
                <c:pt idx="2800">
                  <c:v>186.77440438142656</c:v>
                </c:pt>
                <c:pt idx="2801">
                  <c:v>187.68919383011684</c:v>
                </c:pt>
                <c:pt idx="2802">
                  <c:v>188.26796961396386</c:v>
                </c:pt>
                <c:pt idx="2803">
                  <c:v>188.26796961396388</c:v>
                </c:pt>
                <c:pt idx="2804">
                  <c:v>188.26796961396388</c:v>
                </c:pt>
                <c:pt idx="2805">
                  <c:v>188.26796961396388</c:v>
                </c:pt>
                <c:pt idx="2806">
                  <c:v>187.16669761358267</c:v>
                </c:pt>
                <c:pt idx="2807">
                  <c:v>187.05721947716756</c:v>
                </c:pt>
                <c:pt idx="2808">
                  <c:v>186.42789478267935</c:v>
                </c:pt>
                <c:pt idx="2809">
                  <c:v>185.93468858913349</c:v>
                </c:pt>
                <c:pt idx="2810">
                  <c:v>185.93468858913349</c:v>
                </c:pt>
                <c:pt idx="2811">
                  <c:v>185.93468858913349</c:v>
                </c:pt>
                <c:pt idx="2812">
                  <c:v>187.72945220673478</c:v>
                </c:pt>
                <c:pt idx="2813">
                  <c:v>187.50920191465616</c:v>
                </c:pt>
                <c:pt idx="2814">
                  <c:v>187.83098136776667</c:v>
                </c:pt>
                <c:pt idx="2815">
                  <c:v>187.00862186539305</c:v>
                </c:pt>
                <c:pt idx="2816">
                  <c:v>187.66892086189139</c:v>
                </c:pt>
                <c:pt idx="2817">
                  <c:v>187.66892086189142</c:v>
                </c:pt>
                <c:pt idx="2818">
                  <c:v>187.66892086189142</c:v>
                </c:pt>
                <c:pt idx="2819">
                  <c:v>188.4089355520909</c:v>
                </c:pt>
                <c:pt idx="2820">
                  <c:v>187.15971401763878</c:v>
                </c:pt>
                <c:pt idx="2821">
                  <c:v>185.70831738060991</c:v>
                </c:pt>
                <c:pt idx="2822">
                  <c:v>185.42262668653908</c:v>
                </c:pt>
                <c:pt idx="2823">
                  <c:v>186.48349653038585</c:v>
                </c:pt>
                <c:pt idx="2824">
                  <c:v>186.48349653038585</c:v>
                </c:pt>
                <c:pt idx="2825">
                  <c:v>186.48349653038585</c:v>
                </c:pt>
                <c:pt idx="2826">
                  <c:v>187.078067565059</c:v>
                </c:pt>
                <c:pt idx="2827">
                  <c:v>187.74391235833633</c:v>
                </c:pt>
                <c:pt idx="2828">
                  <c:v>188.81517543614672</c:v>
                </c:pt>
                <c:pt idx="2829">
                  <c:v>189.62116456802826</c:v>
                </c:pt>
                <c:pt idx="2830">
                  <c:v>189.44306233147003</c:v>
                </c:pt>
                <c:pt idx="2831">
                  <c:v>189.44306233147003</c:v>
                </c:pt>
                <c:pt idx="2832">
                  <c:v>189.44306233147003</c:v>
                </c:pt>
                <c:pt idx="2833">
                  <c:v>188.83374358536236</c:v>
                </c:pt>
                <c:pt idx="2834">
                  <c:v>189.07523222510574</c:v>
                </c:pt>
                <c:pt idx="2835">
                  <c:v>188.55971960451546</c:v>
                </c:pt>
                <c:pt idx="2836">
                  <c:v>188.53780343724438</c:v>
                </c:pt>
                <c:pt idx="2837">
                  <c:v>189.65893760608964</c:v>
                </c:pt>
                <c:pt idx="2838">
                  <c:v>189.65893760608964</c:v>
                </c:pt>
                <c:pt idx="2839">
                  <c:v>189.65893760608964</c:v>
                </c:pt>
                <c:pt idx="2840">
                  <c:v>190.04227540344701</c:v>
                </c:pt>
                <c:pt idx="2841">
                  <c:v>189.94427912036326</c:v>
                </c:pt>
                <c:pt idx="2842">
                  <c:v>190.54901744913124</c:v>
                </c:pt>
                <c:pt idx="2843">
                  <c:v>190.01317024035129</c:v>
                </c:pt>
                <c:pt idx="2844">
                  <c:v>189.26641843406472</c:v>
                </c:pt>
                <c:pt idx="2845">
                  <c:v>189.26641843406472</c:v>
                </c:pt>
                <c:pt idx="2846">
                  <c:v>189.26641843406472</c:v>
                </c:pt>
                <c:pt idx="2847">
                  <c:v>189.53658089715435</c:v>
                </c:pt>
                <c:pt idx="2848">
                  <c:v>189.02205419599147</c:v>
                </c:pt>
                <c:pt idx="2849">
                  <c:v>189.17450198744979</c:v>
                </c:pt>
                <c:pt idx="2850">
                  <c:v>188.14900200306016</c:v>
                </c:pt>
                <c:pt idx="2851">
                  <c:v>189.27954348644167</c:v>
                </c:pt>
                <c:pt idx="2852">
                  <c:v>189.27954348644167</c:v>
                </c:pt>
                <c:pt idx="2853">
                  <c:v>189.27954348644167</c:v>
                </c:pt>
                <c:pt idx="2854">
                  <c:v>189.60356179825183</c:v>
                </c:pt>
                <c:pt idx="2855">
                  <c:v>189.57336801578839</c:v>
                </c:pt>
                <c:pt idx="2856">
                  <c:v>188.93186310837444</c:v>
                </c:pt>
                <c:pt idx="2857">
                  <c:v>188.65685320810016</c:v>
                </c:pt>
                <c:pt idx="2858">
                  <c:v>189.90812874135932</c:v>
                </c:pt>
                <c:pt idx="2859">
                  <c:v>189.90812874135935</c:v>
                </c:pt>
                <c:pt idx="2860">
                  <c:v>189.90812874135935</c:v>
                </c:pt>
                <c:pt idx="2861">
                  <c:v>189.40331745455376</c:v>
                </c:pt>
                <c:pt idx="2862">
                  <c:v>190.40675749175577</c:v>
                </c:pt>
                <c:pt idx="2863">
                  <c:v>190.32566561885395</c:v>
                </c:pt>
                <c:pt idx="2864">
                  <c:v>191.0364313660412</c:v>
                </c:pt>
                <c:pt idx="2865">
                  <c:v>191.89726226607061</c:v>
                </c:pt>
                <c:pt idx="2866">
                  <c:v>191.89726226607058</c:v>
                </c:pt>
                <c:pt idx="2867">
                  <c:v>191.89726226607058</c:v>
                </c:pt>
                <c:pt idx="2868">
                  <c:v>192.25975197553657</c:v>
                </c:pt>
                <c:pt idx="2869">
                  <c:v>191.90173998346992</c:v>
                </c:pt>
                <c:pt idx="2870">
                  <c:v>192.54347083075265</c:v>
                </c:pt>
                <c:pt idx="2871">
                  <c:v>192.90339304170985</c:v>
                </c:pt>
                <c:pt idx="2872">
                  <c:v>192.58796044491308</c:v>
                </c:pt>
                <c:pt idx="2873">
                  <c:v>192.58796044491308</c:v>
                </c:pt>
                <c:pt idx="2874">
                  <c:v>192.58796044491308</c:v>
                </c:pt>
                <c:pt idx="2875">
                  <c:v>192.77598349570928</c:v>
                </c:pt>
                <c:pt idx="2876">
                  <c:v>192.59352678168014</c:v>
                </c:pt>
                <c:pt idx="2877">
                  <c:v>193.48434606429231</c:v>
                </c:pt>
                <c:pt idx="2878">
                  <c:v>193.20514600645168</c:v>
                </c:pt>
                <c:pt idx="2879">
                  <c:v>193.7345025790014</c:v>
                </c:pt>
                <c:pt idx="2880">
                  <c:v>193.7345025790014</c:v>
                </c:pt>
                <c:pt idx="2881">
                  <c:v>193.7345025790014</c:v>
                </c:pt>
                <c:pt idx="2882">
                  <c:v>194.90657591826118</c:v>
                </c:pt>
                <c:pt idx="2883">
                  <c:v>195.93234292249571</c:v>
                </c:pt>
                <c:pt idx="2884">
                  <c:v>197.26049963110231</c:v>
                </c:pt>
                <c:pt idx="2885">
                  <c:v>197.26049963110231</c:v>
                </c:pt>
                <c:pt idx="2886">
                  <c:v>197.59152207884446</c:v>
                </c:pt>
                <c:pt idx="2887">
                  <c:v>197.59152207884446</c:v>
                </c:pt>
                <c:pt idx="2888">
                  <c:v>197.59152207884446</c:v>
                </c:pt>
                <c:pt idx="2889">
                  <c:v>197.38491033884455</c:v>
                </c:pt>
                <c:pt idx="2890">
                  <c:v>197.71638466632425</c:v>
                </c:pt>
                <c:pt idx="2891">
                  <c:v>197.19429924955145</c:v>
                </c:pt>
                <c:pt idx="2892">
                  <c:v>197.6201137422384</c:v>
                </c:pt>
                <c:pt idx="2893">
                  <c:v>198.72054360310875</c:v>
                </c:pt>
                <c:pt idx="2894">
                  <c:v>198.72054360310875</c:v>
                </c:pt>
                <c:pt idx="2895">
                  <c:v>198.72054360310875</c:v>
                </c:pt>
                <c:pt idx="2896">
                  <c:v>199.63952320936542</c:v>
                </c:pt>
                <c:pt idx="2897">
                  <c:v>199.83370825658275</c:v>
                </c:pt>
                <c:pt idx="2898">
                  <c:v>199.0692099006034</c:v>
                </c:pt>
                <c:pt idx="2899">
                  <c:v>199.02447380658614</c:v>
                </c:pt>
                <c:pt idx="2900">
                  <c:v>200.48731121697017</c:v>
                </c:pt>
                <c:pt idx="2901">
                  <c:v>200.4873112169702</c:v>
                </c:pt>
                <c:pt idx="2902">
                  <c:v>200.4873112169702</c:v>
                </c:pt>
                <c:pt idx="2903">
                  <c:v>199.28976829250314</c:v>
                </c:pt>
                <c:pt idx="2904">
                  <c:v>198.66734503400659</c:v>
                </c:pt>
                <c:pt idx="2905">
                  <c:v>198.33582962655072</c:v>
                </c:pt>
                <c:pt idx="2906">
                  <c:v>198.97450001561097</c:v>
                </c:pt>
                <c:pt idx="2907">
                  <c:v>199.43211040983084</c:v>
                </c:pt>
                <c:pt idx="2908">
                  <c:v>199.43211040983084</c:v>
                </c:pt>
                <c:pt idx="2909">
                  <c:v>199.43211040983084</c:v>
                </c:pt>
                <c:pt idx="2910">
                  <c:v>199.9399410748828</c:v>
                </c:pt>
                <c:pt idx="2911">
                  <c:v>200.70881444832114</c:v>
                </c:pt>
                <c:pt idx="2912">
                  <c:v>200.34437343998846</c:v>
                </c:pt>
                <c:pt idx="2913">
                  <c:v>200.12689604629932</c:v>
                </c:pt>
                <c:pt idx="2914">
                  <c:v>200.12689604629932</c:v>
                </c:pt>
                <c:pt idx="2915">
                  <c:v>200.12689604629932</c:v>
                </c:pt>
                <c:pt idx="2916">
                  <c:v>200.12689604629932</c:v>
                </c:pt>
                <c:pt idx="2917">
                  <c:v>200.30881872063864</c:v>
                </c:pt>
                <c:pt idx="2918">
                  <c:v>200.06878842004824</c:v>
                </c:pt>
                <c:pt idx="2919">
                  <c:v>200.31085217945758</c:v>
                </c:pt>
                <c:pt idx="2920">
                  <c:v>200.85908500104398</c:v>
                </c:pt>
                <c:pt idx="2921">
                  <c:v>199.57282986810097</c:v>
                </c:pt>
                <c:pt idx="2922">
                  <c:v>199.57282986810097</c:v>
                </c:pt>
                <c:pt idx="2923">
                  <c:v>199.57282986810097</c:v>
                </c:pt>
                <c:pt idx="2924">
                  <c:v>200.07094511879561</c:v>
                </c:pt>
                <c:pt idx="2925">
                  <c:v>198.31894575635684</c:v>
                </c:pt>
                <c:pt idx="2926">
                  <c:v>199.02821208441495</c:v>
                </c:pt>
                <c:pt idx="2927">
                  <c:v>199.11817723216316</c:v>
                </c:pt>
                <c:pt idx="2928">
                  <c:v>199.13031636511275</c:v>
                </c:pt>
                <c:pt idx="2929">
                  <c:v>199.13031636511275</c:v>
                </c:pt>
                <c:pt idx="2930">
                  <c:v>199.13031636511275</c:v>
                </c:pt>
                <c:pt idx="2931">
                  <c:v>199.86585333791288</c:v>
                </c:pt>
                <c:pt idx="2932">
                  <c:v>199.62627491706002</c:v>
                </c:pt>
                <c:pt idx="2933">
                  <c:v>199.75976429952939</c:v>
                </c:pt>
                <c:pt idx="2934">
                  <c:v>199.6481910843311</c:v>
                </c:pt>
                <c:pt idx="2935">
                  <c:v>199.30077772610878</c:v>
                </c:pt>
                <c:pt idx="2936">
                  <c:v>199.30077772610878</c:v>
                </c:pt>
                <c:pt idx="2937">
                  <c:v>199.30077772610878</c:v>
                </c:pt>
                <c:pt idx="2938">
                  <c:v>199.30077772610878</c:v>
                </c:pt>
                <c:pt idx="2939">
                  <c:v>199.40742134417016</c:v>
                </c:pt>
                <c:pt idx="2940">
                  <c:v>198.08107215451378</c:v>
                </c:pt>
                <c:pt idx="2941">
                  <c:v>196.87788073332737</c:v>
                </c:pt>
                <c:pt idx="2942">
                  <c:v>195.91677361153839</c:v>
                </c:pt>
                <c:pt idx="2943">
                  <c:v>195.91677361153839</c:v>
                </c:pt>
                <c:pt idx="2944">
                  <c:v>195.91677361153839</c:v>
                </c:pt>
                <c:pt idx="2945">
                  <c:v>196.13332670576438</c:v>
                </c:pt>
                <c:pt idx="2946">
                  <c:v>196.23243214820394</c:v>
                </c:pt>
                <c:pt idx="2947">
                  <c:v>197.63531333341055</c:v>
                </c:pt>
                <c:pt idx="2948">
                  <c:v>198.59709827480586</c:v>
                </c:pt>
                <c:pt idx="2949">
                  <c:v>198.18256023556955</c:v>
                </c:pt>
                <c:pt idx="2950">
                  <c:v>198.18256023556955</c:v>
                </c:pt>
                <c:pt idx="2951">
                  <c:v>198.18256023556955</c:v>
                </c:pt>
                <c:pt idx="2952">
                  <c:v>198.54402294563198</c:v>
                </c:pt>
                <c:pt idx="2953">
                  <c:v>198.31050382125989</c:v>
                </c:pt>
                <c:pt idx="2954">
                  <c:v>198.00513581861762</c:v>
                </c:pt>
                <c:pt idx="2955">
                  <c:v>198.94584673225273</c:v>
                </c:pt>
                <c:pt idx="2956">
                  <c:v>198.88313814867388</c:v>
                </c:pt>
                <c:pt idx="2957">
                  <c:v>198.88313814867388</c:v>
                </c:pt>
                <c:pt idx="2958">
                  <c:v>198.88313814867388</c:v>
                </c:pt>
                <c:pt idx="2959">
                  <c:v>199.11756103252105</c:v>
                </c:pt>
                <c:pt idx="2960">
                  <c:v>199.4800096620109</c:v>
                </c:pt>
                <c:pt idx="2961">
                  <c:v>199.19310710864391</c:v>
                </c:pt>
                <c:pt idx="2962">
                  <c:v>199.96787545865843</c:v>
                </c:pt>
                <c:pt idx="2963">
                  <c:v>200.60816850677625</c:v>
                </c:pt>
                <c:pt idx="2964">
                  <c:v>200.60816850677625</c:v>
                </c:pt>
                <c:pt idx="2965">
                  <c:v>200.60816850677625</c:v>
                </c:pt>
                <c:pt idx="2966">
                  <c:v>201.35555705269297</c:v>
                </c:pt>
                <c:pt idx="2967">
                  <c:v>201.3232271114702</c:v>
                </c:pt>
                <c:pt idx="2968">
                  <c:v>202.02618766319071</c:v>
                </c:pt>
                <c:pt idx="2969">
                  <c:v>203.35999286851666</c:v>
                </c:pt>
                <c:pt idx="2970">
                  <c:v>202.66820607030641</c:v>
                </c:pt>
                <c:pt idx="2971">
                  <c:v>202.66820607030641</c:v>
                </c:pt>
                <c:pt idx="2972">
                  <c:v>202.66820607030641</c:v>
                </c:pt>
                <c:pt idx="2973">
                  <c:v>202.66820607030641</c:v>
                </c:pt>
                <c:pt idx="2974">
                  <c:v>201.73135667442855</c:v>
                </c:pt>
                <c:pt idx="2975">
                  <c:v>200.42975817039695</c:v>
                </c:pt>
                <c:pt idx="2976">
                  <c:v>200.16031460688978</c:v>
                </c:pt>
                <c:pt idx="2977">
                  <c:v>202.19252048658461</c:v>
                </c:pt>
                <c:pt idx="2978">
                  <c:v>202.19252048658461</c:v>
                </c:pt>
                <c:pt idx="2979">
                  <c:v>202.19252048658461</c:v>
                </c:pt>
                <c:pt idx="2980">
                  <c:v>201.90555631325341</c:v>
                </c:pt>
                <c:pt idx="2981">
                  <c:v>201.36878480501031</c:v>
                </c:pt>
                <c:pt idx="2982">
                  <c:v>201.736738151303</c:v>
                </c:pt>
                <c:pt idx="2983">
                  <c:v>201.86527739664743</c:v>
                </c:pt>
                <c:pt idx="2984">
                  <c:v>201.86418877727971</c:v>
                </c:pt>
                <c:pt idx="2985">
                  <c:v>201.86418877727971</c:v>
                </c:pt>
                <c:pt idx="2986">
                  <c:v>201.86418877727971</c:v>
                </c:pt>
                <c:pt idx="2987">
                  <c:v>201.15500460917389</c:v>
                </c:pt>
                <c:pt idx="2988">
                  <c:v>201.60363902860698</c:v>
                </c:pt>
                <c:pt idx="2989">
                  <c:v>201.85147452466413</c:v>
                </c:pt>
                <c:pt idx="2990">
                  <c:v>201.49046369433924</c:v>
                </c:pt>
                <c:pt idx="2991">
                  <c:v>201.53941048591093</c:v>
                </c:pt>
                <c:pt idx="2992">
                  <c:v>201.53941048591093</c:v>
                </c:pt>
                <c:pt idx="2993">
                  <c:v>201.53941048591093</c:v>
                </c:pt>
                <c:pt idx="2994">
                  <c:v>202.00394285611051</c:v>
                </c:pt>
                <c:pt idx="2995">
                  <c:v>202.74640180489038</c:v>
                </c:pt>
                <c:pt idx="2996">
                  <c:v>203.66238257288876</c:v>
                </c:pt>
                <c:pt idx="2997">
                  <c:v>202.32227159122519</c:v>
                </c:pt>
                <c:pt idx="2998">
                  <c:v>203.28952016944723</c:v>
                </c:pt>
                <c:pt idx="2999">
                  <c:v>203.28952016944723</c:v>
                </c:pt>
                <c:pt idx="3000">
                  <c:v>203.28952016944723</c:v>
                </c:pt>
                <c:pt idx="3001">
                  <c:v>204.4757661004756</c:v>
                </c:pt>
                <c:pt idx="3002">
                  <c:v>203.85736867964081</c:v>
                </c:pt>
                <c:pt idx="3003">
                  <c:v>203.29718158499747</c:v>
                </c:pt>
                <c:pt idx="3004">
                  <c:v>202.80372891159479</c:v>
                </c:pt>
                <c:pt idx="3005">
                  <c:v>204.02380420297507</c:v>
                </c:pt>
                <c:pt idx="3006">
                  <c:v>204.02380420297507</c:v>
                </c:pt>
                <c:pt idx="3007">
                  <c:v>204.02380420297507</c:v>
                </c:pt>
                <c:pt idx="3008">
                  <c:v>204.15238452829561</c:v>
                </c:pt>
                <c:pt idx="3009">
                  <c:v>204.3694922021995</c:v>
                </c:pt>
                <c:pt idx="3010">
                  <c:v>205.63773376560479</c:v>
                </c:pt>
                <c:pt idx="3011">
                  <c:v>206.34595255427132</c:v>
                </c:pt>
                <c:pt idx="3012">
                  <c:v>206.20730763479631</c:v>
                </c:pt>
                <c:pt idx="3013">
                  <c:v>206.20730763479631</c:v>
                </c:pt>
                <c:pt idx="3014">
                  <c:v>206.20730763479631</c:v>
                </c:pt>
                <c:pt idx="3015">
                  <c:v>206.47843547732526</c:v>
                </c:pt>
                <c:pt idx="3016">
                  <c:v>207.64572299936469</c:v>
                </c:pt>
                <c:pt idx="3017">
                  <c:v>207.34645537317934</c:v>
                </c:pt>
                <c:pt idx="3018">
                  <c:v>206.83747446879545</c:v>
                </c:pt>
                <c:pt idx="3019">
                  <c:v>206.20956703348406</c:v>
                </c:pt>
                <c:pt idx="3020">
                  <c:v>206.20956703348406</c:v>
                </c:pt>
                <c:pt idx="3021">
                  <c:v>206.20956703348406</c:v>
                </c:pt>
                <c:pt idx="3022">
                  <c:v>205.48676485328758</c:v>
                </c:pt>
                <c:pt idx="3023">
                  <c:v>204.77199380842657</c:v>
                </c:pt>
                <c:pt idx="3024">
                  <c:v>205.18256762996529</c:v>
                </c:pt>
                <c:pt idx="3025">
                  <c:v>205.47834345817867</c:v>
                </c:pt>
                <c:pt idx="3026">
                  <c:v>206.75408211722967</c:v>
                </c:pt>
                <c:pt idx="3027">
                  <c:v>206.75408211722967</c:v>
                </c:pt>
                <c:pt idx="3028">
                  <c:v>206.75408211722967</c:v>
                </c:pt>
                <c:pt idx="3029">
                  <c:v>206.23503661869131</c:v>
                </c:pt>
                <c:pt idx="3030">
                  <c:v>206.21059403288754</c:v>
                </c:pt>
                <c:pt idx="3031">
                  <c:v>206.77729230374919</c:v>
                </c:pt>
                <c:pt idx="3032">
                  <c:v>207.12092630416657</c:v>
                </c:pt>
                <c:pt idx="3033">
                  <c:v>207.12092630416657</c:v>
                </c:pt>
                <c:pt idx="3034">
                  <c:v>207.12092630416657</c:v>
                </c:pt>
                <c:pt idx="3035">
                  <c:v>207.12092630416657</c:v>
                </c:pt>
                <c:pt idx="3036">
                  <c:v>207.28195981063831</c:v>
                </c:pt>
                <c:pt idx="3037">
                  <c:v>207.18480566706543</c:v>
                </c:pt>
                <c:pt idx="3038">
                  <c:v>207.18275166825839</c:v>
                </c:pt>
                <c:pt idx="3039">
                  <c:v>206.93627181141392</c:v>
                </c:pt>
                <c:pt idx="3040">
                  <c:v>207.49619188621236</c:v>
                </c:pt>
                <c:pt idx="3041">
                  <c:v>207.49619188621236</c:v>
                </c:pt>
                <c:pt idx="3042">
                  <c:v>207.49619188621236</c:v>
                </c:pt>
                <c:pt idx="3043">
                  <c:v>206.55956843020326</c:v>
                </c:pt>
                <c:pt idx="3044">
                  <c:v>205.03790449398571</c:v>
                </c:pt>
                <c:pt idx="3045">
                  <c:v>204.45953950990011</c:v>
                </c:pt>
                <c:pt idx="3046">
                  <c:v>205.73776350750762</c:v>
                </c:pt>
                <c:pt idx="3047">
                  <c:v>205.37348681907952</c:v>
                </c:pt>
                <c:pt idx="3048">
                  <c:v>205.37348681907952</c:v>
                </c:pt>
                <c:pt idx="3049">
                  <c:v>205.37348681907952</c:v>
                </c:pt>
                <c:pt idx="3050">
                  <c:v>206.05510632319493</c:v>
                </c:pt>
                <c:pt idx="3051">
                  <c:v>206.90361323038212</c:v>
                </c:pt>
                <c:pt idx="3052">
                  <c:v>206.61995599513025</c:v>
                </c:pt>
                <c:pt idx="3053">
                  <c:v>206.78037330195988</c:v>
                </c:pt>
                <c:pt idx="3054">
                  <c:v>206.25372800783549</c:v>
                </c:pt>
                <c:pt idx="3055">
                  <c:v>206.25372800783549</c:v>
                </c:pt>
                <c:pt idx="3056">
                  <c:v>206.25372800783549</c:v>
                </c:pt>
                <c:pt idx="3057">
                  <c:v>205.5167532358704</c:v>
                </c:pt>
                <c:pt idx="3058">
                  <c:v>204.52822523000748</c:v>
                </c:pt>
                <c:pt idx="3059">
                  <c:v>205.71804511896008</c:v>
                </c:pt>
                <c:pt idx="3060">
                  <c:v>205.52291523229152</c:v>
                </c:pt>
                <c:pt idx="3061">
                  <c:v>205.24457785394989</c:v>
                </c:pt>
                <c:pt idx="3062">
                  <c:v>205.24457785394989</c:v>
                </c:pt>
                <c:pt idx="3063">
                  <c:v>205.24457785394989</c:v>
                </c:pt>
                <c:pt idx="3064">
                  <c:v>204.57224242444229</c:v>
                </c:pt>
                <c:pt idx="3065">
                  <c:v>204.36848574278417</c:v>
                </c:pt>
                <c:pt idx="3066">
                  <c:v>205.32944908465666</c:v>
                </c:pt>
                <c:pt idx="3067">
                  <c:v>206.11467228859902</c:v>
                </c:pt>
                <c:pt idx="3068">
                  <c:v>206.82248027750416</c:v>
                </c:pt>
                <c:pt idx="3069">
                  <c:v>206.82248027750416</c:v>
                </c:pt>
                <c:pt idx="3070">
                  <c:v>206.82248027750416</c:v>
                </c:pt>
                <c:pt idx="3071">
                  <c:v>206.82248027750416</c:v>
                </c:pt>
                <c:pt idx="3072">
                  <c:v>207.02479915999731</c:v>
                </c:pt>
                <c:pt idx="3073">
                  <c:v>206.20155643813669</c:v>
                </c:pt>
                <c:pt idx="3074">
                  <c:v>205.61965857610298</c:v>
                </c:pt>
                <c:pt idx="3075">
                  <c:v>205.4294582865713</c:v>
                </c:pt>
                <c:pt idx="3076">
                  <c:v>205.4294582865713</c:v>
                </c:pt>
                <c:pt idx="3077">
                  <c:v>205.4294582865713</c:v>
                </c:pt>
                <c:pt idx="3078">
                  <c:v>204.32428368845672</c:v>
                </c:pt>
                <c:pt idx="3079">
                  <c:v>204.90657181026378</c:v>
                </c:pt>
                <c:pt idx="3080">
                  <c:v>204.11535092980486</c:v>
                </c:pt>
                <c:pt idx="3081">
                  <c:v>203.59016397483344</c:v>
                </c:pt>
                <c:pt idx="3082">
                  <c:v>203.50837374233723</c:v>
                </c:pt>
                <c:pt idx="3083">
                  <c:v>203.50837374233723</c:v>
                </c:pt>
                <c:pt idx="3084">
                  <c:v>203.50837374233723</c:v>
                </c:pt>
                <c:pt idx="3085">
                  <c:v>202.89143466065545</c:v>
                </c:pt>
                <c:pt idx="3086">
                  <c:v>204.13120780059521</c:v>
                </c:pt>
                <c:pt idx="3087">
                  <c:v>204.72388915636589</c:v>
                </c:pt>
                <c:pt idx="3088">
                  <c:v>204.62981601100358</c:v>
                </c:pt>
                <c:pt idx="3089">
                  <c:v>204.35425153105143</c:v>
                </c:pt>
                <c:pt idx="3090">
                  <c:v>204.35425153105143</c:v>
                </c:pt>
                <c:pt idx="3091">
                  <c:v>204.35425153105143</c:v>
                </c:pt>
                <c:pt idx="3092">
                  <c:v>204.72793553401576</c:v>
                </c:pt>
                <c:pt idx="3093">
                  <c:v>205.71948291812504</c:v>
                </c:pt>
                <c:pt idx="3094">
                  <c:v>206.0144371468156</c:v>
                </c:pt>
                <c:pt idx="3095">
                  <c:v>206.43797170082672</c:v>
                </c:pt>
                <c:pt idx="3096">
                  <c:v>206.21881002811583</c:v>
                </c:pt>
                <c:pt idx="3097">
                  <c:v>206.21881002811583</c:v>
                </c:pt>
                <c:pt idx="3098">
                  <c:v>206.21881002811583</c:v>
                </c:pt>
                <c:pt idx="3099">
                  <c:v>205.57221120366043</c:v>
                </c:pt>
                <c:pt idx="3100">
                  <c:v>206.06886811520206</c:v>
                </c:pt>
                <c:pt idx="3101">
                  <c:v>205.80636706766268</c:v>
                </c:pt>
                <c:pt idx="3102">
                  <c:v>205.32388274788957</c:v>
                </c:pt>
                <c:pt idx="3103">
                  <c:v>206.02819893882273</c:v>
                </c:pt>
                <c:pt idx="3104">
                  <c:v>206.02819893882273</c:v>
                </c:pt>
                <c:pt idx="3105">
                  <c:v>206.02819893882273</c:v>
                </c:pt>
                <c:pt idx="3106">
                  <c:v>206.02819893882273</c:v>
                </c:pt>
                <c:pt idx="3107">
                  <c:v>206.03271773619821</c:v>
                </c:pt>
                <c:pt idx="3108">
                  <c:v>206.78756229778449</c:v>
                </c:pt>
                <c:pt idx="3109">
                  <c:v>207.65250119542799</c:v>
                </c:pt>
                <c:pt idx="3110">
                  <c:v>207.95587681922743</c:v>
                </c:pt>
                <c:pt idx="3111">
                  <c:v>207.95587681922743</c:v>
                </c:pt>
                <c:pt idx="3112">
                  <c:v>207.95587681922743</c:v>
                </c:pt>
                <c:pt idx="3113">
                  <c:v>207.27949501206996</c:v>
                </c:pt>
                <c:pt idx="3114">
                  <c:v>207.52761806796011</c:v>
                </c:pt>
                <c:pt idx="3115">
                  <c:v>207.78025992122571</c:v>
                </c:pt>
                <c:pt idx="3116">
                  <c:v>206.92374241869106</c:v>
                </c:pt>
                <c:pt idx="3117">
                  <c:v>207.30948339465272</c:v>
                </c:pt>
                <c:pt idx="3118">
                  <c:v>207.30948339465272</c:v>
                </c:pt>
                <c:pt idx="3119">
                  <c:v>207.30948339465272</c:v>
                </c:pt>
                <c:pt idx="3120">
                  <c:v>206.20094023849455</c:v>
                </c:pt>
                <c:pt idx="3121">
                  <c:v>207.52309927058459</c:v>
                </c:pt>
                <c:pt idx="3122">
                  <c:v>207.86283067326858</c:v>
                </c:pt>
                <c:pt idx="3123">
                  <c:v>207.62559381105575</c:v>
                </c:pt>
                <c:pt idx="3124">
                  <c:v>208.42398314735121</c:v>
                </c:pt>
                <c:pt idx="3125">
                  <c:v>208.42398314735121</c:v>
                </c:pt>
                <c:pt idx="3126">
                  <c:v>208.42398314735121</c:v>
                </c:pt>
                <c:pt idx="3127">
                  <c:v>207.66934398564564</c:v>
                </c:pt>
                <c:pt idx="3128">
                  <c:v>207.05560914210284</c:v>
                </c:pt>
                <c:pt idx="3129">
                  <c:v>205.53482842537227</c:v>
                </c:pt>
                <c:pt idx="3130">
                  <c:v>204.59553477091399</c:v>
                </c:pt>
                <c:pt idx="3131">
                  <c:v>205.39988070374986</c:v>
                </c:pt>
                <c:pt idx="3132">
                  <c:v>205.39988070374986</c:v>
                </c:pt>
                <c:pt idx="3133">
                  <c:v>205.39988070374986</c:v>
                </c:pt>
                <c:pt idx="3134">
                  <c:v>204.88021900556939</c:v>
                </c:pt>
                <c:pt idx="3135">
                  <c:v>203.87581358892805</c:v>
                </c:pt>
                <c:pt idx="3136">
                  <c:v>204.06272748036847</c:v>
                </c:pt>
                <c:pt idx="3137">
                  <c:v>202.01489066975208</c:v>
                </c:pt>
                <c:pt idx="3138">
                  <c:v>198.8763804925988</c:v>
                </c:pt>
                <c:pt idx="3139">
                  <c:v>198.8763804925988</c:v>
                </c:pt>
                <c:pt idx="3140">
                  <c:v>198.8763804925988</c:v>
                </c:pt>
                <c:pt idx="3141">
                  <c:v>195.99872816393926</c:v>
                </c:pt>
                <c:pt idx="3142">
                  <c:v>197.59057723939333</c:v>
                </c:pt>
                <c:pt idx="3143">
                  <c:v>198.44914874073498</c:v>
                </c:pt>
                <c:pt idx="3144">
                  <c:v>199.16188632677699</c:v>
                </c:pt>
                <c:pt idx="3145">
                  <c:v>198.84762450930029</c:v>
                </c:pt>
                <c:pt idx="3146">
                  <c:v>198.84762450930029</c:v>
                </c:pt>
                <c:pt idx="3147">
                  <c:v>198.84762450930029</c:v>
                </c:pt>
                <c:pt idx="3148">
                  <c:v>200.45179757759655</c:v>
                </c:pt>
                <c:pt idx="3149">
                  <c:v>199.25431627309368</c:v>
                </c:pt>
                <c:pt idx="3150">
                  <c:v>198.11845493280191</c:v>
                </c:pt>
                <c:pt idx="3151">
                  <c:v>196.74432973089384</c:v>
                </c:pt>
                <c:pt idx="3152">
                  <c:v>196.09115811025589</c:v>
                </c:pt>
                <c:pt idx="3153">
                  <c:v>196.09115811025589</c:v>
                </c:pt>
                <c:pt idx="3154">
                  <c:v>196.09115811025589</c:v>
                </c:pt>
                <c:pt idx="3155">
                  <c:v>195.96381018421954</c:v>
                </c:pt>
                <c:pt idx="3156">
                  <c:v>197.04215955791423</c:v>
                </c:pt>
                <c:pt idx="3157">
                  <c:v>196.80594969510491</c:v>
                </c:pt>
                <c:pt idx="3158">
                  <c:v>195.90629821762249</c:v>
                </c:pt>
                <c:pt idx="3159">
                  <c:v>197.79186912248295</c:v>
                </c:pt>
                <c:pt idx="3160">
                  <c:v>197.79186912248295</c:v>
                </c:pt>
                <c:pt idx="3161">
                  <c:v>197.79186912248295</c:v>
                </c:pt>
                <c:pt idx="3162">
                  <c:v>200.14369775654086</c:v>
                </c:pt>
                <c:pt idx="3163">
                  <c:v>200.72497941893246</c:v>
                </c:pt>
                <c:pt idx="3164">
                  <c:v>200.04305181499601</c:v>
                </c:pt>
                <c:pt idx="3165">
                  <c:v>198.61053142700385</c:v>
                </c:pt>
                <c:pt idx="3166">
                  <c:v>197.15245929385213</c:v>
                </c:pt>
                <c:pt idx="3167">
                  <c:v>197.1524592938521</c:v>
                </c:pt>
                <c:pt idx="3168">
                  <c:v>197.1524592938521</c:v>
                </c:pt>
                <c:pt idx="3169">
                  <c:v>197.1524592938521</c:v>
                </c:pt>
                <c:pt idx="3170">
                  <c:v>197.25181121614852</c:v>
                </c:pt>
                <c:pt idx="3171">
                  <c:v>199.28050475788334</c:v>
                </c:pt>
                <c:pt idx="3172">
                  <c:v>197.98416449079775</c:v>
                </c:pt>
                <c:pt idx="3173">
                  <c:v>197.62280448067563</c:v>
                </c:pt>
                <c:pt idx="3174">
                  <c:v>197.62280448067563</c:v>
                </c:pt>
                <c:pt idx="3175">
                  <c:v>197.62280448067563</c:v>
                </c:pt>
                <c:pt idx="3176">
                  <c:v>197.81329233004027</c:v>
                </c:pt>
                <c:pt idx="3177">
                  <c:v>198.75566698270907</c:v>
                </c:pt>
                <c:pt idx="3178">
                  <c:v>199.67548872847661</c:v>
                </c:pt>
                <c:pt idx="3179">
                  <c:v>199.12460624842913</c:v>
                </c:pt>
                <c:pt idx="3180">
                  <c:v>197.88419636885919</c:v>
                </c:pt>
                <c:pt idx="3181">
                  <c:v>197.88419636885919</c:v>
                </c:pt>
                <c:pt idx="3182">
                  <c:v>197.88419636885919</c:v>
                </c:pt>
                <c:pt idx="3183">
                  <c:v>197.13274090530453</c:v>
                </c:pt>
                <c:pt idx="3184">
                  <c:v>194.60285111466453</c:v>
                </c:pt>
                <c:pt idx="3185">
                  <c:v>193.439897530108</c:v>
                </c:pt>
                <c:pt idx="3186">
                  <c:v>192.77853045422998</c:v>
                </c:pt>
                <c:pt idx="3187">
                  <c:v>193.6366706158222</c:v>
                </c:pt>
                <c:pt idx="3188">
                  <c:v>193.6366706158222</c:v>
                </c:pt>
                <c:pt idx="3189">
                  <c:v>193.6366706158222</c:v>
                </c:pt>
                <c:pt idx="3190">
                  <c:v>193.70831409421166</c:v>
                </c:pt>
                <c:pt idx="3191">
                  <c:v>195.01716321403211</c:v>
                </c:pt>
                <c:pt idx="3192">
                  <c:v>192.56325083926441</c:v>
                </c:pt>
                <c:pt idx="3193">
                  <c:v>193.7811694318973</c:v>
                </c:pt>
                <c:pt idx="3194">
                  <c:v>193.57457823188545</c:v>
                </c:pt>
                <c:pt idx="3195">
                  <c:v>193.57457823188543</c:v>
                </c:pt>
                <c:pt idx="3196">
                  <c:v>193.57457823188543</c:v>
                </c:pt>
                <c:pt idx="3197">
                  <c:v>189.7979933253259</c:v>
                </c:pt>
                <c:pt idx="3198">
                  <c:v>193.20140772862283</c:v>
                </c:pt>
                <c:pt idx="3199">
                  <c:v>193.72437636488266</c:v>
                </c:pt>
                <c:pt idx="3200">
                  <c:v>195.0804263772888</c:v>
                </c:pt>
                <c:pt idx="3201">
                  <c:v>193.21410144125034</c:v>
                </c:pt>
                <c:pt idx="3202">
                  <c:v>193.21410144125034</c:v>
                </c:pt>
                <c:pt idx="3203">
                  <c:v>193.21410144125034</c:v>
                </c:pt>
                <c:pt idx="3204">
                  <c:v>193.97595013876858</c:v>
                </c:pt>
                <c:pt idx="3205">
                  <c:v>194.3787803848048</c:v>
                </c:pt>
                <c:pt idx="3206">
                  <c:v>195.17152122438091</c:v>
                </c:pt>
                <c:pt idx="3207">
                  <c:v>195.83294992022311</c:v>
                </c:pt>
                <c:pt idx="3208">
                  <c:v>196.50604532928929</c:v>
                </c:pt>
                <c:pt idx="3209">
                  <c:v>196.50604532928929</c:v>
                </c:pt>
                <c:pt idx="3210">
                  <c:v>196.50604532928929</c:v>
                </c:pt>
                <c:pt idx="3211">
                  <c:v>194.49195571907254</c:v>
                </c:pt>
                <c:pt idx="3212">
                  <c:v>194.86477704253792</c:v>
                </c:pt>
                <c:pt idx="3213">
                  <c:v>193.71160049230286</c:v>
                </c:pt>
                <c:pt idx="3214">
                  <c:v>194.07443938156604</c:v>
                </c:pt>
                <c:pt idx="3215">
                  <c:v>194.66309489967492</c:v>
                </c:pt>
                <c:pt idx="3216">
                  <c:v>194.66309489967492</c:v>
                </c:pt>
                <c:pt idx="3217">
                  <c:v>194.66309489967492</c:v>
                </c:pt>
                <c:pt idx="3218">
                  <c:v>198.42614395409603</c:v>
                </c:pt>
                <c:pt idx="3219">
                  <c:v>197.5037752498078</c:v>
                </c:pt>
                <c:pt idx="3220">
                  <c:v>198.53213029253916</c:v>
                </c:pt>
                <c:pt idx="3221">
                  <c:v>200.71974172197446</c:v>
                </c:pt>
                <c:pt idx="3222">
                  <c:v>199.80406905379712</c:v>
                </c:pt>
                <c:pt idx="3223">
                  <c:v>199.80406905379712</c:v>
                </c:pt>
                <c:pt idx="3224">
                  <c:v>199.80406905379712</c:v>
                </c:pt>
                <c:pt idx="3225">
                  <c:v>199.23135256643087</c:v>
                </c:pt>
                <c:pt idx="3226">
                  <c:v>198.78947580307289</c:v>
                </c:pt>
                <c:pt idx="3227">
                  <c:v>199.59953185259235</c:v>
                </c:pt>
                <c:pt idx="3228">
                  <c:v>201.21409815485225</c:v>
                </c:pt>
                <c:pt idx="3229">
                  <c:v>201.97777491130879</c:v>
                </c:pt>
                <c:pt idx="3230">
                  <c:v>201.97777491130879</c:v>
                </c:pt>
                <c:pt idx="3231">
                  <c:v>201.97777491130879</c:v>
                </c:pt>
                <c:pt idx="3232">
                  <c:v>200.79128250042359</c:v>
                </c:pt>
                <c:pt idx="3233">
                  <c:v>201.02209034637039</c:v>
                </c:pt>
                <c:pt idx="3234">
                  <c:v>199.82884027941003</c:v>
                </c:pt>
                <c:pt idx="3235">
                  <c:v>199.97826869262201</c:v>
                </c:pt>
                <c:pt idx="3236">
                  <c:v>200.71700990356112</c:v>
                </c:pt>
                <c:pt idx="3237">
                  <c:v>200.71700990356112</c:v>
                </c:pt>
                <c:pt idx="3238">
                  <c:v>200.71700990356112</c:v>
                </c:pt>
                <c:pt idx="3239">
                  <c:v>200.19387694739675</c:v>
                </c:pt>
                <c:pt idx="3240">
                  <c:v>201.06136280356094</c:v>
                </c:pt>
                <c:pt idx="3241">
                  <c:v>201.97387231357541</c:v>
                </c:pt>
                <c:pt idx="3242">
                  <c:v>201.72807027633723</c:v>
                </c:pt>
                <c:pt idx="3243">
                  <c:v>201.51724783878294</c:v>
                </c:pt>
                <c:pt idx="3244">
                  <c:v>201.51724783878294</c:v>
                </c:pt>
                <c:pt idx="3245">
                  <c:v>201.51724783878294</c:v>
                </c:pt>
                <c:pt idx="3246">
                  <c:v>200.8598449806025</c:v>
                </c:pt>
                <c:pt idx="3247">
                  <c:v>200.11707793200162</c:v>
                </c:pt>
                <c:pt idx="3248">
                  <c:v>198.9288601621185</c:v>
                </c:pt>
                <c:pt idx="3249">
                  <c:v>198.9288601621185</c:v>
                </c:pt>
                <c:pt idx="3250">
                  <c:v>197.91071349345808</c:v>
                </c:pt>
                <c:pt idx="3251">
                  <c:v>197.91071349345808</c:v>
                </c:pt>
                <c:pt idx="3252">
                  <c:v>197.91071349345808</c:v>
                </c:pt>
                <c:pt idx="3253">
                  <c:v>199.46478953085074</c:v>
                </c:pt>
                <c:pt idx="3254">
                  <c:v>199.90239397669009</c:v>
                </c:pt>
                <c:pt idx="3255">
                  <c:v>202.05966784374544</c:v>
                </c:pt>
                <c:pt idx="3256">
                  <c:v>201.5021920275274</c:v>
                </c:pt>
                <c:pt idx="3257">
                  <c:v>202.23364154270155</c:v>
                </c:pt>
                <c:pt idx="3258">
                  <c:v>202.23364154270155</c:v>
                </c:pt>
                <c:pt idx="3259">
                  <c:v>202.23364154270155</c:v>
                </c:pt>
                <c:pt idx="3260">
                  <c:v>203.46610244688824</c:v>
                </c:pt>
                <c:pt idx="3261">
                  <c:v>202.93711559412381</c:v>
                </c:pt>
                <c:pt idx="3262">
                  <c:v>202.0203953865549</c:v>
                </c:pt>
                <c:pt idx="3263">
                  <c:v>200.93093387931415</c:v>
                </c:pt>
                <c:pt idx="3264">
                  <c:v>202.43333130672173</c:v>
                </c:pt>
                <c:pt idx="3265">
                  <c:v>202.43333130672173</c:v>
                </c:pt>
                <c:pt idx="3266">
                  <c:v>202.43333130672173</c:v>
                </c:pt>
                <c:pt idx="3267">
                  <c:v>202.10545147715436</c:v>
                </c:pt>
                <c:pt idx="3268">
                  <c:v>200.18446963286061</c:v>
                </c:pt>
                <c:pt idx="3269">
                  <c:v>199.3020717453573</c:v>
                </c:pt>
                <c:pt idx="3270">
                  <c:v>199.73394553452502</c:v>
                </c:pt>
                <c:pt idx="3271">
                  <c:v>200.71959794205807</c:v>
                </c:pt>
                <c:pt idx="3272">
                  <c:v>200.71959794205807</c:v>
                </c:pt>
                <c:pt idx="3273">
                  <c:v>200.71959794205807</c:v>
                </c:pt>
                <c:pt idx="3274">
                  <c:v>199.58439388138459</c:v>
                </c:pt>
                <c:pt idx="3275">
                  <c:v>201.029238262219</c:v>
                </c:pt>
                <c:pt idx="3276">
                  <c:v>201.74793244480139</c:v>
                </c:pt>
                <c:pt idx="3277">
                  <c:v>202.17826573486383</c:v>
                </c:pt>
                <c:pt idx="3278">
                  <c:v>201.65357173960609</c:v>
                </c:pt>
                <c:pt idx="3279">
                  <c:v>201.65357173960609</c:v>
                </c:pt>
                <c:pt idx="3280">
                  <c:v>201.65357173960609</c:v>
                </c:pt>
                <c:pt idx="3281">
                  <c:v>201.65357173960609</c:v>
                </c:pt>
                <c:pt idx="3282">
                  <c:v>202.11896678930464</c:v>
                </c:pt>
                <c:pt idx="3283">
                  <c:v>201.19347600682968</c:v>
                </c:pt>
                <c:pt idx="3284">
                  <c:v>201.67466630735439</c:v>
                </c:pt>
                <c:pt idx="3285">
                  <c:v>201.86418877727974</c:v>
                </c:pt>
                <c:pt idx="3286">
                  <c:v>201.86418877727974</c:v>
                </c:pt>
                <c:pt idx="3287">
                  <c:v>201.86418877727974</c:v>
                </c:pt>
                <c:pt idx="3288">
                  <c:v>201.86418877727974</c:v>
                </c:pt>
                <c:pt idx="3289">
                  <c:v>200.94672913014031</c:v>
                </c:pt>
                <c:pt idx="3290">
                  <c:v>200.47597314355539</c:v>
                </c:pt>
                <c:pt idx="3291">
                  <c:v>201.2253129883388</c:v>
                </c:pt>
                <c:pt idx="3292">
                  <c:v>201.53674028746184</c:v>
                </c:pt>
                <c:pt idx="3293">
                  <c:v>201.53674028746184</c:v>
                </c:pt>
                <c:pt idx="3294">
                  <c:v>201.53674028746184</c:v>
                </c:pt>
                <c:pt idx="3295">
                  <c:v>201.95887812228418</c:v>
                </c:pt>
                <c:pt idx="3296">
                  <c:v>202.45734255277603</c:v>
                </c:pt>
                <c:pt idx="3297">
                  <c:v>202.50460506532596</c:v>
                </c:pt>
                <c:pt idx="3298">
                  <c:v>201.94659520941809</c:v>
                </c:pt>
                <c:pt idx="3299">
                  <c:v>200.97910015133922</c:v>
                </c:pt>
                <c:pt idx="3300">
                  <c:v>200.97910015133925</c:v>
                </c:pt>
                <c:pt idx="3301">
                  <c:v>200.97910015133925</c:v>
                </c:pt>
                <c:pt idx="3302">
                  <c:v>200.97910015133925</c:v>
                </c:pt>
                <c:pt idx="3303">
                  <c:v>200.258126030081</c:v>
                </c:pt>
                <c:pt idx="3304">
                  <c:v>201.3852167954667</c:v>
                </c:pt>
                <c:pt idx="3305">
                  <c:v>201.54629138191459</c:v>
                </c:pt>
                <c:pt idx="3306">
                  <c:v>201.22108175079634</c:v>
                </c:pt>
                <c:pt idx="3307">
                  <c:v>201.22108175079634</c:v>
                </c:pt>
                <c:pt idx="3308">
                  <c:v>201.22108175079634</c:v>
                </c:pt>
                <c:pt idx="3309">
                  <c:v>201.08592862929328</c:v>
                </c:pt>
                <c:pt idx="3310">
                  <c:v>202.01306261081388</c:v>
                </c:pt>
                <c:pt idx="3311">
                  <c:v>203.1646575819675</c:v>
                </c:pt>
                <c:pt idx="3312">
                  <c:v>202.90279327405827</c:v>
                </c:pt>
                <c:pt idx="3313">
                  <c:v>205.37794399649073</c:v>
                </c:pt>
                <c:pt idx="3314">
                  <c:v>205.37794399649073</c:v>
                </c:pt>
                <c:pt idx="3315">
                  <c:v>205.37794399649073</c:v>
                </c:pt>
                <c:pt idx="3316">
                  <c:v>204.15109050904724</c:v>
                </c:pt>
                <c:pt idx="3317">
                  <c:v>203.60793106451422</c:v>
                </c:pt>
                <c:pt idx="3318">
                  <c:v>205.14105631407509</c:v>
                </c:pt>
                <c:pt idx="3319">
                  <c:v>205.40686429969381</c:v>
                </c:pt>
                <c:pt idx="3320">
                  <c:v>206.70334834669589</c:v>
                </c:pt>
                <c:pt idx="3321">
                  <c:v>206.70334834669589</c:v>
                </c:pt>
                <c:pt idx="3322">
                  <c:v>206.70334834669589</c:v>
                </c:pt>
                <c:pt idx="3323">
                  <c:v>206.56490882710156</c:v>
                </c:pt>
                <c:pt idx="3324">
                  <c:v>206.76291431209998</c:v>
                </c:pt>
                <c:pt idx="3325">
                  <c:v>207.00220517311985</c:v>
                </c:pt>
                <c:pt idx="3326">
                  <c:v>206.72491533416979</c:v>
                </c:pt>
                <c:pt idx="3327">
                  <c:v>205.95035238403594</c:v>
                </c:pt>
                <c:pt idx="3328">
                  <c:v>205.95035238403594</c:v>
                </c:pt>
                <c:pt idx="3329">
                  <c:v>205.95035238403594</c:v>
                </c:pt>
                <c:pt idx="3330">
                  <c:v>207.13776909438434</c:v>
                </c:pt>
                <c:pt idx="3331">
                  <c:v>207.00631317073393</c:v>
                </c:pt>
                <c:pt idx="3332">
                  <c:v>207.08477592516275</c:v>
                </c:pt>
                <c:pt idx="3333">
                  <c:v>208.28061403061997</c:v>
                </c:pt>
                <c:pt idx="3334">
                  <c:v>207.77266012563959</c:v>
                </c:pt>
                <c:pt idx="3335">
                  <c:v>207.77266012563959</c:v>
                </c:pt>
                <c:pt idx="3336">
                  <c:v>207.77266012563959</c:v>
                </c:pt>
                <c:pt idx="3337">
                  <c:v>207.77266012563959</c:v>
                </c:pt>
                <c:pt idx="3338">
                  <c:v>207.10244031490325</c:v>
                </c:pt>
                <c:pt idx="3339">
                  <c:v>206.78242730076681</c:v>
                </c:pt>
                <c:pt idx="3340">
                  <c:v>208.01605898427354</c:v>
                </c:pt>
                <c:pt idx="3341">
                  <c:v>207.48530569253506</c:v>
                </c:pt>
                <c:pt idx="3342">
                  <c:v>207.48530569253506</c:v>
                </c:pt>
                <c:pt idx="3343">
                  <c:v>207.48530569253506</c:v>
                </c:pt>
                <c:pt idx="3344">
                  <c:v>207.28298681004185</c:v>
                </c:pt>
                <c:pt idx="3345">
                  <c:v>206.34780115319768</c:v>
                </c:pt>
                <c:pt idx="3346">
                  <c:v>205.67491114401221</c:v>
                </c:pt>
                <c:pt idx="3347">
                  <c:v>205.77473548603425</c:v>
                </c:pt>
                <c:pt idx="3348">
                  <c:v>204.29639038465706</c:v>
                </c:pt>
                <c:pt idx="3349">
                  <c:v>204.29639038465706</c:v>
                </c:pt>
                <c:pt idx="3350">
                  <c:v>204.29639038465706</c:v>
                </c:pt>
                <c:pt idx="3351">
                  <c:v>204.25280452997171</c:v>
                </c:pt>
                <c:pt idx="3352">
                  <c:v>203.41265739792919</c:v>
                </c:pt>
                <c:pt idx="3353">
                  <c:v>203.60029018895207</c:v>
                </c:pt>
                <c:pt idx="3354">
                  <c:v>203.92769759879383</c:v>
                </c:pt>
                <c:pt idx="3355">
                  <c:v>205.95692518021846</c:v>
                </c:pt>
                <c:pt idx="3356">
                  <c:v>205.95692518021846</c:v>
                </c:pt>
                <c:pt idx="3357">
                  <c:v>205.95692518021846</c:v>
                </c:pt>
                <c:pt idx="3358">
                  <c:v>205.18264978991763</c:v>
                </c:pt>
                <c:pt idx="3359">
                  <c:v>205.54571461904959</c:v>
                </c:pt>
                <c:pt idx="3360">
                  <c:v>204.48081893754099</c:v>
                </c:pt>
                <c:pt idx="3361">
                  <c:v>205.14214493344286</c:v>
                </c:pt>
                <c:pt idx="3362">
                  <c:v>204.95781908049932</c:v>
                </c:pt>
                <c:pt idx="3363">
                  <c:v>204.95781908049932</c:v>
                </c:pt>
                <c:pt idx="3364">
                  <c:v>204.95781908049932</c:v>
                </c:pt>
                <c:pt idx="3365">
                  <c:v>205.19813694092269</c:v>
                </c:pt>
                <c:pt idx="3366">
                  <c:v>204.00246315537004</c:v>
                </c:pt>
                <c:pt idx="3367">
                  <c:v>204.22994352324943</c:v>
                </c:pt>
                <c:pt idx="3368">
                  <c:v>203.32470516901188</c:v>
                </c:pt>
                <c:pt idx="3369">
                  <c:v>203.93176451643183</c:v>
                </c:pt>
                <c:pt idx="3370">
                  <c:v>203.93176451643183</c:v>
                </c:pt>
                <c:pt idx="3371">
                  <c:v>203.93176451643183</c:v>
                </c:pt>
                <c:pt idx="3372">
                  <c:v>204.23438016067266</c:v>
                </c:pt>
                <c:pt idx="3373">
                  <c:v>203.82230692000479</c:v>
                </c:pt>
                <c:pt idx="3374">
                  <c:v>203.59437467238783</c:v>
                </c:pt>
                <c:pt idx="3375">
                  <c:v>203.56124367163034</c:v>
                </c:pt>
                <c:pt idx="3376">
                  <c:v>202.29936950452685</c:v>
                </c:pt>
                <c:pt idx="3377">
                  <c:v>202.29936950452685</c:v>
                </c:pt>
                <c:pt idx="3378">
                  <c:v>202.29936950452685</c:v>
                </c:pt>
                <c:pt idx="3379">
                  <c:v>202.54227540344712</c:v>
                </c:pt>
                <c:pt idx="3380">
                  <c:v>203.34271873854965</c:v>
                </c:pt>
                <c:pt idx="3381">
                  <c:v>201.97387231357564</c:v>
                </c:pt>
                <c:pt idx="3382">
                  <c:v>201.24406599744714</c:v>
                </c:pt>
                <c:pt idx="3383">
                  <c:v>201.24406599744714</c:v>
                </c:pt>
                <c:pt idx="3384">
                  <c:v>201.24406599744714</c:v>
                </c:pt>
                <c:pt idx="3385">
                  <c:v>201.24406599744714</c:v>
                </c:pt>
                <c:pt idx="3386">
                  <c:v>201.0290123223503</c:v>
                </c:pt>
                <c:pt idx="3387">
                  <c:v>199.5918704370423</c:v>
                </c:pt>
                <c:pt idx="3388">
                  <c:v>200.53794228756377</c:v>
                </c:pt>
                <c:pt idx="3389">
                  <c:v>201.42744701093943</c:v>
                </c:pt>
                <c:pt idx="3390">
                  <c:v>200.56560965149458</c:v>
                </c:pt>
                <c:pt idx="3391">
                  <c:v>200.56560965149458</c:v>
                </c:pt>
                <c:pt idx="3392">
                  <c:v>200.56560965149458</c:v>
                </c:pt>
                <c:pt idx="3393">
                  <c:v>200.41998113607559</c:v>
                </c:pt>
                <c:pt idx="3394">
                  <c:v>200.81777908503454</c:v>
                </c:pt>
                <c:pt idx="3395">
                  <c:v>200.05215102971133</c:v>
                </c:pt>
                <c:pt idx="3396">
                  <c:v>201.30539840182524</c:v>
                </c:pt>
                <c:pt idx="3397">
                  <c:v>201.77438794943612</c:v>
                </c:pt>
                <c:pt idx="3398">
                  <c:v>201.77438794943612</c:v>
                </c:pt>
                <c:pt idx="3399">
                  <c:v>201.77438794943612</c:v>
                </c:pt>
                <c:pt idx="3400">
                  <c:v>201.38488815565759</c:v>
                </c:pt>
                <c:pt idx="3401">
                  <c:v>201.16465840356705</c:v>
                </c:pt>
                <c:pt idx="3402">
                  <c:v>202.64103166608948</c:v>
                </c:pt>
                <c:pt idx="3403">
                  <c:v>203.11129469296071</c:v>
                </c:pt>
                <c:pt idx="3404">
                  <c:v>203.50198580604732</c:v>
                </c:pt>
                <c:pt idx="3405">
                  <c:v>203.50198580604732</c:v>
                </c:pt>
                <c:pt idx="3406">
                  <c:v>203.50198580604732</c:v>
                </c:pt>
                <c:pt idx="3407">
                  <c:v>202.6296319727104</c:v>
                </c:pt>
                <c:pt idx="3408">
                  <c:v>202.35386209287756</c:v>
                </c:pt>
                <c:pt idx="3409">
                  <c:v>203.14189927518558</c:v>
                </c:pt>
                <c:pt idx="3410">
                  <c:v>201.95633116376354</c:v>
                </c:pt>
                <c:pt idx="3411">
                  <c:v>202.03000810097197</c:v>
                </c:pt>
                <c:pt idx="3412">
                  <c:v>202.03000810097194</c:v>
                </c:pt>
                <c:pt idx="3413">
                  <c:v>202.03000810097194</c:v>
                </c:pt>
                <c:pt idx="3414">
                  <c:v>202.06285154189646</c:v>
                </c:pt>
                <c:pt idx="3415">
                  <c:v>201.85547982233797</c:v>
                </c:pt>
                <c:pt idx="3416">
                  <c:v>202.63065897211391</c:v>
                </c:pt>
                <c:pt idx="3417">
                  <c:v>202.14293695538285</c:v>
                </c:pt>
                <c:pt idx="3418">
                  <c:v>202.808720128696</c:v>
                </c:pt>
                <c:pt idx="3419">
                  <c:v>202.808720128696</c:v>
                </c:pt>
                <c:pt idx="3420">
                  <c:v>202.808720128696</c:v>
                </c:pt>
                <c:pt idx="3421">
                  <c:v>202.41172323927177</c:v>
                </c:pt>
                <c:pt idx="3422">
                  <c:v>202.50142136717511</c:v>
                </c:pt>
                <c:pt idx="3423">
                  <c:v>202.19114430738404</c:v>
                </c:pt>
                <c:pt idx="3424">
                  <c:v>200.388575494316</c:v>
                </c:pt>
                <c:pt idx="3425">
                  <c:v>199.38330739817567</c:v>
                </c:pt>
                <c:pt idx="3426">
                  <c:v>199.38330739817567</c:v>
                </c:pt>
                <c:pt idx="3427">
                  <c:v>199.38330739817567</c:v>
                </c:pt>
                <c:pt idx="3428">
                  <c:v>200.56285729309309</c:v>
                </c:pt>
                <c:pt idx="3429">
                  <c:v>200.32453181151254</c:v>
                </c:pt>
                <c:pt idx="3430">
                  <c:v>201.42288713358778</c:v>
                </c:pt>
                <c:pt idx="3431">
                  <c:v>201.27588243896813</c:v>
                </c:pt>
                <c:pt idx="3432">
                  <c:v>201.70134775185787</c:v>
                </c:pt>
                <c:pt idx="3433">
                  <c:v>201.70134775185787</c:v>
                </c:pt>
                <c:pt idx="3434">
                  <c:v>201.70134775185787</c:v>
                </c:pt>
                <c:pt idx="3435">
                  <c:v>201.70134775185787</c:v>
                </c:pt>
                <c:pt idx="3436">
                  <c:v>202.4028499644254</c:v>
                </c:pt>
                <c:pt idx="3437">
                  <c:v>201.3290810080704</c:v>
                </c:pt>
                <c:pt idx="3438">
                  <c:v>201.20545081987481</c:v>
                </c:pt>
                <c:pt idx="3439">
                  <c:v>200.19782062510643</c:v>
                </c:pt>
                <c:pt idx="3440">
                  <c:v>200.19782062510643</c:v>
                </c:pt>
                <c:pt idx="3441">
                  <c:v>200.19782062510643</c:v>
                </c:pt>
                <c:pt idx="3442">
                  <c:v>199.39287903261652</c:v>
                </c:pt>
                <c:pt idx="3443">
                  <c:v>200.73535211290817</c:v>
                </c:pt>
                <c:pt idx="3444">
                  <c:v>201.62908807382635</c:v>
                </c:pt>
                <c:pt idx="3445">
                  <c:v>200.52876091289636</c:v>
                </c:pt>
                <c:pt idx="3446">
                  <c:v>200.88607454536861</c:v>
                </c:pt>
                <c:pt idx="3447">
                  <c:v>200.88607454536861</c:v>
                </c:pt>
                <c:pt idx="3448">
                  <c:v>200.88607454536861</c:v>
                </c:pt>
                <c:pt idx="3449">
                  <c:v>199.10402518038288</c:v>
                </c:pt>
                <c:pt idx="3450">
                  <c:v>199.13960043972074</c:v>
                </c:pt>
                <c:pt idx="3451">
                  <c:v>198.08840493025508</c:v>
                </c:pt>
                <c:pt idx="3452">
                  <c:v>197.82276126454093</c:v>
                </c:pt>
                <c:pt idx="3453">
                  <c:v>197.88731844704611</c:v>
                </c:pt>
                <c:pt idx="3454">
                  <c:v>197.88731844704611</c:v>
                </c:pt>
                <c:pt idx="3455">
                  <c:v>197.88731844704611</c:v>
                </c:pt>
                <c:pt idx="3456">
                  <c:v>198.46262297290926</c:v>
                </c:pt>
                <c:pt idx="3457">
                  <c:v>199.44546140207669</c:v>
                </c:pt>
                <c:pt idx="3458">
                  <c:v>199.65517468027522</c:v>
                </c:pt>
                <c:pt idx="3459">
                  <c:v>198.70267381348773</c:v>
                </c:pt>
                <c:pt idx="3460">
                  <c:v>199.17655187825935</c:v>
                </c:pt>
                <c:pt idx="3461">
                  <c:v>199.17655187825935</c:v>
                </c:pt>
                <c:pt idx="3462">
                  <c:v>199.17655187825935</c:v>
                </c:pt>
                <c:pt idx="3463">
                  <c:v>198.87783883175189</c:v>
                </c:pt>
                <c:pt idx="3464">
                  <c:v>198.85150656704565</c:v>
                </c:pt>
                <c:pt idx="3465">
                  <c:v>199.81242882894199</c:v>
                </c:pt>
                <c:pt idx="3466">
                  <c:v>201.39591812925138</c:v>
                </c:pt>
                <c:pt idx="3467">
                  <c:v>201.88460552542176</c:v>
                </c:pt>
                <c:pt idx="3468">
                  <c:v>201.88460552542173</c:v>
                </c:pt>
                <c:pt idx="3469">
                  <c:v>201.88460552542173</c:v>
                </c:pt>
                <c:pt idx="3470">
                  <c:v>202.96449539822169</c:v>
                </c:pt>
                <c:pt idx="3471">
                  <c:v>203.95059968549234</c:v>
                </c:pt>
                <c:pt idx="3472">
                  <c:v>203.95059968549234</c:v>
                </c:pt>
                <c:pt idx="3473">
                  <c:v>204.72516263562616</c:v>
                </c:pt>
                <c:pt idx="3474">
                  <c:v>203.97705519012695</c:v>
                </c:pt>
                <c:pt idx="3475">
                  <c:v>203.97705519012695</c:v>
                </c:pt>
                <c:pt idx="3476">
                  <c:v>203.97705519012695</c:v>
                </c:pt>
                <c:pt idx="3477">
                  <c:v>203.51599407791124</c:v>
                </c:pt>
                <c:pt idx="3478">
                  <c:v>202.95508808368544</c:v>
                </c:pt>
                <c:pt idx="3479">
                  <c:v>202.31867709331294</c:v>
                </c:pt>
                <c:pt idx="3480">
                  <c:v>202.37101298291623</c:v>
                </c:pt>
                <c:pt idx="3481">
                  <c:v>202.15394638898852</c:v>
                </c:pt>
                <c:pt idx="3482">
                  <c:v>202.15394638898852</c:v>
                </c:pt>
                <c:pt idx="3483">
                  <c:v>202.15394638898852</c:v>
                </c:pt>
                <c:pt idx="3484">
                  <c:v>201.47826294142547</c:v>
                </c:pt>
                <c:pt idx="3485">
                  <c:v>201.05616618657928</c:v>
                </c:pt>
                <c:pt idx="3486">
                  <c:v>201.08588754931711</c:v>
                </c:pt>
                <c:pt idx="3487">
                  <c:v>200.40866360264877</c:v>
                </c:pt>
                <c:pt idx="3488">
                  <c:v>200.11841303122628</c:v>
                </c:pt>
                <c:pt idx="3489">
                  <c:v>200.11841303122628</c:v>
                </c:pt>
                <c:pt idx="3490">
                  <c:v>200.11841303122628</c:v>
                </c:pt>
                <c:pt idx="3491">
                  <c:v>199.04295979584953</c:v>
                </c:pt>
                <c:pt idx="3492">
                  <c:v>197.86614171934545</c:v>
                </c:pt>
                <c:pt idx="3493">
                  <c:v>197.29225445265917</c:v>
                </c:pt>
                <c:pt idx="3494">
                  <c:v>196.90602051698383</c:v>
                </c:pt>
                <c:pt idx="3495">
                  <c:v>197.72983835851045</c:v>
                </c:pt>
                <c:pt idx="3496">
                  <c:v>197.72983835851045</c:v>
                </c:pt>
                <c:pt idx="3497">
                  <c:v>197.72983835851045</c:v>
                </c:pt>
                <c:pt idx="3498">
                  <c:v>197.68165154649736</c:v>
                </c:pt>
                <c:pt idx="3499">
                  <c:v>198.25373129423346</c:v>
                </c:pt>
                <c:pt idx="3500">
                  <c:v>196.39135003590448</c:v>
                </c:pt>
                <c:pt idx="3501">
                  <c:v>196.25864117298178</c:v>
                </c:pt>
                <c:pt idx="3502">
                  <c:v>195.83446987934047</c:v>
                </c:pt>
                <c:pt idx="3503">
                  <c:v>195.83446987934047</c:v>
                </c:pt>
                <c:pt idx="3504">
                  <c:v>195.83446987934047</c:v>
                </c:pt>
                <c:pt idx="3505">
                  <c:v>196.97563053655435</c:v>
                </c:pt>
                <c:pt idx="3506">
                  <c:v>198.01686415180586</c:v>
                </c:pt>
                <c:pt idx="3507">
                  <c:v>198.66434619574832</c:v>
                </c:pt>
                <c:pt idx="3508">
                  <c:v>200.00010269994095</c:v>
                </c:pt>
                <c:pt idx="3509">
                  <c:v>199.45456061679178</c:v>
                </c:pt>
                <c:pt idx="3510">
                  <c:v>199.45456061679178</c:v>
                </c:pt>
                <c:pt idx="3511">
                  <c:v>199.45456061679178</c:v>
                </c:pt>
                <c:pt idx="3512">
                  <c:v>199.27573948065111</c:v>
                </c:pt>
                <c:pt idx="3513">
                  <c:v>198.91557078983709</c:v>
                </c:pt>
                <c:pt idx="3514">
                  <c:v>200.11705739201369</c:v>
                </c:pt>
                <c:pt idx="3515">
                  <c:v>200.32025949399389</c:v>
                </c:pt>
                <c:pt idx="3516">
                  <c:v>201.16182388521329</c:v>
                </c:pt>
                <c:pt idx="3517">
                  <c:v>201.16182388521329</c:v>
                </c:pt>
                <c:pt idx="3518">
                  <c:v>201.16182388521329</c:v>
                </c:pt>
                <c:pt idx="3519">
                  <c:v>200.60346484950824</c:v>
                </c:pt>
                <c:pt idx="3520">
                  <c:v>201.22872262635852</c:v>
                </c:pt>
                <c:pt idx="3521">
                  <c:v>200.59091491679723</c:v>
                </c:pt>
                <c:pt idx="3522">
                  <c:v>200.1935072276116</c:v>
                </c:pt>
                <c:pt idx="3523">
                  <c:v>199.65383958105056</c:v>
                </c:pt>
                <c:pt idx="3524">
                  <c:v>199.65383958105056</c:v>
                </c:pt>
                <c:pt idx="3525">
                  <c:v>199.65383958105056</c:v>
                </c:pt>
                <c:pt idx="3526">
                  <c:v>199.70894836904338</c:v>
                </c:pt>
                <c:pt idx="3527">
                  <c:v>200.79321325930232</c:v>
                </c:pt>
                <c:pt idx="3528">
                  <c:v>201.27126094165223</c:v>
                </c:pt>
                <c:pt idx="3529">
                  <c:v>201.31864669413062</c:v>
                </c:pt>
                <c:pt idx="3530">
                  <c:v>201.13955853814502</c:v>
                </c:pt>
                <c:pt idx="3531">
                  <c:v>201.13955853814502</c:v>
                </c:pt>
                <c:pt idx="3532">
                  <c:v>201.13955853814502</c:v>
                </c:pt>
                <c:pt idx="3533">
                  <c:v>201.13955853814502</c:v>
                </c:pt>
                <c:pt idx="3534">
                  <c:v>203.50681270324381</c:v>
                </c:pt>
                <c:pt idx="3535">
                  <c:v>203.8073743486776</c:v>
                </c:pt>
                <c:pt idx="3536">
                  <c:v>203.88357770441868</c:v>
                </c:pt>
                <c:pt idx="3537">
                  <c:v>204.49821630743656</c:v>
                </c:pt>
                <c:pt idx="3538">
                  <c:v>204.49821630743656</c:v>
                </c:pt>
                <c:pt idx="3539">
                  <c:v>204.49821630743656</c:v>
                </c:pt>
                <c:pt idx="3540">
                  <c:v>204.94362594874266</c:v>
                </c:pt>
                <c:pt idx="3541">
                  <c:v>204.97774286892758</c:v>
                </c:pt>
                <c:pt idx="3542">
                  <c:v>205.23011770234828</c:v>
                </c:pt>
                <c:pt idx="3543">
                  <c:v>204.44027300109008</c:v>
                </c:pt>
                <c:pt idx="3544">
                  <c:v>206.47104108162</c:v>
                </c:pt>
                <c:pt idx="3545">
                  <c:v>206.47104108162</c:v>
                </c:pt>
                <c:pt idx="3546">
                  <c:v>206.47104108162</c:v>
                </c:pt>
                <c:pt idx="3547">
                  <c:v>205.02032226419746</c:v>
                </c:pt>
                <c:pt idx="3548">
                  <c:v>204.32235292957805</c:v>
                </c:pt>
                <c:pt idx="3549">
                  <c:v>203.80310203115894</c:v>
                </c:pt>
                <c:pt idx="3550">
                  <c:v>202.41162053933141</c:v>
                </c:pt>
                <c:pt idx="3551">
                  <c:v>202.50244836657862</c:v>
                </c:pt>
                <c:pt idx="3552">
                  <c:v>202.50244836657862</c:v>
                </c:pt>
                <c:pt idx="3553">
                  <c:v>202.50244836657862</c:v>
                </c:pt>
                <c:pt idx="3554">
                  <c:v>201.12277736789153</c:v>
                </c:pt>
                <c:pt idx="3555">
                  <c:v>199.5217674577581</c:v>
                </c:pt>
                <c:pt idx="3556">
                  <c:v>199.69637789634436</c:v>
                </c:pt>
                <c:pt idx="3557">
                  <c:v>200.16978354139036</c:v>
                </c:pt>
                <c:pt idx="3558">
                  <c:v>199.84732626867353</c:v>
                </c:pt>
                <c:pt idx="3559">
                  <c:v>199.84732626867353</c:v>
                </c:pt>
                <c:pt idx="3560">
                  <c:v>199.84732626867353</c:v>
                </c:pt>
                <c:pt idx="3561">
                  <c:v>199.38887373494276</c:v>
                </c:pt>
                <c:pt idx="3562">
                  <c:v>199.68473172310846</c:v>
                </c:pt>
                <c:pt idx="3563">
                  <c:v>198.70780881050527</c:v>
                </c:pt>
                <c:pt idx="3564">
                  <c:v>198.98331167049318</c:v>
                </c:pt>
                <c:pt idx="3565">
                  <c:v>198.80950229144167</c:v>
                </c:pt>
                <c:pt idx="3566">
                  <c:v>198.80950229144167</c:v>
                </c:pt>
                <c:pt idx="3567">
                  <c:v>198.80950229144167</c:v>
                </c:pt>
                <c:pt idx="3568">
                  <c:v>198.95469946711117</c:v>
                </c:pt>
                <c:pt idx="3569">
                  <c:v>199.12183335003979</c:v>
                </c:pt>
                <c:pt idx="3570">
                  <c:v>199.49120395550935</c:v>
                </c:pt>
                <c:pt idx="3571">
                  <c:v>200.39962600789781</c:v>
                </c:pt>
                <c:pt idx="3572">
                  <c:v>199.57952590421195</c:v>
                </c:pt>
                <c:pt idx="3573">
                  <c:v>199.57952590421195</c:v>
                </c:pt>
                <c:pt idx="3574">
                  <c:v>199.57952590421195</c:v>
                </c:pt>
                <c:pt idx="3575">
                  <c:v>199.29338333040354</c:v>
                </c:pt>
                <c:pt idx="3576">
                  <c:v>199.03733183911822</c:v>
                </c:pt>
                <c:pt idx="3577">
                  <c:v>199.68475226309644</c:v>
                </c:pt>
                <c:pt idx="3578">
                  <c:v>199.35011477745388</c:v>
                </c:pt>
                <c:pt idx="3579">
                  <c:v>199.18187173516947</c:v>
                </c:pt>
                <c:pt idx="3580">
                  <c:v>199.18187173516947</c:v>
                </c:pt>
                <c:pt idx="3581">
                  <c:v>199.18187173516947</c:v>
                </c:pt>
                <c:pt idx="3582">
                  <c:v>199.11164551595684</c:v>
                </c:pt>
                <c:pt idx="3583">
                  <c:v>200.29649472779641</c:v>
                </c:pt>
                <c:pt idx="3584">
                  <c:v>199.862957199595</c:v>
                </c:pt>
                <c:pt idx="3585">
                  <c:v>200.74026117005687</c:v>
                </c:pt>
                <c:pt idx="3586">
                  <c:v>199.78515172478444</c:v>
                </c:pt>
                <c:pt idx="3587">
                  <c:v>199.78515172478444</c:v>
                </c:pt>
                <c:pt idx="3588">
                  <c:v>199.78515172478444</c:v>
                </c:pt>
                <c:pt idx="3589">
                  <c:v>199.78515172478444</c:v>
                </c:pt>
                <c:pt idx="3590">
                  <c:v>199.78515172478444</c:v>
                </c:pt>
                <c:pt idx="3591">
                  <c:v>200.6019243504029</c:v>
                </c:pt>
                <c:pt idx="3592">
                  <c:v>202.57491344449085</c:v>
                </c:pt>
                <c:pt idx="3593">
                  <c:v>201.15017771197739</c:v>
                </c:pt>
                <c:pt idx="3594">
                  <c:v>201.15017771197739</c:v>
                </c:pt>
                <c:pt idx="3595">
                  <c:v>201.15017771197739</c:v>
                </c:pt>
                <c:pt idx="3596">
                  <c:v>202.23103296421667</c:v>
                </c:pt>
                <c:pt idx="3597">
                  <c:v>202.11748791016362</c:v>
                </c:pt>
                <c:pt idx="3598">
                  <c:v>201.7224423196061</c:v>
                </c:pt>
                <c:pt idx="3599">
                  <c:v>200.9430730122638</c:v>
                </c:pt>
                <c:pt idx="3600">
                  <c:v>201.28054501626005</c:v>
                </c:pt>
                <c:pt idx="3601">
                  <c:v>201.28054501626005</c:v>
                </c:pt>
                <c:pt idx="3602">
                  <c:v>201.28054501626005</c:v>
                </c:pt>
                <c:pt idx="3603">
                  <c:v>201.2517479529854</c:v>
                </c:pt>
                <c:pt idx="3604">
                  <c:v>200.89172304208785</c:v>
                </c:pt>
                <c:pt idx="3605">
                  <c:v>200.38284483764431</c:v>
                </c:pt>
                <c:pt idx="3606">
                  <c:v>200.17333695932649</c:v>
                </c:pt>
                <c:pt idx="3607">
                  <c:v>200.41630447821095</c:v>
                </c:pt>
                <c:pt idx="3608">
                  <c:v>200.41630447821095</c:v>
                </c:pt>
                <c:pt idx="3609">
                  <c:v>200.41630447821095</c:v>
                </c:pt>
                <c:pt idx="3610">
                  <c:v>200.68716530089495</c:v>
                </c:pt>
                <c:pt idx="3611">
                  <c:v>200.82118872305415</c:v>
                </c:pt>
                <c:pt idx="3612">
                  <c:v>201.55619165616446</c:v>
                </c:pt>
                <c:pt idx="3613">
                  <c:v>201.55619165616446</c:v>
                </c:pt>
                <c:pt idx="3614">
                  <c:v>201.44213310240966</c:v>
                </c:pt>
                <c:pt idx="3615">
                  <c:v>201.44213310240966</c:v>
                </c:pt>
                <c:pt idx="3616">
                  <c:v>201.44213310240966</c:v>
                </c:pt>
                <c:pt idx="3617">
                  <c:v>201.55356253769145</c:v>
                </c:pt>
                <c:pt idx="3618">
                  <c:v>201.66733353161325</c:v>
                </c:pt>
                <c:pt idx="3619">
                  <c:v>201.09533594382944</c:v>
                </c:pt>
                <c:pt idx="3620">
                  <c:v>201.82779191841902</c:v>
                </c:pt>
                <c:pt idx="3621">
                  <c:v>201.6928236568086</c:v>
                </c:pt>
                <c:pt idx="3622">
                  <c:v>201.6928236568086</c:v>
                </c:pt>
                <c:pt idx="3623">
                  <c:v>201.6928236568086</c:v>
                </c:pt>
                <c:pt idx="3624">
                  <c:v>202.34589257750616</c:v>
                </c:pt>
                <c:pt idx="3625">
                  <c:v>202.74155436770582</c:v>
                </c:pt>
                <c:pt idx="3626">
                  <c:v>202.8862585836616</c:v>
                </c:pt>
                <c:pt idx="3627">
                  <c:v>203.04784666981126</c:v>
                </c:pt>
                <c:pt idx="3628">
                  <c:v>202.5266444725255</c:v>
                </c:pt>
                <c:pt idx="3629">
                  <c:v>202.5266444725255</c:v>
                </c:pt>
                <c:pt idx="3630">
                  <c:v>202.5266444725255</c:v>
                </c:pt>
                <c:pt idx="3631">
                  <c:v>203.37408330033304</c:v>
                </c:pt>
                <c:pt idx="3632">
                  <c:v>203.83771191105757</c:v>
                </c:pt>
                <c:pt idx="3633">
                  <c:v>203.04628563071793</c:v>
                </c:pt>
                <c:pt idx="3634">
                  <c:v>203.0823743897576</c:v>
                </c:pt>
                <c:pt idx="3635">
                  <c:v>202.96379703862735</c:v>
                </c:pt>
                <c:pt idx="3636">
                  <c:v>202.96379703862735</c:v>
                </c:pt>
                <c:pt idx="3637">
                  <c:v>202.96379703862735</c:v>
                </c:pt>
                <c:pt idx="3638">
                  <c:v>203.10149711865111</c:v>
                </c:pt>
                <c:pt idx="3639">
                  <c:v>204.09259262302282</c:v>
                </c:pt>
                <c:pt idx="3640">
                  <c:v>205.21830720920778</c:v>
                </c:pt>
                <c:pt idx="3641">
                  <c:v>204.87276298989988</c:v>
                </c:pt>
                <c:pt idx="3642">
                  <c:v>204.79633369429001</c:v>
                </c:pt>
                <c:pt idx="3643">
                  <c:v>204.79633369429001</c:v>
                </c:pt>
                <c:pt idx="3644">
                  <c:v>204.79633369429001</c:v>
                </c:pt>
                <c:pt idx="3645">
                  <c:v>204.35909896823594</c:v>
                </c:pt>
                <c:pt idx="3646">
                  <c:v>204.35909896823594</c:v>
                </c:pt>
                <c:pt idx="3647">
                  <c:v>204.05650386398318</c:v>
                </c:pt>
                <c:pt idx="3648">
                  <c:v>204.03690871536404</c:v>
                </c:pt>
                <c:pt idx="3649">
                  <c:v>204.62379779449884</c:v>
                </c:pt>
                <c:pt idx="3650">
                  <c:v>204.62379779449884</c:v>
                </c:pt>
                <c:pt idx="3651">
                  <c:v>204.62379779449884</c:v>
                </c:pt>
                <c:pt idx="3652">
                  <c:v>205.4101506977851</c:v>
                </c:pt>
                <c:pt idx="3653">
                  <c:v>205.4101506977851</c:v>
                </c:pt>
                <c:pt idx="3654">
                  <c:v>205.94008239000078</c:v>
                </c:pt>
                <c:pt idx="3655">
                  <c:v>206.22805302274745</c:v>
                </c:pt>
                <c:pt idx="3656">
                  <c:v>206.89313783646617</c:v>
                </c:pt>
                <c:pt idx="3657">
                  <c:v>206.8931378364662</c:v>
                </c:pt>
                <c:pt idx="3658">
                  <c:v>206.8931378364662</c:v>
                </c:pt>
                <c:pt idx="3659">
                  <c:v>206.91778582215065</c:v>
                </c:pt>
                <c:pt idx="3660">
                  <c:v>206.3406121573731</c:v>
                </c:pt>
                <c:pt idx="3661">
                  <c:v>206.05099832558079</c:v>
                </c:pt>
                <c:pt idx="3662">
                  <c:v>205.35469272999509</c:v>
                </c:pt>
                <c:pt idx="3663">
                  <c:v>205.22939880276581</c:v>
                </c:pt>
                <c:pt idx="3664">
                  <c:v>205.22939880276581</c:v>
                </c:pt>
                <c:pt idx="3665">
                  <c:v>205.22939880276581</c:v>
                </c:pt>
                <c:pt idx="3666">
                  <c:v>204.82065304016535</c:v>
                </c:pt>
                <c:pt idx="3667">
                  <c:v>205.93802839119377</c:v>
                </c:pt>
                <c:pt idx="3668">
                  <c:v>205.93597439238675</c:v>
                </c:pt>
                <c:pt idx="3669">
                  <c:v>206.50698606074317</c:v>
                </c:pt>
                <c:pt idx="3670">
                  <c:v>206.47823007744466</c:v>
                </c:pt>
                <c:pt idx="3671">
                  <c:v>206.47823007744466</c:v>
                </c:pt>
                <c:pt idx="3672">
                  <c:v>206.47823007744466</c:v>
                </c:pt>
                <c:pt idx="3673">
                  <c:v>206.47823007744466</c:v>
                </c:pt>
                <c:pt idx="3674">
                  <c:v>207.26285762173299</c:v>
                </c:pt>
                <c:pt idx="3675">
                  <c:v>206.67541396292026</c:v>
                </c:pt>
                <c:pt idx="3676">
                  <c:v>206.55628203211208</c:v>
                </c:pt>
                <c:pt idx="3677">
                  <c:v>207.52371547022673</c:v>
                </c:pt>
                <c:pt idx="3678">
                  <c:v>207.52371547022673</c:v>
                </c:pt>
                <c:pt idx="3679">
                  <c:v>207.52371547022673</c:v>
                </c:pt>
                <c:pt idx="3680">
                  <c:v>207.82770729366828</c:v>
                </c:pt>
                <c:pt idx="3681">
                  <c:v>207.06156573864328</c:v>
                </c:pt>
                <c:pt idx="3682">
                  <c:v>206.51314805716424</c:v>
                </c:pt>
                <c:pt idx="3683">
                  <c:v>208.16661709682944</c:v>
                </c:pt>
                <c:pt idx="3684">
                  <c:v>207.59560542847302</c:v>
                </c:pt>
                <c:pt idx="3685">
                  <c:v>207.59560542847302</c:v>
                </c:pt>
                <c:pt idx="3686">
                  <c:v>207.59560542847302</c:v>
                </c:pt>
                <c:pt idx="3687">
                  <c:v>207.82154529724713</c:v>
                </c:pt>
                <c:pt idx="3688">
                  <c:v>207.76197933184304</c:v>
                </c:pt>
                <c:pt idx="3689">
                  <c:v>208.6143888367636</c:v>
                </c:pt>
                <c:pt idx="3690">
                  <c:v>209.02929659578518</c:v>
                </c:pt>
                <c:pt idx="3691">
                  <c:v>209.32712642280563</c:v>
                </c:pt>
                <c:pt idx="3692">
                  <c:v>209.32712642280563</c:v>
                </c:pt>
                <c:pt idx="3693">
                  <c:v>209.32712642280563</c:v>
                </c:pt>
                <c:pt idx="3694">
                  <c:v>209.21415648841858</c:v>
                </c:pt>
                <c:pt idx="3695">
                  <c:v>209.66192822835274</c:v>
                </c:pt>
                <c:pt idx="3696">
                  <c:v>209.8673281090565</c:v>
                </c:pt>
                <c:pt idx="3697">
                  <c:v>211.06480941355935</c:v>
                </c:pt>
                <c:pt idx="3698">
                  <c:v>210.92924549229488</c:v>
                </c:pt>
                <c:pt idx="3699">
                  <c:v>210.92924549229488</c:v>
                </c:pt>
                <c:pt idx="3700">
                  <c:v>210.92924549229488</c:v>
                </c:pt>
                <c:pt idx="3701">
                  <c:v>210.92924549229488</c:v>
                </c:pt>
                <c:pt idx="3702">
                  <c:v>211.2270753193153</c:v>
                </c:pt>
                <c:pt idx="3703">
                  <c:v>209.81392414007351</c:v>
                </c:pt>
                <c:pt idx="3704">
                  <c:v>209.49760832378973</c:v>
                </c:pt>
                <c:pt idx="3705">
                  <c:v>209.30864043354228</c:v>
                </c:pt>
                <c:pt idx="3706">
                  <c:v>209.30864043354228</c:v>
                </c:pt>
                <c:pt idx="3707">
                  <c:v>209.30864043354228</c:v>
                </c:pt>
                <c:pt idx="3708">
                  <c:v>208.83416670911663</c:v>
                </c:pt>
                <c:pt idx="3709">
                  <c:v>208.50141890237657</c:v>
                </c:pt>
                <c:pt idx="3710">
                  <c:v>208.48909490953434</c:v>
                </c:pt>
                <c:pt idx="3711">
                  <c:v>209.32301842519158</c:v>
                </c:pt>
                <c:pt idx="3712">
                  <c:v>208.19331908132096</c:v>
                </c:pt>
                <c:pt idx="3713">
                  <c:v>208.19331908132096</c:v>
                </c:pt>
                <c:pt idx="3714">
                  <c:v>208.19331908132096</c:v>
                </c:pt>
                <c:pt idx="3715">
                  <c:v>207.4559335095945</c:v>
                </c:pt>
                <c:pt idx="3716">
                  <c:v>208.33299100019951</c:v>
                </c:pt>
                <c:pt idx="3717">
                  <c:v>208.5692008630088</c:v>
                </c:pt>
                <c:pt idx="3718">
                  <c:v>209.23675047529599</c:v>
                </c:pt>
                <c:pt idx="3719">
                  <c:v>210.30277585614846</c:v>
                </c:pt>
                <c:pt idx="3720">
                  <c:v>210.30277585614846</c:v>
                </c:pt>
                <c:pt idx="3721">
                  <c:v>210.30277585614846</c:v>
                </c:pt>
                <c:pt idx="3722">
                  <c:v>210.16310393726991</c:v>
                </c:pt>
                <c:pt idx="3723">
                  <c:v>210.37877381200883</c:v>
                </c:pt>
                <c:pt idx="3724">
                  <c:v>210.37877381200883</c:v>
                </c:pt>
                <c:pt idx="3725">
                  <c:v>211.51668915110761</c:v>
                </c:pt>
                <c:pt idx="3726">
                  <c:v>211.95008289939256</c:v>
                </c:pt>
                <c:pt idx="3727">
                  <c:v>211.95008289939256</c:v>
                </c:pt>
                <c:pt idx="3728">
                  <c:v>211.95008289939256</c:v>
                </c:pt>
                <c:pt idx="3729">
                  <c:v>211.97883888269106</c:v>
                </c:pt>
                <c:pt idx="3730">
                  <c:v>211.82478897216325</c:v>
                </c:pt>
                <c:pt idx="3731">
                  <c:v>212.11029480634147</c:v>
                </c:pt>
                <c:pt idx="3732">
                  <c:v>212.00348686837552</c:v>
                </c:pt>
                <c:pt idx="3733">
                  <c:v>211.04426942548898</c:v>
                </c:pt>
                <c:pt idx="3734">
                  <c:v>211.04426942548898</c:v>
                </c:pt>
                <c:pt idx="3735">
                  <c:v>211.04426942548898</c:v>
                </c:pt>
                <c:pt idx="3736">
                  <c:v>211.36469323938681</c:v>
                </c:pt>
                <c:pt idx="3737">
                  <c:v>210.86967952689079</c:v>
                </c:pt>
                <c:pt idx="3738">
                  <c:v>211.25788530142086</c:v>
                </c:pt>
                <c:pt idx="3739">
                  <c:v>210.53282372253665</c:v>
                </c:pt>
                <c:pt idx="3740">
                  <c:v>210.53282372253665</c:v>
                </c:pt>
                <c:pt idx="3741">
                  <c:v>210.53282372253665</c:v>
                </c:pt>
                <c:pt idx="3742">
                  <c:v>210.53282372253665</c:v>
                </c:pt>
                <c:pt idx="3743">
                  <c:v>209.54279629754456</c:v>
                </c:pt>
                <c:pt idx="3744">
                  <c:v>207.58328143563079</c:v>
                </c:pt>
                <c:pt idx="3745">
                  <c:v>206.44536609653204</c:v>
                </c:pt>
                <c:pt idx="3746">
                  <c:v>206.86848985078174</c:v>
                </c:pt>
                <c:pt idx="3747">
                  <c:v>207.21150765155701</c:v>
                </c:pt>
                <c:pt idx="3748">
                  <c:v>207.21150765155701</c:v>
                </c:pt>
                <c:pt idx="3749">
                  <c:v>207.21150765155701</c:v>
                </c:pt>
                <c:pt idx="3750">
                  <c:v>208.28164103002354</c:v>
                </c:pt>
                <c:pt idx="3751">
                  <c:v>208.26520903956725</c:v>
                </c:pt>
                <c:pt idx="3752">
                  <c:v>208.69244079143104</c:v>
                </c:pt>
                <c:pt idx="3753">
                  <c:v>208.3905029667965</c:v>
                </c:pt>
                <c:pt idx="3754">
                  <c:v>207.93656923044125</c:v>
                </c:pt>
                <c:pt idx="3755">
                  <c:v>207.93656923044125</c:v>
                </c:pt>
                <c:pt idx="3756">
                  <c:v>207.93656923044125</c:v>
                </c:pt>
                <c:pt idx="3757">
                  <c:v>206.22764222298605</c:v>
                </c:pt>
                <c:pt idx="3758">
                  <c:v>206.29542418361828</c:v>
                </c:pt>
                <c:pt idx="3759">
                  <c:v>205.61760457729588</c:v>
                </c:pt>
                <c:pt idx="3760">
                  <c:v>205.81684246157852</c:v>
                </c:pt>
                <c:pt idx="3761">
                  <c:v>205.69565653196332</c:v>
                </c:pt>
                <c:pt idx="3762">
                  <c:v>205.69565653196332</c:v>
                </c:pt>
                <c:pt idx="3763">
                  <c:v>205.69565653196332</c:v>
                </c:pt>
                <c:pt idx="3764">
                  <c:v>205.31361275385436</c:v>
                </c:pt>
                <c:pt idx="3765">
                  <c:v>205.92570439835151</c:v>
                </c:pt>
                <c:pt idx="3766">
                  <c:v>206.88902983885211</c:v>
                </c:pt>
                <c:pt idx="3767">
                  <c:v>207.50317548215631</c:v>
                </c:pt>
                <c:pt idx="3768">
                  <c:v>207.62846940938562</c:v>
                </c:pt>
                <c:pt idx="3769">
                  <c:v>207.62846940938562</c:v>
                </c:pt>
                <c:pt idx="3770">
                  <c:v>207.62846940938562</c:v>
                </c:pt>
                <c:pt idx="3771">
                  <c:v>207.54836345591116</c:v>
                </c:pt>
                <c:pt idx="3772">
                  <c:v>208.252885046725</c:v>
                </c:pt>
                <c:pt idx="3773">
                  <c:v>206.5049320619361</c:v>
                </c:pt>
                <c:pt idx="3774">
                  <c:v>206.65692797365688</c:v>
                </c:pt>
                <c:pt idx="3775">
                  <c:v>206.9485958042562</c:v>
                </c:pt>
                <c:pt idx="3776">
                  <c:v>206.9485958042562</c:v>
                </c:pt>
                <c:pt idx="3777">
                  <c:v>206.9485958042562</c:v>
                </c:pt>
                <c:pt idx="3778">
                  <c:v>208.43774493935837</c:v>
                </c:pt>
                <c:pt idx="3779">
                  <c:v>209.16896851466373</c:v>
                </c:pt>
                <c:pt idx="3780">
                  <c:v>209.57566027845718</c:v>
                </c:pt>
                <c:pt idx="3781">
                  <c:v>209.34972040968304</c:v>
                </c:pt>
                <c:pt idx="3782">
                  <c:v>210.26169588000769</c:v>
                </c:pt>
                <c:pt idx="3783">
                  <c:v>210.26169588000769</c:v>
                </c:pt>
                <c:pt idx="3784">
                  <c:v>210.26169588000769</c:v>
                </c:pt>
                <c:pt idx="3785">
                  <c:v>209.52431030828126</c:v>
                </c:pt>
                <c:pt idx="3786">
                  <c:v>209.37847639298161</c:v>
                </c:pt>
                <c:pt idx="3787">
                  <c:v>208.85265269837998</c:v>
                </c:pt>
                <c:pt idx="3788">
                  <c:v>209.21826448603267</c:v>
                </c:pt>
                <c:pt idx="3789">
                  <c:v>209.44831235242086</c:v>
                </c:pt>
                <c:pt idx="3790">
                  <c:v>209.44831235242086</c:v>
                </c:pt>
                <c:pt idx="3791">
                  <c:v>209.44831235242086</c:v>
                </c:pt>
                <c:pt idx="3792">
                  <c:v>210.38288180962289</c:v>
                </c:pt>
                <c:pt idx="3793">
                  <c:v>210.58417369271257</c:v>
                </c:pt>
                <c:pt idx="3794">
                  <c:v>209.09297055880333</c:v>
                </c:pt>
                <c:pt idx="3795">
                  <c:v>210.03986400884764</c:v>
                </c:pt>
                <c:pt idx="3796">
                  <c:v>209.33534241803375</c:v>
                </c:pt>
                <c:pt idx="3797">
                  <c:v>209.33534241803375</c:v>
                </c:pt>
                <c:pt idx="3798">
                  <c:v>209.33534241803375</c:v>
                </c:pt>
                <c:pt idx="3799">
                  <c:v>209.33534241803375</c:v>
                </c:pt>
                <c:pt idx="3800">
                  <c:v>210.25964188120062</c:v>
                </c:pt>
                <c:pt idx="3801">
                  <c:v>209.99878403270685</c:v>
                </c:pt>
                <c:pt idx="3802">
                  <c:v>210.76492558773182</c:v>
                </c:pt>
                <c:pt idx="3803">
                  <c:v>211.62760508668759</c:v>
                </c:pt>
                <c:pt idx="3804">
                  <c:v>211.62760508668759</c:v>
                </c:pt>
                <c:pt idx="3805">
                  <c:v>211.62760508668759</c:v>
                </c:pt>
                <c:pt idx="3806">
                  <c:v>210.25553388358657</c:v>
                </c:pt>
                <c:pt idx="3807">
                  <c:v>210.00905402674206</c:v>
                </c:pt>
                <c:pt idx="3808">
                  <c:v>210.20623791221766</c:v>
                </c:pt>
                <c:pt idx="3809">
                  <c:v>210.1959679181825</c:v>
                </c:pt>
                <c:pt idx="3810">
                  <c:v>209.75230417586241</c:v>
                </c:pt>
                <c:pt idx="3811">
                  <c:v>209.75230417586241</c:v>
                </c:pt>
                <c:pt idx="3812">
                  <c:v>209.75230417586241</c:v>
                </c:pt>
                <c:pt idx="3813">
                  <c:v>210.27401987284992</c:v>
                </c:pt>
                <c:pt idx="3814">
                  <c:v>209.96386605298727</c:v>
                </c:pt>
                <c:pt idx="3815">
                  <c:v>210.12202396112914</c:v>
                </c:pt>
                <c:pt idx="3816">
                  <c:v>210.69508962829261</c:v>
                </c:pt>
                <c:pt idx="3817">
                  <c:v>210.18775192295433</c:v>
                </c:pt>
                <c:pt idx="3818">
                  <c:v>210.18775192295433</c:v>
                </c:pt>
                <c:pt idx="3819">
                  <c:v>210.18775192295433</c:v>
                </c:pt>
                <c:pt idx="3820">
                  <c:v>209.67836021880908</c:v>
                </c:pt>
                <c:pt idx="3821">
                  <c:v>210.07272798976027</c:v>
                </c:pt>
                <c:pt idx="3822">
                  <c:v>210.20212991460363</c:v>
                </c:pt>
                <c:pt idx="3823">
                  <c:v>210.21445390744589</c:v>
                </c:pt>
                <c:pt idx="3824">
                  <c:v>209.4175023703153</c:v>
                </c:pt>
                <c:pt idx="3825">
                  <c:v>209.4175023703153</c:v>
                </c:pt>
                <c:pt idx="3826">
                  <c:v>209.4175023703153</c:v>
                </c:pt>
                <c:pt idx="3827">
                  <c:v>209.47501433691238</c:v>
                </c:pt>
                <c:pt idx="3828">
                  <c:v>209.74614217944134</c:v>
                </c:pt>
                <c:pt idx="3829">
                  <c:v>209.02518859817116</c:v>
                </c:pt>
                <c:pt idx="3830">
                  <c:v>210.94567748275122</c:v>
                </c:pt>
                <c:pt idx="3831">
                  <c:v>211.36880123700095</c:v>
                </c:pt>
                <c:pt idx="3832">
                  <c:v>211.36880123700095</c:v>
                </c:pt>
                <c:pt idx="3833">
                  <c:v>211.36880123700095</c:v>
                </c:pt>
                <c:pt idx="3834">
                  <c:v>212.58066053315309</c:v>
                </c:pt>
                <c:pt idx="3835">
                  <c:v>212.45331260711674</c:v>
                </c:pt>
                <c:pt idx="3836">
                  <c:v>212.14726678486815</c:v>
                </c:pt>
                <c:pt idx="3837">
                  <c:v>212.14726678486815</c:v>
                </c:pt>
                <c:pt idx="3838">
                  <c:v>212.8271403899976</c:v>
                </c:pt>
                <c:pt idx="3839">
                  <c:v>212.8271403899976</c:v>
                </c:pt>
                <c:pt idx="3840">
                  <c:v>212.8271403899976</c:v>
                </c:pt>
                <c:pt idx="3841">
                  <c:v>212.2931007001678</c:v>
                </c:pt>
                <c:pt idx="3842">
                  <c:v>212.65665848901344</c:v>
                </c:pt>
                <c:pt idx="3843">
                  <c:v>213.17632018719394</c:v>
                </c:pt>
                <c:pt idx="3844">
                  <c:v>212.89697634943684</c:v>
                </c:pt>
                <c:pt idx="3845">
                  <c:v>212.76757442459348</c:v>
                </c:pt>
                <c:pt idx="3846">
                  <c:v>212.76757442459348</c:v>
                </c:pt>
                <c:pt idx="3847">
                  <c:v>212.76757442459348</c:v>
                </c:pt>
                <c:pt idx="3848">
                  <c:v>213.10443022894765</c:v>
                </c:pt>
                <c:pt idx="3849">
                  <c:v>213.27902012754581</c:v>
                </c:pt>
                <c:pt idx="3850">
                  <c:v>213.62203792832108</c:v>
                </c:pt>
                <c:pt idx="3851">
                  <c:v>214.73325128292839</c:v>
                </c:pt>
                <c:pt idx="3852">
                  <c:v>214.00613570523711</c:v>
                </c:pt>
                <c:pt idx="3853">
                  <c:v>214.00613570523711</c:v>
                </c:pt>
                <c:pt idx="3854">
                  <c:v>214.00613570523711</c:v>
                </c:pt>
                <c:pt idx="3855">
                  <c:v>214.36763949527571</c:v>
                </c:pt>
                <c:pt idx="3856">
                  <c:v>214.71476529366501</c:v>
                </c:pt>
                <c:pt idx="3857">
                  <c:v>213.92397575295558</c:v>
                </c:pt>
                <c:pt idx="3858">
                  <c:v>213.76376384600667</c:v>
                </c:pt>
                <c:pt idx="3859">
                  <c:v>212.37936865006338</c:v>
                </c:pt>
                <c:pt idx="3860">
                  <c:v>212.37936865006338</c:v>
                </c:pt>
                <c:pt idx="3861">
                  <c:v>212.37936865006338</c:v>
                </c:pt>
                <c:pt idx="3862">
                  <c:v>212.23969673118484</c:v>
                </c:pt>
                <c:pt idx="3863">
                  <c:v>213.30983010965139</c:v>
                </c:pt>
                <c:pt idx="3864">
                  <c:v>214.02872969211452</c:v>
                </c:pt>
                <c:pt idx="3865">
                  <c:v>214.37585549050385</c:v>
                </c:pt>
                <c:pt idx="3866">
                  <c:v>213.49263600347774</c:v>
                </c:pt>
                <c:pt idx="3867">
                  <c:v>213.49263600347774</c:v>
                </c:pt>
                <c:pt idx="3868">
                  <c:v>213.49263600347774</c:v>
                </c:pt>
                <c:pt idx="3869">
                  <c:v>214.16840161099307</c:v>
                </c:pt>
                <c:pt idx="3870">
                  <c:v>212.89081435301574</c:v>
                </c:pt>
                <c:pt idx="3871">
                  <c:v>212.46358260115196</c:v>
                </c:pt>
                <c:pt idx="3872">
                  <c:v>213.21329216572062</c:v>
                </c:pt>
                <c:pt idx="3873">
                  <c:v>214.11499764201011</c:v>
                </c:pt>
                <c:pt idx="3874">
                  <c:v>214.11499764201011</c:v>
                </c:pt>
                <c:pt idx="3875">
                  <c:v>214.11499764201011</c:v>
                </c:pt>
                <c:pt idx="3876">
                  <c:v>215.23853498945962</c:v>
                </c:pt>
                <c:pt idx="3877">
                  <c:v>214.51347341057533</c:v>
                </c:pt>
                <c:pt idx="3878">
                  <c:v>214.877031199421</c:v>
                </c:pt>
                <c:pt idx="3879">
                  <c:v>214.24029156923936</c:v>
                </c:pt>
                <c:pt idx="3880">
                  <c:v>213.96094773148226</c:v>
                </c:pt>
                <c:pt idx="3881">
                  <c:v>213.96094773148226</c:v>
                </c:pt>
                <c:pt idx="3882">
                  <c:v>213.96094773148226</c:v>
                </c:pt>
                <c:pt idx="3883">
                  <c:v>213.41047605119621</c:v>
                </c:pt>
                <c:pt idx="3884">
                  <c:v>214.98589313619399</c:v>
                </c:pt>
                <c:pt idx="3885">
                  <c:v>214.91194917914061</c:v>
                </c:pt>
                <c:pt idx="3886">
                  <c:v>215.31658694412701</c:v>
                </c:pt>
                <c:pt idx="3887">
                  <c:v>215.31453294532</c:v>
                </c:pt>
                <c:pt idx="3888">
                  <c:v>215.31453294532</c:v>
                </c:pt>
                <c:pt idx="3889">
                  <c:v>215.31453294532</c:v>
                </c:pt>
                <c:pt idx="3890">
                  <c:v>216.16078045381948</c:v>
                </c:pt>
                <c:pt idx="3891">
                  <c:v>215.35355892265375</c:v>
                </c:pt>
                <c:pt idx="3892">
                  <c:v>215.20156301093294</c:v>
                </c:pt>
                <c:pt idx="3893">
                  <c:v>215.65344274848121</c:v>
                </c:pt>
                <c:pt idx="3894">
                  <c:v>213.54193197484668</c:v>
                </c:pt>
                <c:pt idx="3895">
                  <c:v>213.54193197484668</c:v>
                </c:pt>
                <c:pt idx="3896">
                  <c:v>213.54193197484668</c:v>
                </c:pt>
                <c:pt idx="3897">
                  <c:v>213.54193197484668</c:v>
                </c:pt>
                <c:pt idx="3898">
                  <c:v>212.76552042578646</c:v>
                </c:pt>
                <c:pt idx="3899">
                  <c:v>213.18659018122918</c:v>
                </c:pt>
                <c:pt idx="3900">
                  <c:v>214.0102437028512</c:v>
                </c:pt>
                <c:pt idx="3901">
                  <c:v>214.58125537120762</c:v>
                </c:pt>
                <c:pt idx="3902">
                  <c:v>214.58125537120762</c:v>
                </c:pt>
                <c:pt idx="3903">
                  <c:v>214.58125537120762</c:v>
                </c:pt>
                <c:pt idx="3904">
                  <c:v>215.46036686061967</c:v>
                </c:pt>
                <c:pt idx="3905">
                  <c:v>215.33918093100448</c:v>
                </c:pt>
                <c:pt idx="3906">
                  <c:v>214.82157323163096</c:v>
                </c:pt>
                <c:pt idx="3907">
                  <c:v>214.29985753464345</c:v>
                </c:pt>
                <c:pt idx="3908">
                  <c:v>214.27931754657308</c:v>
                </c:pt>
                <c:pt idx="3909">
                  <c:v>214.27931754657308</c:v>
                </c:pt>
                <c:pt idx="3910">
                  <c:v>214.27931754657308</c:v>
                </c:pt>
                <c:pt idx="3911">
                  <c:v>213.74527785674334</c:v>
                </c:pt>
                <c:pt idx="3912">
                  <c:v>214.55455338671607</c:v>
                </c:pt>
                <c:pt idx="3913">
                  <c:v>213.9198677553415</c:v>
                </c:pt>
                <c:pt idx="3914">
                  <c:v>213.9814877195526</c:v>
                </c:pt>
                <c:pt idx="3915">
                  <c:v>213.90548976369226</c:v>
                </c:pt>
                <c:pt idx="3916">
                  <c:v>213.90548976369226</c:v>
                </c:pt>
                <c:pt idx="3917">
                  <c:v>213.90548976369226</c:v>
                </c:pt>
                <c:pt idx="3918">
                  <c:v>214.62849734376945</c:v>
                </c:pt>
                <c:pt idx="3919">
                  <c:v>215.42955687851406</c:v>
                </c:pt>
                <c:pt idx="3920">
                  <c:v>216.20802242638126</c:v>
                </c:pt>
                <c:pt idx="3921">
                  <c:v>216.08889049557311</c:v>
                </c:pt>
                <c:pt idx="3922">
                  <c:v>216.21623842160946</c:v>
                </c:pt>
                <c:pt idx="3923">
                  <c:v>216.21623842160946</c:v>
                </c:pt>
                <c:pt idx="3924">
                  <c:v>216.21623842160946</c:v>
                </c:pt>
                <c:pt idx="3925">
                  <c:v>217.18367185972409</c:v>
                </c:pt>
                <c:pt idx="3926">
                  <c:v>218.53931107236886</c:v>
                </c:pt>
                <c:pt idx="3927">
                  <c:v>218.88643687075819</c:v>
                </c:pt>
                <c:pt idx="3928">
                  <c:v>219.24383266318273</c:v>
                </c:pt>
                <c:pt idx="3929">
                  <c:v>219.03432478486491</c:v>
                </c:pt>
                <c:pt idx="3930">
                  <c:v>219.03432478486491</c:v>
                </c:pt>
                <c:pt idx="3931">
                  <c:v>219.03432478486491</c:v>
                </c:pt>
                <c:pt idx="3932">
                  <c:v>218.65433500556296</c:v>
                </c:pt>
                <c:pt idx="3933">
                  <c:v>218.35034318212141</c:v>
                </c:pt>
                <c:pt idx="3934">
                  <c:v>216.90843601958107</c:v>
                </c:pt>
                <c:pt idx="3935">
                  <c:v>216.44628628799762</c:v>
                </c:pt>
                <c:pt idx="3936">
                  <c:v>216.99881196709075</c:v>
                </c:pt>
                <c:pt idx="3937">
                  <c:v>216.99881196709075</c:v>
                </c:pt>
                <c:pt idx="3938">
                  <c:v>216.99881196709075</c:v>
                </c:pt>
                <c:pt idx="3939">
                  <c:v>217.3520997619012</c:v>
                </c:pt>
                <c:pt idx="3940">
                  <c:v>216.75849410666734</c:v>
                </c:pt>
                <c:pt idx="3941">
                  <c:v>216.04370252181829</c:v>
                </c:pt>
                <c:pt idx="3942">
                  <c:v>216.15256445859126</c:v>
                </c:pt>
                <c:pt idx="3943">
                  <c:v>216.77081809950954</c:v>
                </c:pt>
                <c:pt idx="3944">
                  <c:v>216.77081809950954</c:v>
                </c:pt>
                <c:pt idx="3945">
                  <c:v>216.77081809950954</c:v>
                </c:pt>
                <c:pt idx="3946">
                  <c:v>216.75849410666731</c:v>
                </c:pt>
                <c:pt idx="3947">
                  <c:v>216.36207233690905</c:v>
                </c:pt>
                <c:pt idx="3948">
                  <c:v>216.14845646097714</c:v>
                </c:pt>
                <c:pt idx="3949">
                  <c:v>216.45039428561168</c:v>
                </c:pt>
                <c:pt idx="3950">
                  <c:v>216.20186042996013</c:v>
                </c:pt>
                <c:pt idx="3951">
                  <c:v>216.20186042996013</c:v>
                </c:pt>
                <c:pt idx="3952">
                  <c:v>216.20186042996013</c:v>
                </c:pt>
                <c:pt idx="3953">
                  <c:v>216.16283445262647</c:v>
                </c:pt>
                <c:pt idx="3954">
                  <c:v>215.76641268286824</c:v>
                </c:pt>
                <c:pt idx="3955">
                  <c:v>215.35150492384665</c:v>
                </c:pt>
                <c:pt idx="3956">
                  <c:v>215.48912284391812</c:v>
                </c:pt>
                <c:pt idx="3957">
                  <c:v>214.54222939387387</c:v>
                </c:pt>
                <c:pt idx="3958">
                  <c:v>214.54222939387387</c:v>
                </c:pt>
                <c:pt idx="3959">
                  <c:v>214.54222939387387</c:v>
                </c:pt>
                <c:pt idx="3960">
                  <c:v>216.27991238462761</c:v>
                </c:pt>
                <c:pt idx="3961">
                  <c:v>215.99029855283533</c:v>
                </c:pt>
                <c:pt idx="3962">
                  <c:v>214.82978922685916</c:v>
                </c:pt>
                <c:pt idx="3963">
                  <c:v>214.20742758832679</c:v>
                </c:pt>
                <c:pt idx="3964">
                  <c:v>214.98589313619399</c:v>
                </c:pt>
                <c:pt idx="3965">
                  <c:v>214.98589313619399</c:v>
                </c:pt>
                <c:pt idx="3966">
                  <c:v>214.98589313619399</c:v>
                </c:pt>
                <c:pt idx="3967">
                  <c:v>215.59182278427002</c:v>
                </c:pt>
                <c:pt idx="3968">
                  <c:v>215.74587269479784</c:v>
                </c:pt>
                <c:pt idx="3969">
                  <c:v>216.1422944645561</c:v>
                </c:pt>
                <c:pt idx="3970">
                  <c:v>215.68630672939378</c:v>
                </c:pt>
                <c:pt idx="3971">
                  <c:v>215.50350083556745</c:v>
                </c:pt>
                <c:pt idx="3972">
                  <c:v>215.50350083556745</c:v>
                </c:pt>
                <c:pt idx="3973">
                  <c:v>215.50350083556745</c:v>
                </c:pt>
                <c:pt idx="3974">
                  <c:v>214.87292320180691</c:v>
                </c:pt>
                <c:pt idx="3975">
                  <c:v>214.27726354776607</c:v>
                </c:pt>
                <c:pt idx="3976">
                  <c:v>214.72914328531431</c:v>
                </c:pt>
                <c:pt idx="3977">
                  <c:v>215.1440510443359</c:v>
                </c:pt>
                <c:pt idx="3978">
                  <c:v>214.46623143801352</c:v>
                </c:pt>
                <c:pt idx="3979">
                  <c:v>214.46623143801352</c:v>
                </c:pt>
                <c:pt idx="3980">
                  <c:v>214.46623143801352</c:v>
                </c:pt>
                <c:pt idx="3981">
                  <c:v>214.75584526980577</c:v>
                </c:pt>
                <c:pt idx="3982">
                  <c:v>215.22826499542438</c:v>
                </c:pt>
                <c:pt idx="3983">
                  <c:v>215.47474485226891</c:v>
                </c:pt>
                <c:pt idx="3984">
                  <c:v>215.47474485226891</c:v>
                </c:pt>
                <c:pt idx="3985">
                  <c:v>215.5610128021645</c:v>
                </c:pt>
                <c:pt idx="3986">
                  <c:v>215.5610128021645</c:v>
                </c:pt>
                <c:pt idx="3987">
                  <c:v>215.5610128021645</c:v>
                </c:pt>
                <c:pt idx="3988">
                  <c:v>215.30220895247777</c:v>
                </c:pt>
                <c:pt idx="3989">
                  <c:v>215.51582482840965</c:v>
                </c:pt>
                <c:pt idx="3990">
                  <c:v>215.7376566995697</c:v>
                </c:pt>
                <c:pt idx="3991">
                  <c:v>216.22650841564464</c:v>
                </c:pt>
                <c:pt idx="3992">
                  <c:v>215.27961496560033</c:v>
                </c:pt>
                <c:pt idx="3993">
                  <c:v>215.27961496560033</c:v>
                </c:pt>
                <c:pt idx="3994">
                  <c:v>215.27961496560033</c:v>
                </c:pt>
                <c:pt idx="3995">
                  <c:v>215.32274894054811</c:v>
                </c:pt>
                <c:pt idx="3996">
                  <c:v>214.80308724236761</c:v>
                </c:pt>
                <c:pt idx="3997">
                  <c:v>213.86440978755149</c:v>
                </c:pt>
                <c:pt idx="3998">
                  <c:v>214.85854521015762</c:v>
                </c:pt>
                <c:pt idx="3999">
                  <c:v>215.32069494174104</c:v>
                </c:pt>
                <c:pt idx="4000">
                  <c:v>215.32069494174104</c:v>
                </c:pt>
                <c:pt idx="4001">
                  <c:v>215.32069494174104</c:v>
                </c:pt>
                <c:pt idx="4002">
                  <c:v>215.5651207997785</c:v>
                </c:pt>
                <c:pt idx="4003">
                  <c:v>216.28812837985569</c:v>
                </c:pt>
                <c:pt idx="4004">
                  <c:v>214.90373318391241</c:v>
                </c:pt>
                <c:pt idx="4005">
                  <c:v>213.65490190923362</c:v>
                </c:pt>
                <c:pt idx="4006">
                  <c:v>214.5196354069964</c:v>
                </c:pt>
                <c:pt idx="4007">
                  <c:v>214.5196354069964</c:v>
                </c:pt>
                <c:pt idx="4008">
                  <c:v>214.5196354069964</c:v>
                </c:pt>
                <c:pt idx="4009">
                  <c:v>215.33918093100436</c:v>
                </c:pt>
                <c:pt idx="4010">
                  <c:v>215.69452272462181</c:v>
                </c:pt>
                <c:pt idx="4011">
                  <c:v>215.69452272462181</c:v>
                </c:pt>
                <c:pt idx="4012">
                  <c:v>214.80103324356051</c:v>
                </c:pt>
                <c:pt idx="4013">
                  <c:v>214.98589313619391</c:v>
                </c:pt>
                <c:pt idx="4014">
                  <c:v>214.98589313619391</c:v>
                </c:pt>
                <c:pt idx="4015">
                  <c:v>214.98589313619391</c:v>
                </c:pt>
                <c:pt idx="4016">
                  <c:v>215.10913306461615</c:v>
                </c:pt>
                <c:pt idx="4017">
                  <c:v>214.93865116363204</c:v>
                </c:pt>
                <c:pt idx="4018">
                  <c:v>214.93865116363204</c:v>
                </c:pt>
                <c:pt idx="4019">
                  <c:v>215.14815904194987</c:v>
                </c:pt>
                <c:pt idx="4020">
                  <c:v>215.97181256357192</c:v>
                </c:pt>
                <c:pt idx="4021">
                  <c:v>215.97181256357192</c:v>
                </c:pt>
                <c:pt idx="4022">
                  <c:v>215.97181256357192</c:v>
                </c:pt>
                <c:pt idx="4023">
                  <c:v>215.30837094889881</c:v>
                </c:pt>
                <c:pt idx="4024">
                  <c:v>215.87322062083413</c:v>
                </c:pt>
                <c:pt idx="4025">
                  <c:v>216.23883240848681</c:v>
                </c:pt>
                <c:pt idx="4026">
                  <c:v>215.62879476279667</c:v>
                </c:pt>
                <c:pt idx="4027">
                  <c:v>216.52639224147208</c:v>
                </c:pt>
                <c:pt idx="4028">
                  <c:v>216.52639224147208</c:v>
                </c:pt>
                <c:pt idx="4029">
                  <c:v>216.52639224147208</c:v>
                </c:pt>
                <c:pt idx="4030">
                  <c:v>217.17545586449592</c:v>
                </c:pt>
                <c:pt idx="4031">
                  <c:v>217.58214762828933</c:v>
                </c:pt>
                <c:pt idx="4032">
                  <c:v>218.07716134078538</c:v>
                </c:pt>
                <c:pt idx="4033">
                  <c:v>218.48590710338584</c:v>
                </c:pt>
                <c:pt idx="4034">
                  <c:v>218.19834727040057</c:v>
                </c:pt>
                <c:pt idx="4035">
                  <c:v>218.19834727040057</c:v>
                </c:pt>
                <c:pt idx="4036">
                  <c:v>218.19834727040057</c:v>
                </c:pt>
                <c:pt idx="4037">
                  <c:v>218.19834727040057</c:v>
                </c:pt>
                <c:pt idx="4038">
                  <c:v>218.58449904612365</c:v>
                </c:pt>
                <c:pt idx="4039">
                  <c:v>219.20275268704194</c:v>
                </c:pt>
                <c:pt idx="4040">
                  <c:v>220.40639598796588</c:v>
                </c:pt>
                <c:pt idx="4041">
                  <c:v>219.92781426592614</c:v>
                </c:pt>
                <c:pt idx="4042">
                  <c:v>219.92781426592614</c:v>
                </c:pt>
                <c:pt idx="4043">
                  <c:v>219.92781426592614</c:v>
                </c:pt>
                <c:pt idx="4044">
                  <c:v>218.95832682900445</c:v>
                </c:pt>
                <c:pt idx="4045">
                  <c:v>219.1801587001645</c:v>
                </c:pt>
                <c:pt idx="4046">
                  <c:v>218.96243482661853</c:v>
                </c:pt>
                <c:pt idx="4047">
                  <c:v>219.13497072640965</c:v>
                </c:pt>
                <c:pt idx="4048">
                  <c:v>219.90727427785581</c:v>
                </c:pt>
                <c:pt idx="4049">
                  <c:v>219.90727427785581</c:v>
                </c:pt>
                <c:pt idx="4050">
                  <c:v>219.90727427785581</c:v>
                </c:pt>
                <c:pt idx="4051">
                  <c:v>218.1161873181191</c:v>
                </c:pt>
                <c:pt idx="4052">
                  <c:v>218.45920511889435</c:v>
                </c:pt>
                <c:pt idx="4053">
                  <c:v>218.10797132289093</c:v>
                </c:pt>
                <c:pt idx="4054">
                  <c:v>218.50644709145621</c:v>
                </c:pt>
                <c:pt idx="4055">
                  <c:v>216.83243806372067</c:v>
                </c:pt>
                <c:pt idx="4056">
                  <c:v>216.83243806372067</c:v>
                </c:pt>
                <c:pt idx="4057">
                  <c:v>216.83243806372067</c:v>
                </c:pt>
                <c:pt idx="4058">
                  <c:v>216.94335399930071</c:v>
                </c:pt>
                <c:pt idx="4059">
                  <c:v>216.46066427964686</c:v>
                </c:pt>
                <c:pt idx="4060">
                  <c:v>216.75233211024621</c:v>
                </c:pt>
                <c:pt idx="4061">
                  <c:v>218.36882917138476</c:v>
                </c:pt>
                <c:pt idx="4062">
                  <c:v>218.37499116780586</c:v>
                </c:pt>
                <c:pt idx="4063">
                  <c:v>218.37499116780586</c:v>
                </c:pt>
                <c:pt idx="4064">
                  <c:v>218.37499116780586</c:v>
                </c:pt>
                <c:pt idx="4065">
                  <c:v>218.37499116780586</c:v>
                </c:pt>
                <c:pt idx="4066">
                  <c:v>219.47593452837793</c:v>
                </c:pt>
                <c:pt idx="4067">
                  <c:v>219.61766044606352</c:v>
                </c:pt>
                <c:pt idx="4068">
                  <c:v>220.29753405119291</c:v>
                </c:pt>
                <c:pt idx="4069">
                  <c:v>220.94043567779568</c:v>
                </c:pt>
                <c:pt idx="4070">
                  <c:v>220.94043567779568</c:v>
                </c:pt>
                <c:pt idx="4071">
                  <c:v>220.94043567779568</c:v>
                </c:pt>
                <c:pt idx="4072">
                  <c:v>221.08216159548121</c:v>
                </c:pt>
                <c:pt idx="4073">
                  <c:v>221.11913357400792</c:v>
                </c:pt>
                <c:pt idx="4074">
                  <c:v>221.60593129127582</c:v>
                </c:pt>
                <c:pt idx="4075">
                  <c:v>221.44366538551981</c:v>
                </c:pt>
                <c:pt idx="4076">
                  <c:v>220.80487175653116</c:v>
                </c:pt>
                <c:pt idx="4077">
                  <c:v>220.80487175653116</c:v>
                </c:pt>
                <c:pt idx="4078">
                  <c:v>220.80487175653116</c:v>
                </c:pt>
                <c:pt idx="4079">
                  <c:v>220.95275967063785</c:v>
                </c:pt>
                <c:pt idx="4080">
                  <c:v>221.41080140460721</c:v>
                </c:pt>
                <c:pt idx="4081">
                  <c:v>221.05751360979676</c:v>
                </c:pt>
                <c:pt idx="4082">
                  <c:v>220.98562365155044</c:v>
                </c:pt>
                <c:pt idx="4083">
                  <c:v>220.81514175056628</c:v>
                </c:pt>
                <c:pt idx="4084">
                  <c:v>220.81514175056628</c:v>
                </c:pt>
                <c:pt idx="4085">
                  <c:v>220.81514175056628</c:v>
                </c:pt>
                <c:pt idx="4086">
                  <c:v>220.27494006431544</c:v>
                </c:pt>
                <c:pt idx="4087">
                  <c:v>219.94013825876831</c:v>
                </c:pt>
                <c:pt idx="4088">
                  <c:v>220.37969400347436</c:v>
                </c:pt>
                <c:pt idx="4089">
                  <c:v>220.71449580902146</c:v>
                </c:pt>
                <c:pt idx="4090">
                  <c:v>221.7414952125402</c:v>
                </c:pt>
                <c:pt idx="4091">
                  <c:v>221.7414952125402</c:v>
                </c:pt>
                <c:pt idx="4092">
                  <c:v>221.7414952125402</c:v>
                </c:pt>
                <c:pt idx="4093">
                  <c:v>221.05340561218264</c:v>
                </c:pt>
                <c:pt idx="4094">
                  <c:v>222.11532299542105</c:v>
                </c:pt>
                <c:pt idx="4095">
                  <c:v>222.28580489640515</c:v>
                </c:pt>
                <c:pt idx="4096">
                  <c:v>221.50323135092387</c:v>
                </c:pt>
                <c:pt idx="4097">
                  <c:v>222.01056905626209</c:v>
                </c:pt>
                <c:pt idx="4098">
                  <c:v>222.01056905626209</c:v>
                </c:pt>
                <c:pt idx="4099">
                  <c:v>222.01056905626209</c:v>
                </c:pt>
                <c:pt idx="4100">
                  <c:v>221.3368574475538</c:v>
                </c:pt>
                <c:pt idx="4101">
                  <c:v>220.45363796052769</c:v>
                </c:pt>
                <c:pt idx="4102">
                  <c:v>219.41842256178077</c:v>
                </c:pt>
                <c:pt idx="4103">
                  <c:v>219.03021678725068</c:v>
                </c:pt>
                <c:pt idx="4104">
                  <c:v>218.80838491609063</c:v>
                </c:pt>
                <c:pt idx="4105">
                  <c:v>218.80838491609063</c:v>
                </c:pt>
                <c:pt idx="4106">
                  <c:v>218.80838491609063</c:v>
                </c:pt>
                <c:pt idx="4107">
                  <c:v>220.14759213827907</c:v>
                </c:pt>
                <c:pt idx="4108">
                  <c:v>221.08832359190228</c:v>
                </c:pt>
                <c:pt idx="4109">
                  <c:v>221.36355943204529</c:v>
                </c:pt>
                <c:pt idx="4110">
                  <c:v>220.75352178635515</c:v>
                </c:pt>
                <c:pt idx="4111">
                  <c:v>219.96273224564575</c:v>
                </c:pt>
                <c:pt idx="4112">
                  <c:v>219.96273224564575</c:v>
                </c:pt>
                <c:pt idx="4113">
                  <c:v>219.96273224564575</c:v>
                </c:pt>
                <c:pt idx="4114">
                  <c:v>219.19659069062075</c:v>
                </c:pt>
                <c:pt idx="4115">
                  <c:v>219.82716832438123</c:v>
                </c:pt>
                <c:pt idx="4116">
                  <c:v>219.7450083720997</c:v>
                </c:pt>
                <c:pt idx="4117">
                  <c:v>219.53344649497484</c:v>
                </c:pt>
                <c:pt idx="4118">
                  <c:v>218.61325502942205</c:v>
                </c:pt>
                <c:pt idx="4119">
                  <c:v>218.61325502942205</c:v>
                </c:pt>
                <c:pt idx="4120">
                  <c:v>218.61325502942205</c:v>
                </c:pt>
                <c:pt idx="4121">
                  <c:v>218.11824131692603</c:v>
                </c:pt>
                <c:pt idx="4122">
                  <c:v>217.63144359965813</c:v>
                </c:pt>
                <c:pt idx="4123">
                  <c:v>217.28431780126877</c:v>
                </c:pt>
                <c:pt idx="4124">
                  <c:v>217.13026789074095</c:v>
                </c:pt>
                <c:pt idx="4125">
                  <c:v>217.13026789074095</c:v>
                </c:pt>
                <c:pt idx="4126">
                  <c:v>217.13026789074095</c:v>
                </c:pt>
                <c:pt idx="4127">
                  <c:v>217.13026789074095</c:v>
                </c:pt>
                <c:pt idx="4128">
                  <c:v>217.07686392175799</c:v>
                </c:pt>
                <c:pt idx="4129">
                  <c:v>217.55339164499071</c:v>
                </c:pt>
                <c:pt idx="4130">
                  <c:v>217.26788581081249</c:v>
                </c:pt>
                <c:pt idx="4131">
                  <c:v>217.86970746127449</c:v>
                </c:pt>
                <c:pt idx="4132">
                  <c:v>217.00908196112576</c:v>
                </c:pt>
                <c:pt idx="4133">
                  <c:v>217.00908196112576</c:v>
                </c:pt>
                <c:pt idx="4134">
                  <c:v>217.00908196112576</c:v>
                </c:pt>
                <c:pt idx="4135">
                  <c:v>216.31688436315414</c:v>
                </c:pt>
                <c:pt idx="4136">
                  <c:v>215.80338466139477</c:v>
                </c:pt>
                <c:pt idx="4137">
                  <c:v>216.74617011382497</c:v>
                </c:pt>
                <c:pt idx="4138">
                  <c:v>216.23883240848673</c:v>
                </c:pt>
                <c:pt idx="4139">
                  <c:v>217.12821389193394</c:v>
                </c:pt>
                <c:pt idx="4140">
                  <c:v>217.12821389193394</c:v>
                </c:pt>
                <c:pt idx="4141">
                  <c:v>217.12821389193394</c:v>
                </c:pt>
                <c:pt idx="4142">
                  <c:v>216.526392241472</c:v>
                </c:pt>
                <c:pt idx="4143">
                  <c:v>216.77287209831647</c:v>
                </c:pt>
                <c:pt idx="4144">
                  <c:v>215.99440655044927</c:v>
                </c:pt>
                <c:pt idx="4145">
                  <c:v>215.30015495367061</c:v>
                </c:pt>
                <c:pt idx="4146">
                  <c:v>215.51993282602362</c:v>
                </c:pt>
                <c:pt idx="4147">
                  <c:v>215.51993282602362</c:v>
                </c:pt>
                <c:pt idx="4148">
                  <c:v>215.51993282602362</c:v>
                </c:pt>
                <c:pt idx="4149">
                  <c:v>216.94130000049358</c:v>
                </c:pt>
                <c:pt idx="4150">
                  <c:v>215.59182278426991</c:v>
                </c:pt>
                <c:pt idx="4151">
                  <c:v>214.45801544278521</c:v>
                </c:pt>
                <c:pt idx="4152">
                  <c:v>215.03108110994873</c:v>
                </c:pt>
                <c:pt idx="4153">
                  <c:v>215.25496697991579</c:v>
                </c:pt>
                <c:pt idx="4154">
                  <c:v>215.25496697991579</c:v>
                </c:pt>
                <c:pt idx="4155">
                  <c:v>215.25496697991579</c:v>
                </c:pt>
                <c:pt idx="4156">
                  <c:v>215.70273871984998</c:v>
                </c:pt>
                <c:pt idx="4157">
                  <c:v>214.84622121731533</c:v>
                </c:pt>
                <c:pt idx="4158">
                  <c:v>213.96094773148218</c:v>
                </c:pt>
                <c:pt idx="4159">
                  <c:v>214.48882542489082</c:v>
                </c:pt>
                <c:pt idx="4160">
                  <c:v>215.02902711114172</c:v>
                </c:pt>
                <c:pt idx="4161">
                  <c:v>215.02902711114172</c:v>
                </c:pt>
                <c:pt idx="4162">
                  <c:v>215.02902711114172</c:v>
                </c:pt>
                <c:pt idx="4163">
                  <c:v>215.02902711114172</c:v>
                </c:pt>
                <c:pt idx="4164">
                  <c:v>216.0437025218182</c:v>
                </c:pt>
                <c:pt idx="4165">
                  <c:v>214.99205513261501</c:v>
                </c:pt>
                <c:pt idx="4166">
                  <c:v>215.13788904791468</c:v>
                </c:pt>
                <c:pt idx="4167">
                  <c:v>214.14169962650146</c:v>
                </c:pt>
                <c:pt idx="4168">
                  <c:v>214.14169962650146</c:v>
                </c:pt>
                <c:pt idx="4169">
                  <c:v>214.14169962650146</c:v>
                </c:pt>
                <c:pt idx="4170">
                  <c:v>214.14375362530851</c:v>
                </c:pt>
                <c:pt idx="4171">
                  <c:v>214.12321363723814</c:v>
                </c:pt>
                <c:pt idx="4172">
                  <c:v>214.66957731991013</c:v>
                </c:pt>
                <c:pt idx="4173">
                  <c:v>216.05191851704632</c:v>
                </c:pt>
                <c:pt idx="4174">
                  <c:v>216.64757817108722</c:v>
                </c:pt>
                <c:pt idx="4175">
                  <c:v>216.64757817108722</c:v>
                </c:pt>
                <c:pt idx="4176">
                  <c:v>216.64757817108722</c:v>
                </c:pt>
                <c:pt idx="4177">
                  <c:v>217.64992958892154</c:v>
                </c:pt>
                <c:pt idx="4178">
                  <c:v>217.40139573326999</c:v>
                </c:pt>
                <c:pt idx="4179">
                  <c:v>217.35004576309407</c:v>
                </c:pt>
                <c:pt idx="4180">
                  <c:v>217.6088496127808</c:v>
                </c:pt>
                <c:pt idx="4181">
                  <c:v>217.5390136533415</c:v>
                </c:pt>
                <c:pt idx="4182">
                  <c:v>217.5390136533415</c:v>
                </c:pt>
                <c:pt idx="4183">
                  <c:v>217.5390136533415</c:v>
                </c:pt>
                <c:pt idx="4184">
                  <c:v>217.74235953523819</c:v>
                </c:pt>
                <c:pt idx="4185">
                  <c:v>218.88232887314405</c:v>
                </c:pt>
                <c:pt idx="4186">
                  <c:v>218.15726729425978</c:v>
                </c:pt>
                <c:pt idx="4187">
                  <c:v>218.17780728233018</c:v>
                </c:pt>
                <c:pt idx="4188">
                  <c:v>218.1469973002246</c:v>
                </c:pt>
                <c:pt idx="4189">
                  <c:v>218.1469973002246</c:v>
                </c:pt>
                <c:pt idx="4190">
                  <c:v>218.1469973002246</c:v>
                </c:pt>
                <c:pt idx="4191">
                  <c:v>218.10797132289088</c:v>
                </c:pt>
                <c:pt idx="4192">
                  <c:v>217.79987150183524</c:v>
                </c:pt>
                <c:pt idx="4193">
                  <c:v>217.89024744934491</c:v>
                </c:pt>
                <c:pt idx="4194">
                  <c:v>217.5944716211315</c:v>
                </c:pt>
                <c:pt idx="4195">
                  <c:v>218.50644709145615</c:v>
                </c:pt>
                <c:pt idx="4196">
                  <c:v>218.50644709145615</c:v>
                </c:pt>
                <c:pt idx="4197">
                  <c:v>218.50644709145615</c:v>
                </c:pt>
                <c:pt idx="4198">
                  <c:v>219.22534667391926</c:v>
                </c:pt>
                <c:pt idx="4199">
                  <c:v>219.51290650690453</c:v>
                </c:pt>
                <c:pt idx="4200">
                  <c:v>218.51260908787725</c:v>
                </c:pt>
                <c:pt idx="4201">
                  <c:v>218.42634113798172</c:v>
                </c:pt>
                <c:pt idx="4202">
                  <c:v>218.42634113798172</c:v>
                </c:pt>
                <c:pt idx="4203">
                  <c:v>218.42634113798172</c:v>
                </c:pt>
                <c:pt idx="4204">
                  <c:v>218.42634113798172</c:v>
                </c:pt>
                <c:pt idx="4205">
                  <c:v>217.1158898990918</c:v>
                </c:pt>
                <c:pt idx="4206">
                  <c:v>217.02962194919621</c:v>
                </c:pt>
                <c:pt idx="4207">
                  <c:v>216.20596842757419</c:v>
                </c:pt>
                <c:pt idx="4208">
                  <c:v>215.75203469121894</c:v>
                </c:pt>
                <c:pt idx="4209">
                  <c:v>214.84827521612243</c:v>
                </c:pt>
                <c:pt idx="4210">
                  <c:v>214.84827521612243</c:v>
                </c:pt>
                <c:pt idx="4211">
                  <c:v>214.84827521612243</c:v>
                </c:pt>
                <c:pt idx="4212">
                  <c:v>214.97973113977284</c:v>
                </c:pt>
                <c:pt idx="4213">
                  <c:v>214.49293342250493</c:v>
                </c:pt>
                <c:pt idx="4214">
                  <c:v>213.89521976965702</c:v>
                </c:pt>
                <c:pt idx="4215">
                  <c:v>213.90343576488522</c:v>
                </c:pt>
                <c:pt idx="4216">
                  <c:v>213.94040774341187</c:v>
                </c:pt>
                <c:pt idx="4217">
                  <c:v>213.94040774341187</c:v>
                </c:pt>
                <c:pt idx="4218">
                  <c:v>213.94040774341187</c:v>
                </c:pt>
                <c:pt idx="4219">
                  <c:v>213.43717803568774</c:v>
                </c:pt>
                <c:pt idx="4220">
                  <c:v>214.05543167660602</c:v>
                </c:pt>
                <c:pt idx="4221">
                  <c:v>213.54603997246073</c:v>
                </c:pt>
                <c:pt idx="4222">
                  <c:v>213.6549019092337</c:v>
                </c:pt>
                <c:pt idx="4223">
                  <c:v>213.40636805358216</c:v>
                </c:pt>
                <c:pt idx="4224">
                  <c:v>213.40636805358216</c:v>
                </c:pt>
                <c:pt idx="4225">
                  <c:v>213.40636805358216</c:v>
                </c:pt>
                <c:pt idx="4226">
                  <c:v>212.87849036017352</c:v>
                </c:pt>
                <c:pt idx="4227">
                  <c:v>213.97327172432449</c:v>
                </c:pt>
                <c:pt idx="4228">
                  <c:v>213.89521976965705</c:v>
                </c:pt>
                <c:pt idx="4229">
                  <c:v>213.74733185555039</c:v>
                </c:pt>
                <c:pt idx="4230">
                  <c:v>213.85619379232335</c:v>
                </c:pt>
                <c:pt idx="4231">
                  <c:v>213.85619379232335</c:v>
                </c:pt>
                <c:pt idx="4232">
                  <c:v>213.85619379232335</c:v>
                </c:pt>
                <c:pt idx="4233">
                  <c:v>213.26669613470355</c:v>
                </c:pt>
                <c:pt idx="4234">
                  <c:v>214.57098537717241</c:v>
                </c:pt>
                <c:pt idx="4235">
                  <c:v>215.40080089521555</c:v>
                </c:pt>
                <c:pt idx="4236">
                  <c:v>215.35355892265369</c:v>
                </c:pt>
                <c:pt idx="4237">
                  <c:v>214.96740714693064</c:v>
                </c:pt>
                <c:pt idx="4238">
                  <c:v>214.96740714693064</c:v>
                </c:pt>
                <c:pt idx="4239">
                  <c:v>214.96740714693064</c:v>
                </c:pt>
                <c:pt idx="4240">
                  <c:v>215.33507293339034</c:v>
                </c:pt>
                <c:pt idx="4241">
                  <c:v>214.52785140222463</c:v>
                </c:pt>
                <c:pt idx="4242">
                  <c:v>214.61411935212016</c:v>
                </c:pt>
                <c:pt idx="4243">
                  <c:v>214.50525741534719</c:v>
                </c:pt>
                <c:pt idx="4244">
                  <c:v>214.19715759429155</c:v>
                </c:pt>
                <c:pt idx="4245">
                  <c:v>214.19715759429155</c:v>
                </c:pt>
                <c:pt idx="4246">
                  <c:v>214.19715759429155</c:v>
                </c:pt>
                <c:pt idx="4247">
                  <c:v>214.82978922685913</c:v>
                </c:pt>
                <c:pt idx="4248">
                  <c:v>214.98178513857991</c:v>
                </c:pt>
                <c:pt idx="4249">
                  <c:v>214.4888254248909</c:v>
                </c:pt>
                <c:pt idx="4250">
                  <c:v>214.3573695012405</c:v>
                </c:pt>
                <c:pt idx="4251">
                  <c:v>214.63465934019061</c:v>
                </c:pt>
                <c:pt idx="4252">
                  <c:v>214.63465934019061</c:v>
                </c:pt>
                <c:pt idx="4253">
                  <c:v>214.63465934019061</c:v>
                </c:pt>
                <c:pt idx="4254">
                  <c:v>214.22796757639719</c:v>
                </c:pt>
                <c:pt idx="4255">
                  <c:v>215.34123492981152</c:v>
                </c:pt>
                <c:pt idx="4256">
                  <c:v>215.05778309444031</c:v>
                </c:pt>
                <c:pt idx="4257">
                  <c:v>215.03724310636997</c:v>
                </c:pt>
                <c:pt idx="4258">
                  <c:v>215.47679885107596</c:v>
                </c:pt>
                <c:pt idx="4259">
                  <c:v>215.47679885107596</c:v>
                </c:pt>
                <c:pt idx="4260">
                  <c:v>215.47679885107596</c:v>
                </c:pt>
                <c:pt idx="4261">
                  <c:v>215.47679885107596</c:v>
                </c:pt>
                <c:pt idx="4262">
                  <c:v>216.12586247409982</c:v>
                </c:pt>
                <c:pt idx="4263">
                  <c:v>215.35355892265372</c:v>
                </c:pt>
                <c:pt idx="4264">
                  <c:v>214.7825472542973</c:v>
                </c:pt>
                <c:pt idx="4265">
                  <c:v>214.57098537717243</c:v>
                </c:pt>
                <c:pt idx="4266">
                  <c:v>214.57098537717243</c:v>
                </c:pt>
                <c:pt idx="4267">
                  <c:v>214.57098537717243</c:v>
                </c:pt>
                <c:pt idx="4268">
                  <c:v>215.15842903598514</c:v>
                </c:pt>
                <c:pt idx="4269">
                  <c:v>214.82362723043806</c:v>
                </c:pt>
                <c:pt idx="4270">
                  <c:v>214.6942253055947</c:v>
                </c:pt>
                <c:pt idx="4271">
                  <c:v>215.62879476279676</c:v>
                </c:pt>
                <c:pt idx="4272">
                  <c:v>214.73735928054251</c:v>
                </c:pt>
                <c:pt idx="4273">
                  <c:v>214.73735928054251</c:v>
                </c:pt>
                <c:pt idx="4274">
                  <c:v>214.73735928054251</c:v>
                </c:pt>
                <c:pt idx="4275">
                  <c:v>213.87878777920082</c:v>
                </c:pt>
                <c:pt idx="4276">
                  <c:v>213.05513425757877</c:v>
                </c:pt>
                <c:pt idx="4277">
                  <c:v>212.86616636733132</c:v>
                </c:pt>
                <c:pt idx="4278">
                  <c:v>212.42250262501125</c:v>
                </c:pt>
                <c:pt idx="4279">
                  <c:v>210.81422155910084</c:v>
                </c:pt>
                <c:pt idx="4280">
                  <c:v>210.81422155910084</c:v>
                </c:pt>
                <c:pt idx="4281">
                  <c:v>210.81422155910084</c:v>
                </c:pt>
                <c:pt idx="4282">
                  <c:v>209.95975805537327</c:v>
                </c:pt>
                <c:pt idx="4283">
                  <c:v>209.15664452182159</c:v>
                </c:pt>
                <c:pt idx="4284">
                  <c:v>208.29396502286585</c:v>
                </c:pt>
                <c:pt idx="4285">
                  <c:v>208.73557476637893</c:v>
                </c:pt>
                <c:pt idx="4286">
                  <c:v>207.93862322924841</c:v>
                </c:pt>
                <c:pt idx="4287">
                  <c:v>207.93862322924841</c:v>
                </c:pt>
                <c:pt idx="4288">
                  <c:v>207.93862322924841</c:v>
                </c:pt>
                <c:pt idx="4289">
                  <c:v>208.45417692981479</c:v>
                </c:pt>
                <c:pt idx="4290">
                  <c:v>207.18480566706563</c:v>
                </c:pt>
                <c:pt idx="4291">
                  <c:v>207.60792942131536</c:v>
                </c:pt>
                <c:pt idx="4292">
                  <c:v>208.56714686420185</c:v>
                </c:pt>
                <c:pt idx="4293">
                  <c:v>207.71473735928129</c:v>
                </c:pt>
                <c:pt idx="4294">
                  <c:v>207.71473735928129</c:v>
                </c:pt>
                <c:pt idx="4295">
                  <c:v>207.71473735928129</c:v>
                </c:pt>
                <c:pt idx="4296">
                  <c:v>207.93451523163432</c:v>
                </c:pt>
                <c:pt idx="4297">
                  <c:v>208.71914277592265</c:v>
                </c:pt>
                <c:pt idx="4298">
                  <c:v>208.55276887255263</c:v>
                </c:pt>
                <c:pt idx="4299">
                  <c:v>208.24056105388291</c:v>
                </c:pt>
                <c:pt idx="4300">
                  <c:v>207.63463140580686</c:v>
                </c:pt>
                <c:pt idx="4301">
                  <c:v>207.63463140580686</c:v>
                </c:pt>
                <c:pt idx="4302">
                  <c:v>207.63463140580686</c:v>
                </c:pt>
                <c:pt idx="4303">
                  <c:v>209.40517837747319</c:v>
                </c:pt>
                <c:pt idx="4304">
                  <c:v>210.54925571299307</c:v>
                </c:pt>
                <c:pt idx="4305">
                  <c:v>212.15342878128939</c:v>
                </c:pt>
                <c:pt idx="4306">
                  <c:v>213.6446319151986</c:v>
                </c:pt>
                <c:pt idx="4307">
                  <c:v>211.96446089104191</c:v>
                </c:pt>
                <c:pt idx="4308">
                  <c:v>211.96446089104191</c:v>
                </c:pt>
                <c:pt idx="4309">
                  <c:v>211.96446089104191</c:v>
                </c:pt>
                <c:pt idx="4310">
                  <c:v>212.86822036613839</c:v>
                </c:pt>
                <c:pt idx="4311">
                  <c:v>213.11264622417588</c:v>
                </c:pt>
                <c:pt idx="4312">
                  <c:v>212.83741038403286</c:v>
                </c:pt>
                <c:pt idx="4313">
                  <c:v>213.79868182572642</c:v>
                </c:pt>
                <c:pt idx="4314">
                  <c:v>213.0304862718944</c:v>
                </c:pt>
                <c:pt idx="4315">
                  <c:v>213.0304862718944</c:v>
                </c:pt>
                <c:pt idx="4316">
                  <c:v>213.0304862718944</c:v>
                </c:pt>
                <c:pt idx="4317">
                  <c:v>212.87232836375253</c:v>
                </c:pt>
                <c:pt idx="4318">
                  <c:v>214.24439956685353</c:v>
                </c:pt>
                <c:pt idx="4319">
                  <c:v>214.06775566944833</c:v>
                </c:pt>
                <c:pt idx="4320">
                  <c:v>213.29750611680927</c:v>
                </c:pt>
                <c:pt idx="4321">
                  <c:v>213.21329216572073</c:v>
                </c:pt>
                <c:pt idx="4322">
                  <c:v>213.21329216572073</c:v>
                </c:pt>
                <c:pt idx="4323">
                  <c:v>213.21329216572073</c:v>
                </c:pt>
                <c:pt idx="4324">
                  <c:v>212.92984033034958</c:v>
                </c:pt>
                <c:pt idx="4325">
                  <c:v>212.297208697782</c:v>
                </c:pt>
                <c:pt idx="4326">
                  <c:v>211.96446089104197</c:v>
                </c:pt>
                <c:pt idx="4327">
                  <c:v>212.23558873357092</c:v>
                </c:pt>
                <c:pt idx="4328">
                  <c:v>213.17632018719411</c:v>
                </c:pt>
                <c:pt idx="4329">
                  <c:v>213.17632018719411</c:v>
                </c:pt>
                <c:pt idx="4330">
                  <c:v>213.17632018719411</c:v>
                </c:pt>
                <c:pt idx="4331">
                  <c:v>212.65049649259251</c:v>
                </c:pt>
                <c:pt idx="4332">
                  <c:v>212.37320665364248</c:v>
                </c:pt>
                <c:pt idx="4333">
                  <c:v>213.65079391161981</c:v>
                </c:pt>
                <c:pt idx="4334">
                  <c:v>212.75935842936551</c:v>
                </c:pt>
                <c:pt idx="4335">
                  <c:v>212.78195241624294</c:v>
                </c:pt>
                <c:pt idx="4336">
                  <c:v>212.78195241624294</c:v>
                </c:pt>
                <c:pt idx="4337">
                  <c:v>212.78195241624294</c:v>
                </c:pt>
                <c:pt idx="4338">
                  <c:v>212.07332282781499</c:v>
                </c:pt>
                <c:pt idx="4339">
                  <c:v>211.65430707117935</c:v>
                </c:pt>
                <c:pt idx="4340">
                  <c:v>210.97443346604996</c:v>
                </c:pt>
                <c:pt idx="4341">
                  <c:v>212.53547255939844</c:v>
                </c:pt>
                <c:pt idx="4342">
                  <c:v>212.0075948659898</c:v>
                </c:pt>
                <c:pt idx="4343">
                  <c:v>212.0075948659898</c:v>
                </c:pt>
                <c:pt idx="4344">
                  <c:v>212.0075948659898</c:v>
                </c:pt>
                <c:pt idx="4345">
                  <c:v>213.04691826235077</c:v>
                </c:pt>
                <c:pt idx="4346">
                  <c:v>212.79016841147109</c:v>
                </c:pt>
                <c:pt idx="4347">
                  <c:v>212.1780767669739</c:v>
                </c:pt>
                <c:pt idx="4348">
                  <c:v>212.1780767669739</c:v>
                </c:pt>
                <c:pt idx="4349">
                  <c:v>209.94743406253116</c:v>
                </c:pt>
                <c:pt idx="4350">
                  <c:v>209.94743406253116</c:v>
                </c:pt>
                <c:pt idx="4351">
                  <c:v>209.94743406253116</c:v>
                </c:pt>
                <c:pt idx="4352">
                  <c:v>208.65136081529053</c:v>
                </c:pt>
                <c:pt idx="4353">
                  <c:v>208.1522391051804</c:v>
                </c:pt>
                <c:pt idx="4354">
                  <c:v>208.73352076757203</c:v>
                </c:pt>
                <c:pt idx="4355">
                  <c:v>207.93656923044148</c:v>
                </c:pt>
                <c:pt idx="4356">
                  <c:v>207.94683922447666</c:v>
                </c:pt>
                <c:pt idx="4357">
                  <c:v>207.94683922447666</c:v>
                </c:pt>
                <c:pt idx="4358">
                  <c:v>207.94683922447666</c:v>
                </c:pt>
                <c:pt idx="4359">
                  <c:v>206.72676393309638</c:v>
                </c:pt>
                <c:pt idx="4360">
                  <c:v>208.88962467690686</c:v>
                </c:pt>
                <c:pt idx="4361">
                  <c:v>207.81332930201921</c:v>
                </c:pt>
                <c:pt idx="4362">
                  <c:v>207.54630945710434</c:v>
                </c:pt>
                <c:pt idx="4363">
                  <c:v>208.20564307416336</c:v>
                </c:pt>
                <c:pt idx="4364">
                  <c:v>208.20564307416336</c:v>
                </c:pt>
                <c:pt idx="4365">
                  <c:v>208.20564307416336</c:v>
                </c:pt>
                <c:pt idx="4366">
                  <c:v>208.10499713261854</c:v>
                </c:pt>
                <c:pt idx="4367">
                  <c:v>209.12994253733027</c:v>
                </c:pt>
                <c:pt idx="4368">
                  <c:v>210.14256394919974</c:v>
                </c:pt>
                <c:pt idx="4369">
                  <c:v>208.34120699542785</c:v>
                </c:pt>
                <c:pt idx="4370">
                  <c:v>208.50141890237677</c:v>
                </c:pt>
                <c:pt idx="4371">
                  <c:v>208.50141890237677</c:v>
                </c:pt>
                <c:pt idx="4372">
                  <c:v>208.50141890237677</c:v>
                </c:pt>
                <c:pt idx="4373">
                  <c:v>208.32272100616453</c:v>
                </c:pt>
                <c:pt idx="4374">
                  <c:v>208.48498691192046</c:v>
                </c:pt>
                <c:pt idx="4375">
                  <c:v>208.57947085704419</c:v>
                </c:pt>
                <c:pt idx="4376">
                  <c:v>208.57947085704419</c:v>
                </c:pt>
                <c:pt idx="4377">
                  <c:v>208.6575228117116</c:v>
                </c:pt>
                <c:pt idx="4378">
                  <c:v>208.6575228117116</c:v>
                </c:pt>
                <c:pt idx="4379">
                  <c:v>208.6575228117116</c:v>
                </c:pt>
                <c:pt idx="4380">
                  <c:v>209.61468625579107</c:v>
                </c:pt>
                <c:pt idx="4381">
                  <c:v>209.53458030231661</c:v>
                </c:pt>
                <c:pt idx="4382">
                  <c:v>209.80160014723145</c:v>
                </c:pt>
                <c:pt idx="4383">
                  <c:v>209.80160014723145</c:v>
                </c:pt>
                <c:pt idx="4384">
                  <c:v>209.29426244189321</c:v>
                </c:pt>
                <c:pt idx="4385">
                  <c:v>209.29426244189321</c:v>
                </c:pt>
                <c:pt idx="4386">
                  <c:v>209.29426244189321</c:v>
                </c:pt>
                <c:pt idx="4387">
                  <c:v>209.30864043354248</c:v>
                </c:pt>
                <c:pt idx="4388">
                  <c:v>209.09091655999651</c:v>
                </c:pt>
                <c:pt idx="4389">
                  <c:v>208.57741685823714</c:v>
                </c:pt>
                <c:pt idx="4390">
                  <c:v>208.42336694770933</c:v>
                </c:pt>
                <c:pt idx="4391">
                  <c:v>208.42952894413042</c:v>
                </c:pt>
                <c:pt idx="4392">
                  <c:v>208.42952894413042</c:v>
                </c:pt>
                <c:pt idx="4393">
                  <c:v>208.42952894413042</c:v>
                </c:pt>
                <c:pt idx="4394">
                  <c:v>208.67600880097496</c:v>
                </c:pt>
                <c:pt idx="4395">
                  <c:v>209.18334650631323</c:v>
                </c:pt>
                <c:pt idx="4396">
                  <c:v>209.76257416989782</c:v>
                </c:pt>
                <c:pt idx="4397">
                  <c:v>208.43979893816567</c:v>
                </c:pt>
                <c:pt idx="4398">
                  <c:v>208.97178462918839</c:v>
                </c:pt>
                <c:pt idx="4399">
                  <c:v>208.97178462918839</c:v>
                </c:pt>
                <c:pt idx="4400">
                  <c:v>208.97178462918839</c:v>
                </c:pt>
                <c:pt idx="4401">
                  <c:v>208.97178462918839</c:v>
                </c:pt>
                <c:pt idx="4402">
                  <c:v>207.88316526145854</c:v>
                </c:pt>
                <c:pt idx="4403">
                  <c:v>208.27342503479568</c:v>
                </c:pt>
                <c:pt idx="4404">
                  <c:v>208.28780302644492</c:v>
                </c:pt>
                <c:pt idx="4405">
                  <c:v>208.84238270434506</c:v>
                </c:pt>
                <c:pt idx="4406">
                  <c:v>208.84238270434506</c:v>
                </c:pt>
                <c:pt idx="4407">
                  <c:v>208.84238270434506</c:v>
                </c:pt>
                <c:pt idx="4408">
                  <c:v>210.44450177383428</c:v>
                </c:pt>
                <c:pt idx="4409">
                  <c:v>211.72414303061865</c:v>
                </c:pt>
                <c:pt idx="4410">
                  <c:v>211.61528109384568</c:v>
                </c:pt>
                <c:pt idx="4411">
                  <c:v>211.78576299482978</c:v>
                </c:pt>
                <c:pt idx="4412">
                  <c:v>211.96651488984909</c:v>
                </c:pt>
                <c:pt idx="4413">
                  <c:v>211.96651488984909</c:v>
                </c:pt>
                <c:pt idx="4414">
                  <c:v>211.96651488984909</c:v>
                </c:pt>
                <c:pt idx="4415">
                  <c:v>211.77343900198755</c:v>
                </c:pt>
                <c:pt idx="4416">
                  <c:v>212.9524343172271</c:v>
                </c:pt>
                <c:pt idx="4417">
                  <c:v>212.52931056297737</c:v>
                </c:pt>
                <c:pt idx="4418">
                  <c:v>212.59093052718848</c:v>
                </c:pt>
                <c:pt idx="4419">
                  <c:v>212.6237945081011</c:v>
                </c:pt>
                <c:pt idx="4420">
                  <c:v>212.6237945081011</c:v>
                </c:pt>
                <c:pt idx="4421">
                  <c:v>212.6237945081011</c:v>
                </c:pt>
                <c:pt idx="4422">
                  <c:v>212.8004384055063</c:v>
                </c:pt>
                <c:pt idx="4423">
                  <c:v>211.97473088507721</c:v>
                </c:pt>
                <c:pt idx="4424">
                  <c:v>212.43482661785362</c:v>
                </c:pt>
                <c:pt idx="4425">
                  <c:v>212.73265644487407</c:v>
                </c:pt>
                <c:pt idx="4426">
                  <c:v>213.1557801991238</c:v>
                </c:pt>
                <c:pt idx="4427">
                  <c:v>213.1557801991238</c:v>
                </c:pt>
                <c:pt idx="4428">
                  <c:v>213.1557801991238</c:v>
                </c:pt>
                <c:pt idx="4429">
                  <c:v>213.1557801991238</c:v>
                </c:pt>
                <c:pt idx="4430">
                  <c:v>213.12497021701822</c:v>
                </c:pt>
                <c:pt idx="4431">
                  <c:v>213.45566402495129</c:v>
                </c:pt>
                <c:pt idx="4432">
                  <c:v>213.15783419793084</c:v>
                </c:pt>
                <c:pt idx="4433">
                  <c:v>212.87027436494557</c:v>
                </c:pt>
                <c:pt idx="4434">
                  <c:v>212.87027436494557</c:v>
                </c:pt>
                <c:pt idx="4435">
                  <c:v>212.87027436494557</c:v>
                </c:pt>
                <c:pt idx="4436">
                  <c:v>213.03048627189455</c:v>
                </c:pt>
                <c:pt idx="4437">
                  <c:v>212.81892439476965</c:v>
                </c:pt>
                <c:pt idx="4438">
                  <c:v>213.15578019912383</c:v>
                </c:pt>
                <c:pt idx="4439">
                  <c:v>213.38377406670494</c:v>
                </c:pt>
                <c:pt idx="4440">
                  <c:v>213.62409192712835</c:v>
                </c:pt>
                <c:pt idx="4441">
                  <c:v>213.62409192712835</c:v>
                </c:pt>
                <c:pt idx="4442">
                  <c:v>213.62409192712835</c:v>
                </c:pt>
                <c:pt idx="4443">
                  <c:v>213.39199006193314</c:v>
                </c:pt>
                <c:pt idx="4444">
                  <c:v>213.37761207028385</c:v>
                </c:pt>
                <c:pt idx="4445">
                  <c:v>213.57479595575947</c:v>
                </c:pt>
                <c:pt idx="4446">
                  <c:v>213.14961820270273</c:v>
                </c:pt>
                <c:pt idx="4447">
                  <c:v>213.57479595575947</c:v>
                </c:pt>
                <c:pt idx="4448">
                  <c:v>213.57479595575947</c:v>
                </c:pt>
                <c:pt idx="4449">
                  <c:v>213.57479595575947</c:v>
                </c:pt>
                <c:pt idx="4450">
                  <c:v>213.02432427547339</c:v>
                </c:pt>
                <c:pt idx="4451">
                  <c:v>213.68160389372539</c:v>
                </c:pt>
                <c:pt idx="4452">
                  <c:v>215.09680907177426</c:v>
                </c:pt>
                <c:pt idx="4453">
                  <c:v>214.95713715289571</c:v>
                </c:pt>
                <c:pt idx="4454">
                  <c:v>214.99616313022943</c:v>
                </c:pt>
                <c:pt idx="4455">
                  <c:v>214.99616313022943</c:v>
                </c:pt>
                <c:pt idx="4456">
                  <c:v>214.99616313022943</c:v>
                </c:pt>
                <c:pt idx="4457">
                  <c:v>213.64463191519877</c:v>
                </c:pt>
                <c:pt idx="4458">
                  <c:v>214.66546932229639</c:v>
                </c:pt>
                <c:pt idx="4459">
                  <c:v>214.72092729008645</c:v>
                </c:pt>
                <c:pt idx="4460">
                  <c:v>214.97767714096614</c:v>
                </c:pt>
                <c:pt idx="4461">
                  <c:v>215.25907497753025</c:v>
                </c:pt>
                <c:pt idx="4462">
                  <c:v>215.25907497753025</c:v>
                </c:pt>
                <c:pt idx="4463">
                  <c:v>215.25907497753025</c:v>
                </c:pt>
                <c:pt idx="4464">
                  <c:v>215.58360678904214</c:v>
                </c:pt>
                <c:pt idx="4465">
                  <c:v>216.1505104597845</c:v>
                </c:pt>
                <c:pt idx="4466">
                  <c:v>215.3843689047595</c:v>
                </c:pt>
                <c:pt idx="4467">
                  <c:v>215.49117684272548</c:v>
                </c:pt>
                <c:pt idx="4468">
                  <c:v>215.79311466735996</c:v>
                </c:pt>
                <c:pt idx="4469">
                  <c:v>215.79311466735996</c:v>
                </c:pt>
                <c:pt idx="4470">
                  <c:v>215.79311466735996</c:v>
                </c:pt>
                <c:pt idx="4471">
                  <c:v>216.12791647290709</c:v>
                </c:pt>
                <c:pt idx="4472">
                  <c:v>217.35209976190146</c:v>
                </c:pt>
                <c:pt idx="4473">
                  <c:v>217.83068148394116</c:v>
                </c:pt>
                <c:pt idx="4474">
                  <c:v>218.18396927875162</c:v>
                </c:pt>
                <c:pt idx="4475">
                  <c:v>218.18396927875162</c:v>
                </c:pt>
                <c:pt idx="4476">
                  <c:v>218.18396927875162</c:v>
                </c:pt>
                <c:pt idx="4477">
                  <c:v>218.18396927875162</c:v>
                </c:pt>
                <c:pt idx="4478">
                  <c:v>218.84330289581067</c:v>
                </c:pt>
                <c:pt idx="4479">
                  <c:v>218.00527138253932</c:v>
                </c:pt>
                <c:pt idx="4480">
                  <c:v>217.90257144218745</c:v>
                </c:pt>
                <c:pt idx="4481">
                  <c:v>216.64347017347347</c:v>
                </c:pt>
                <c:pt idx="4482">
                  <c:v>216.23677840968003</c:v>
                </c:pt>
                <c:pt idx="4483">
                  <c:v>216.23677840968003</c:v>
                </c:pt>
                <c:pt idx="4484">
                  <c:v>216.23677840968003</c:v>
                </c:pt>
                <c:pt idx="4485">
                  <c:v>216.81189807565053</c:v>
                </c:pt>
                <c:pt idx="4486">
                  <c:v>217.01935195516131</c:v>
                </c:pt>
                <c:pt idx="4487">
                  <c:v>217.85327547081857</c:v>
                </c:pt>
                <c:pt idx="4488">
                  <c:v>217.16929386807507</c:v>
                </c:pt>
                <c:pt idx="4489">
                  <c:v>216.91665201480944</c:v>
                </c:pt>
                <c:pt idx="4490">
                  <c:v>216.91665201480944</c:v>
                </c:pt>
                <c:pt idx="4491">
                  <c:v>216.91665201480944</c:v>
                </c:pt>
                <c:pt idx="4492">
                  <c:v>216.76465610308867</c:v>
                </c:pt>
                <c:pt idx="4493">
                  <c:v>216.52639224147237</c:v>
                </c:pt>
                <c:pt idx="4494">
                  <c:v>215.65344274848141</c:v>
                </c:pt>
                <c:pt idx="4495">
                  <c:v>216.83654606133501</c:v>
                </c:pt>
                <c:pt idx="4496">
                  <c:v>216.07862050153815</c:v>
                </c:pt>
                <c:pt idx="4497">
                  <c:v>216.07862050153815</c:v>
                </c:pt>
                <c:pt idx="4498">
                  <c:v>216.07862050153815</c:v>
                </c:pt>
                <c:pt idx="4499">
                  <c:v>215.15432103837128</c:v>
                </c:pt>
                <c:pt idx="4500">
                  <c:v>215.9512725755018</c:v>
                </c:pt>
                <c:pt idx="4501">
                  <c:v>215.35972091907504</c:v>
                </c:pt>
                <c:pt idx="4502">
                  <c:v>213.98970371478103</c:v>
                </c:pt>
                <c:pt idx="4503">
                  <c:v>212.87849036017377</c:v>
                </c:pt>
                <c:pt idx="4504">
                  <c:v>212.87849036017377</c:v>
                </c:pt>
                <c:pt idx="4505">
                  <c:v>212.87849036017377</c:v>
                </c:pt>
                <c:pt idx="4506">
                  <c:v>213.12086221940416</c:v>
                </c:pt>
                <c:pt idx="4507">
                  <c:v>212.64022649855741</c:v>
                </c:pt>
                <c:pt idx="4508">
                  <c:v>213.23588615259831</c:v>
                </c:pt>
                <c:pt idx="4509">
                  <c:v>212.4594746035381</c:v>
                </c:pt>
                <c:pt idx="4510">
                  <c:v>211.78370899602277</c:v>
                </c:pt>
                <c:pt idx="4511">
                  <c:v>211.78370899602277</c:v>
                </c:pt>
                <c:pt idx="4512">
                  <c:v>211.78370899602277</c:v>
                </c:pt>
                <c:pt idx="4513">
                  <c:v>212.42455662381849</c:v>
                </c:pt>
                <c:pt idx="4514">
                  <c:v>212.91135434108637</c:v>
                </c:pt>
                <c:pt idx="4515">
                  <c:v>213.09005223729866</c:v>
                </c:pt>
                <c:pt idx="4516">
                  <c:v>212.67103648066302</c:v>
                </c:pt>
                <c:pt idx="4517">
                  <c:v>212.66692848304896</c:v>
                </c:pt>
                <c:pt idx="4518">
                  <c:v>212.66692848304896</c:v>
                </c:pt>
                <c:pt idx="4519">
                  <c:v>212.66692848304896</c:v>
                </c:pt>
                <c:pt idx="4520">
                  <c:v>213.68981988895359</c:v>
                </c:pt>
                <c:pt idx="4521">
                  <c:v>213.36939607505576</c:v>
                </c:pt>
                <c:pt idx="4522">
                  <c:v>213.87057178397293</c:v>
                </c:pt>
                <c:pt idx="4523">
                  <c:v>213.4803120106358</c:v>
                </c:pt>
                <c:pt idx="4524">
                  <c:v>213.27902012754612</c:v>
                </c:pt>
                <c:pt idx="4525">
                  <c:v>213.27902012754612</c:v>
                </c:pt>
                <c:pt idx="4526">
                  <c:v>213.27902012754612</c:v>
                </c:pt>
                <c:pt idx="4527">
                  <c:v>213.27902012754612</c:v>
                </c:pt>
                <c:pt idx="4528">
                  <c:v>212.71827845322491</c:v>
                </c:pt>
                <c:pt idx="4529">
                  <c:v>212.70184646276857</c:v>
                </c:pt>
                <c:pt idx="4530">
                  <c:v>212.49233858445075</c:v>
                </c:pt>
                <c:pt idx="4531">
                  <c:v>212.47796059280151</c:v>
                </c:pt>
                <c:pt idx="4532">
                  <c:v>212.47796059280151</c:v>
                </c:pt>
                <c:pt idx="4533">
                  <c:v>212.47796059280151</c:v>
                </c:pt>
                <c:pt idx="4534">
                  <c:v>212.23353473476402</c:v>
                </c:pt>
                <c:pt idx="4535">
                  <c:v>213.14345620628163</c:v>
                </c:pt>
                <c:pt idx="4536">
                  <c:v>214.16018561576522</c:v>
                </c:pt>
                <c:pt idx="4537">
                  <c:v>213.6364159199706</c:v>
                </c:pt>
                <c:pt idx="4538">
                  <c:v>214.11499764201039</c:v>
                </c:pt>
                <c:pt idx="4539">
                  <c:v>214.11499764201039</c:v>
                </c:pt>
                <c:pt idx="4540">
                  <c:v>214.11499764201039</c:v>
                </c:pt>
                <c:pt idx="4541">
                  <c:v>214.42515146187304</c:v>
                </c:pt>
                <c:pt idx="4542">
                  <c:v>214.09651165274701</c:v>
                </c:pt>
                <c:pt idx="4543">
                  <c:v>213.76992584242805</c:v>
                </c:pt>
                <c:pt idx="4544">
                  <c:v>213.80689782095473</c:v>
                </c:pt>
                <c:pt idx="4545">
                  <c:v>214.32655951913523</c:v>
                </c:pt>
                <c:pt idx="4546">
                  <c:v>214.32655951913523</c:v>
                </c:pt>
                <c:pt idx="4547">
                  <c:v>214.32655951913523</c:v>
                </c:pt>
                <c:pt idx="4548">
                  <c:v>214.14375362530888</c:v>
                </c:pt>
                <c:pt idx="4549">
                  <c:v>214.22180557997632</c:v>
                </c:pt>
                <c:pt idx="4550">
                  <c:v>213.65900990684804</c:v>
                </c:pt>
                <c:pt idx="4551">
                  <c:v>213.26464213589682</c:v>
                </c:pt>
                <c:pt idx="4552">
                  <c:v>213.87878777920105</c:v>
                </c:pt>
                <c:pt idx="4553">
                  <c:v>213.87878777920105</c:v>
                </c:pt>
                <c:pt idx="4554">
                  <c:v>213.87878777920105</c:v>
                </c:pt>
                <c:pt idx="4555">
                  <c:v>213.26464213589682</c:v>
                </c:pt>
                <c:pt idx="4556">
                  <c:v>213.74733185555067</c:v>
                </c:pt>
                <c:pt idx="4557">
                  <c:v>213.6240919271284</c:v>
                </c:pt>
                <c:pt idx="4558">
                  <c:v>213.7596558483929</c:v>
                </c:pt>
                <c:pt idx="4559">
                  <c:v>213.85003179590257</c:v>
                </c:pt>
                <c:pt idx="4560">
                  <c:v>213.85003179590257</c:v>
                </c:pt>
                <c:pt idx="4561">
                  <c:v>213.85003179590257</c:v>
                </c:pt>
                <c:pt idx="4562">
                  <c:v>213.57479595575953</c:v>
                </c:pt>
                <c:pt idx="4563">
                  <c:v>213.43923203449506</c:v>
                </c:pt>
                <c:pt idx="4564">
                  <c:v>212.15548278009663</c:v>
                </c:pt>
                <c:pt idx="4565">
                  <c:v>211.70360304254837</c:v>
                </c:pt>
                <c:pt idx="4566">
                  <c:v>211.70360304254837</c:v>
                </c:pt>
                <c:pt idx="4567">
                  <c:v>211.70360304254837</c:v>
                </c:pt>
                <c:pt idx="4568">
                  <c:v>211.70360304254837</c:v>
                </c:pt>
                <c:pt idx="4569">
                  <c:v>211.50231115945869</c:v>
                </c:pt>
                <c:pt idx="4570">
                  <c:v>210.8778955221193</c:v>
                </c:pt>
                <c:pt idx="4571">
                  <c:v>211.245561308579</c:v>
                </c:pt>
                <c:pt idx="4572">
                  <c:v>211.02578343622599</c:v>
                </c:pt>
                <c:pt idx="4573">
                  <c:v>210.42806978337805</c:v>
                </c:pt>
                <c:pt idx="4574">
                  <c:v>210.42806978337805</c:v>
                </c:pt>
                <c:pt idx="4575">
                  <c:v>210.42806978337805</c:v>
                </c:pt>
                <c:pt idx="4576">
                  <c:v>210.10353797186613</c:v>
                </c:pt>
                <c:pt idx="4577">
                  <c:v>210.00289203032131</c:v>
                </c:pt>
                <c:pt idx="4578">
                  <c:v>208.35969298469132</c:v>
                </c:pt>
                <c:pt idx="4579">
                  <c:v>207.55863344994671</c:v>
                </c:pt>
                <c:pt idx="4580">
                  <c:v>205.68333253912149</c:v>
                </c:pt>
                <c:pt idx="4581">
                  <c:v>205.68333253912149</c:v>
                </c:pt>
                <c:pt idx="4582">
                  <c:v>205.68333253912149</c:v>
                </c:pt>
                <c:pt idx="4583">
                  <c:v>204.69535911293647</c:v>
                </c:pt>
                <c:pt idx="4584">
                  <c:v>204.28661335033601</c:v>
                </c:pt>
                <c:pt idx="4585">
                  <c:v>204.66044113321684</c:v>
                </c:pt>
                <c:pt idx="4586">
                  <c:v>203.83267961398073</c:v>
                </c:pt>
                <c:pt idx="4587">
                  <c:v>203.83884161040183</c:v>
                </c:pt>
                <c:pt idx="4588">
                  <c:v>203.83884161040183</c:v>
                </c:pt>
                <c:pt idx="4589">
                  <c:v>203.83884161040183</c:v>
                </c:pt>
                <c:pt idx="4590">
                  <c:v>202.82622019853235</c:v>
                </c:pt>
                <c:pt idx="4591">
                  <c:v>201.91424472820768</c:v>
                </c:pt>
                <c:pt idx="4592">
                  <c:v>202.40104244547555</c:v>
                </c:pt>
                <c:pt idx="4593">
                  <c:v>202.39488044905445</c:v>
                </c:pt>
                <c:pt idx="4594">
                  <c:v>203.57182176548693</c:v>
                </c:pt>
                <c:pt idx="4595">
                  <c:v>203.57182176548693</c:v>
                </c:pt>
                <c:pt idx="4596">
                  <c:v>203.57182176548693</c:v>
                </c:pt>
                <c:pt idx="4597">
                  <c:v>202.74406024625083</c:v>
                </c:pt>
                <c:pt idx="4598">
                  <c:v>203.11583403032458</c:v>
                </c:pt>
                <c:pt idx="4599">
                  <c:v>203.11788802913162</c:v>
                </c:pt>
                <c:pt idx="4600">
                  <c:v>202.92481214127011</c:v>
                </c:pt>
                <c:pt idx="4601">
                  <c:v>202.81800420330413</c:v>
                </c:pt>
                <c:pt idx="4602">
                  <c:v>202.81800420330413</c:v>
                </c:pt>
                <c:pt idx="4603">
                  <c:v>202.81800420330413</c:v>
                </c:pt>
                <c:pt idx="4604">
                  <c:v>203.75462765931323</c:v>
                </c:pt>
                <c:pt idx="4605">
                  <c:v>203.48760781439836</c:v>
                </c:pt>
                <c:pt idx="4606">
                  <c:v>203.50198580604763</c:v>
                </c:pt>
                <c:pt idx="4607">
                  <c:v>203.00491809474457</c:v>
                </c:pt>
                <c:pt idx="4608">
                  <c:v>203.41366385734503</c:v>
                </c:pt>
                <c:pt idx="4609">
                  <c:v>203.41366385734503</c:v>
                </c:pt>
                <c:pt idx="4610">
                  <c:v>203.41366385734503</c:v>
                </c:pt>
                <c:pt idx="4611">
                  <c:v>204.29893734317818</c:v>
                </c:pt>
                <c:pt idx="4612">
                  <c:v>203.83062561517363</c:v>
                </c:pt>
                <c:pt idx="4613">
                  <c:v>203.46501382752095</c:v>
                </c:pt>
                <c:pt idx="4614">
                  <c:v>203.13021202197382</c:v>
                </c:pt>
                <c:pt idx="4615">
                  <c:v>205.23966879680134</c:v>
                </c:pt>
                <c:pt idx="4616">
                  <c:v>205.23966879680134</c:v>
                </c:pt>
                <c:pt idx="4617">
                  <c:v>205.23966879680134</c:v>
                </c:pt>
                <c:pt idx="4618">
                  <c:v>205.65252255701589</c:v>
                </c:pt>
                <c:pt idx="4619">
                  <c:v>206.86643585197504</c:v>
                </c:pt>
                <c:pt idx="4620">
                  <c:v>205.08972688388761</c:v>
                </c:pt>
                <c:pt idx="4621">
                  <c:v>205.48204065603176</c:v>
                </c:pt>
                <c:pt idx="4622">
                  <c:v>206.41866411204089</c:v>
                </c:pt>
                <c:pt idx="4623">
                  <c:v>206.41866411204089</c:v>
                </c:pt>
                <c:pt idx="4624">
                  <c:v>206.41866411204089</c:v>
                </c:pt>
                <c:pt idx="4625">
                  <c:v>207.44771751436667</c:v>
                </c:pt>
                <c:pt idx="4626">
                  <c:v>207.56068744875373</c:v>
                </c:pt>
                <c:pt idx="4627">
                  <c:v>206.51931005358571</c:v>
                </c:pt>
                <c:pt idx="4628">
                  <c:v>206.88492184123837</c:v>
                </c:pt>
                <c:pt idx="4629">
                  <c:v>207.50112148334961</c:v>
                </c:pt>
                <c:pt idx="4630">
                  <c:v>207.50112148334961</c:v>
                </c:pt>
                <c:pt idx="4631">
                  <c:v>207.50112148334961</c:v>
                </c:pt>
                <c:pt idx="4632">
                  <c:v>207.50112148334961</c:v>
                </c:pt>
                <c:pt idx="4633">
                  <c:v>207.33680157878658</c:v>
                </c:pt>
                <c:pt idx="4634">
                  <c:v>207.64284740103517</c:v>
                </c:pt>
                <c:pt idx="4635">
                  <c:v>207.31831558952328</c:v>
                </c:pt>
                <c:pt idx="4636">
                  <c:v>207.27312761576846</c:v>
                </c:pt>
                <c:pt idx="4637">
                  <c:v>207.27312761576846</c:v>
                </c:pt>
                <c:pt idx="4638">
                  <c:v>207.27312761576846</c:v>
                </c:pt>
                <c:pt idx="4639">
                  <c:v>207.4785274964722</c:v>
                </c:pt>
                <c:pt idx="4640">
                  <c:v>207.03691775295914</c:v>
                </c:pt>
                <c:pt idx="4641">
                  <c:v>207.61203741892962</c:v>
                </c:pt>
                <c:pt idx="4642">
                  <c:v>207.43539352152439</c:v>
                </c:pt>
                <c:pt idx="4643">
                  <c:v>206.91162382572983</c:v>
                </c:pt>
                <c:pt idx="4644">
                  <c:v>206.91162382572983</c:v>
                </c:pt>
                <c:pt idx="4645">
                  <c:v>206.91162382572983</c:v>
                </c:pt>
                <c:pt idx="4646">
                  <c:v>206.57887601898975</c:v>
                </c:pt>
                <c:pt idx="4647">
                  <c:v>206.33855815856637</c:v>
                </c:pt>
                <c:pt idx="4648">
                  <c:v>205.8517604412985</c:v>
                </c:pt>
                <c:pt idx="4649">
                  <c:v>205.88462442221109</c:v>
                </c:pt>
                <c:pt idx="4650">
                  <c:v>204.78162706283197</c:v>
                </c:pt>
                <c:pt idx="4651">
                  <c:v>204.78162706283197</c:v>
                </c:pt>
                <c:pt idx="4652">
                  <c:v>204.78162706283197</c:v>
                </c:pt>
                <c:pt idx="4653">
                  <c:v>204.62552315349711</c:v>
                </c:pt>
                <c:pt idx="4654">
                  <c:v>203.68273770106691</c:v>
                </c:pt>
                <c:pt idx="4655">
                  <c:v>202.56741634884557</c:v>
                </c:pt>
                <c:pt idx="4656">
                  <c:v>201.52193095606347</c:v>
                </c:pt>
                <c:pt idx="4657">
                  <c:v>202.29012650989552</c:v>
                </c:pt>
                <c:pt idx="4658">
                  <c:v>202.29012650989552</c:v>
                </c:pt>
                <c:pt idx="4659">
                  <c:v>202.29012650989552</c:v>
                </c:pt>
                <c:pt idx="4660">
                  <c:v>203.22264196829053</c:v>
                </c:pt>
                <c:pt idx="4661">
                  <c:v>204.0093235113859</c:v>
                </c:pt>
                <c:pt idx="4662">
                  <c:v>205.15956284332691</c:v>
                </c:pt>
                <c:pt idx="4663">
                  <c:v>205.40809669897843</c:v>
                </c:pt>
                <c:pt idx="4664">
                  <c:v>205.98937836137003</c:v>
                </c:pt>
                <c:pt idx="4665">
                  <c:v>205.98937836137003</c:v>
                </c:pt>
                <c:pt idx="4666">
                  <c:v>205.98937836137003</c:v>
                </c:pt>
                <c:pt idx="4667">
                  <c:v>204.95416296262314</c:v>
                </c:pt>
                <c:pt idx="4668">
                  <c:v>204.14899543026442</c:v>
                </c:pt>
                <c:pt idx="4669">
                  <c:v>203.72997967362878</c:v>
                </c:pt>
                <c:pt idx="4670">
                  <c:v>203.30274792176496</c:v>
                </c:pt>
                <c:pt idx="4671">
                  <c:v>202.2305605444914</c:v>
                </c:pt>
                <c:pt idx="4672">
                  <c:v>202.2305605444914</c:v>
                </c:pt>
                <c:pt idx="4673">
                  <c:v>202.2305605444914</c:v>
                </c:pt>
                <c:pt idx="4674">
                  <c:v>202.2038585599999</c:v>
                </c:pt>
                <c:pt idx="4675">
                  <c:v>202.14840059220987</c:v>
                </c:pt>
                <c:pt idx="4676">
                  <c:v>200.36963762531539</c:v>
                </c:pt>
                <c:pt idx="4677">
                  <c:v>197.92537904494077</c:v>
                </c:pt>
                <c:pt idx="4678">
                  <c:v>198.05683496859115</c:v>
                </c:pt>
                <c:pt idx="4679">
                  <c:v>198.05683496859115</c:v>
                </c:pt>
                <c:pt idx="4680">
                  <c:v>198.05683496859115</c:v>
                </c:pt>
                <c:pt idx="4681">
                  <c:v>197.85348908669442</c:v>
                </c:pt>
                <c:pt idx="4682">
                  <c:v>196.51428186450596</c:v>
                </c:pt>
                <c:pt idx="4683">
                  <c:v>198.87843449140613</c:v>
                </c:pt>
                <c:pt idx="4684">
                  <c:v>197.34204338374207</c:v>
                </c:pt>
                <c:pt idx="4685">
                  <c:v>198.21293887792598</c:v>
                </c:pt>
                <c:pt idx="4686">
                  <c:v>198.21293887792598</c:v>
                </c:pt>
                <c:pt idx="4687">
                  <c:v>198.21293887792598</c:v>
                </c:pt>
                <c:pt idx="4688">
                  <c:v>199.36317820986699</c:v>
                </c:pt>
                <c:pt idx="4689">
                  <c:v>199.55420009892148</c:v>
                </c:pt>
                <c:pt idx="4690">
                  <c:v>199.19269630888289</c:v>
                </c:pt>
                <c:pt idx="4691">
                  <c:v>199.13723834109285</c:v>
                </c:pt>
                <c:pt idx="4692">
                  <c:v>199.24815427667289</c:v>
                </c:pt>
                <c:pt idx="4693">
                  <c:v>199.24815427667289</c:v>
                </c:pt>
                <c:pt idx="4694">
                  <c:v>199.24815427667289</c:v>
                </c:pt>
                <c:pt idx="4695">
                  <c:v>199.27691025997143</c:v>
                </c:pt>
                <c:pt idx="4696">
                  <c:v>199.35496221463887</c:v>
                </c:pt>
                <c:pt idx="4697">
                  <c:v>197.45912131574326</c:v>
                </c:pt>
                <c:pt idx="4698">
                  <c:v>196.46703989194413</c:v>
                </c:pt>
                <c:pt idx="4699">
                  <c:v>195.93505420092143</c:v>
                </c:pt>
                <c:pt idx="4700">
                  <c:v>195.9350542009214</c:v>
                </c:pt>
                <c:pt idx="4701">
                  <c:v>195.9350542009214</c:v>
                </c:pt>
                <c:pt idx="4702">
                  <c:v>194.73551889761151</c:v>
                </c:pt>
                <c:pt idx="4703">
                  <c:v>194.30007115051956</c:v>
                </c:pt>
                <c:pt idx="4704">
                  <c:v>194.7457888916467</c:v>
                </c:pt>
                <c:pt idx="4705">
                  <c:v>193.99607932707801</c:v>
                </c:pt>
                <c:pt idx="4706">
                  <c:v>193.90364938076132</c:v>
                </c:pt>
                <c:pt idx="4707">
                  <c:v>193.90364938076132</c:v>
                </c:pt>
                <c:pt idx="4708">
                  <c:v>193.90364938076132</c:v>
                </c:pt>
                <c:pt idx="4709">
                  <c:v>194.98610675207007</c:v>
                </c:pt>
                <c:pt idx="4710">
                  <c:v>196.54509184661154</c:v>
                </c:pt>
                <c:pt idx="4711">
                  <c:v>197.64603520718364</c:v>
                </c:pt>
                <c:pt idx="4712">
                  <c:v>197.64603520718364</c:v>
                </c:pt>
                <c:pt idx="4713">
                  <c:v>197.70970917020179</c:v>
                </c:pt>
                <c:pt idx="4714">
                  <c:v>197.70970917020179</c:v>
                </c:pt>
                <c:pt idx="4715">
                  <c:v>197.70970917020179</c:v>
                </c:pt>
                <c:pt idx="4716">
                  <c:v>197.25988343146057</c:v>
                </c:pt>
                <c:pt idx="4717">
                  <c:v>196.50401187047078</c:v>
                </c:pt>
                <c:pt idx="4718">
                  <c:v>195.90629821762286</c:v>
                </c:pt>
                <c:pt idx="4719">
                  <c:v>195.47906646575908</c:v>
                </c:pt>
                <c:pt idx="4720">
                  <c:v>193.05534787345482</c:v>
                </c:pt>
                <c:pt idx="4721">
                  <c:v>193.05534787345482</c:v>
                </c:pt>
                <c:pt idx="4722">
                  <c:v>193.05534787345482</c:v>
                </c:pt>
                <c:pt idx="4723">
                  <c:v>191.27247690894626</c:v>
                </c:pt>
                <c:pt idx="4724">
                  <c:v>191.56003674193153</c:v>
                </c:pt>
                <c:pt idx="4725">
                  <c:v>191.52922675982597</c:v>
                </c:pt>
                <c:pt idx="4726">
                  <c:v>191.63192670017787</c:v>
                </c:pt>
                <c:pt idx="4727">
                  <c:v>191.29712489463077</c:v>
                </c:pt>
                <c:pt idx="4728">
                  <c:v>191.29712489463077</c:v>
                </c:pt>
                <c:pt idx="4729">
                  <c:v>191.29712489463077</c:v>
                </c:pt>
                <c:pt idx="4730">
                  <c:v>188.98843023552061</c:v>
                </c:pt>
                <c:pt idx="4731">
                  <c:v>189.25750407924252</c:v>
                </c:pt>
                <c:pt idx="4732">
                  <c:v>188.56325248246387</c:v>
                </c:pt>
                <c:pt idx="4733">
                  <c:v>188.71935639179873</c:v>
                </c:pt>
                <c:pt idx="4734">
                  <c:v>189.66830384065005</c:v>
                </c:pt>
                <c:pt idx="4735">
                  <c:v>189.66830384065005</c:v>
                </c:pt>
                <c:pt idx="4736">
                  <c:v>189.66830384065005</c:v>
                </c:pt>
                <c:pt idx="4737">
                  <c:v>189.50809193370114</c:v>
                </c:pt>
                <c:pt idx="4738">
                  <c:v>189.51014593250818</c:v>
                </c:pt>
                <c:pt idx="4739">
                  <c:v>190.26190949588388</c:v>
                </c:pt>
                <c:pt idx="4740">
                  <c:v>190.40774341118356</c:v>
                </c:pt>
                <c:pt idx="4741">
                  <c:v>190.40774341118356</c:v>
                </c:pt>
                <c:pt idx="4742">
                  <c:v>190.40774341118356</c:v>
                </c:pt>
                <c:pt idx="4743">
                  <c:v>190.40774341118356</c:v>
                </c:pt>
                <c:pt idx="4744">
                  <c:v>189.96202567005645</c:v>
                </c:pt>
                <c:pt idx="4745">
                  <c:v>189.71759981201896</c:v>
                </c:pt>
                <c:pt idx="4746">
                  <c:v>189.1938301162244</c:v>
                </c:pt>
                <c:pt idx="4747">
                  <c:v>189.44030997306888</c:v>
                </c:pt>
                <c:pt idx="4748">
                  <c:v>189.44030997306888</c:v>
                </c:pt>
                <c:pt idx="4749">
                  <c:v>189.44030997306888</c:v>
                </c:pt>
                <c:pt idx="4750">
                  <c:v>189.44030997306888</c:v>
                </c:pt>
                <c:pt idx="4751">
                  <c:v>190.1633175531461</c:v>
                </c:pt>
                <c:pt idx="4752">
                  <c:v>189.5881978871756</c:v>
                </c:pt>
                <c:pt idx="4753">
                  <c:v>188.28596264351381</c:v>
                </c:pt>
                <c:pt idx="4754">
                  <c:v>188.12780473537194</c:v>
                </c:pt>
                <c:pt idx="4755">
                  <c:v>187.23431525431062</c:v>
                </c:pt>
                <c:pt idx="4756">
                  <c:v>187.23431525431062</c:v>
                </c:pt>
                <c:pt idx="4757">
                  <c:v>187.23431525431062</c:v>
                </c:pt>
                <c:pt idx="4758">
                  <c:v>185.99780797247405</c:v>
                </c:pt>
                <c:pt idx="4759">
                  <c:v>185.20496443295758</c:v>
                </c:pt>
                <c:pt idx="4760">
                  <c:v>184.28066496979071</c:v>
                </c:pt>
                <c:pt idx="4761">
                  <c:v>183.57203538136278</c:v>
                </c:pt>
                <c:pt idx="4762">
                  <c:v>184.12045306284179</c:v>
                </c:pt>
                <c:pt idx="4763">
                  <c:v>184.12045306284176</c:v>
                </c:pt>
                <c:pt idx="4764">
                  <c:v>184.12045306284176</c:v>
                </c:pt>
                <c:pt idx="4765">
                  <c:v>184.12045306284176</c:v>
                </c:pt>
                <c:pt idx="4766">
                  <c:v>181.48106459579859</c:v>
                </c:pt>
                <c:pt idx="4767">
                  <c:v>183.36663550065904</c:v>
                </c:pt>
                <c:pt idx="4768">
                  <c:v>183.17561361160452</c:v>
                </c:pt>
                <c:pt idx="4769">
                  <c:v>183.8637032119621</c:v>
                </c:pt>
                <c:pt idx="4770">
                  <c:v>183.8637032119621</c:v>
                </c:pt>
                <c:pt idx="4771">
                  <c:v>183.8637032119621</c:v>
                </c:pt>
                <c:pt idx="4772">
                  <c:v>182.33758209833323</c:v>
                </c:pt>
                <c:pt idx="4773">
                  <c:v>184.22109900438662</c:v>
                </c:pt>
                <c:pt idx="4774">
                  <c:v>183.82262323582134</c:v>
                </c:pt>
                <c:pt idx="4775">
                  <c:v>182.95994373686557</c:v>
                </c:pt>
                <c:pt idx="4776">
                  <c:v>184.02391511891096</c:v>
                </c:pt>
                <c:pt idx="4777">
                  <c:v>184.02391511891096</c:v>
                </c:pt>
                <c:pt idx="4778">
                  <c:v>184.02391511891096</c:v>
                </c:pt>
                <c:pt idx="4779">
                  <c:v>183.83494722866354</c:v>
                </c:pt>
                <c:pt idx="4780">
                  <c:v>182.9661057332867</c:v>
                </c:pt>
                <c:pt idx="4781">
                  <c:v>184.24574699007104</c:v>
                </c:pt>
                <c:pt idx="4782">
                  <c:v>185.74927411682251</c:v>
                </c:pt>
                <c:pt idx="4783">
                  <c:v>184.81059666200636</c:v>
                </c:pt>
                <c:pt idx="4784">
                  <c:v>184.81059666200636</c:v>
                </c:pt>
                <c:pt idx="4785">
                  <c:v>184.81059666200636</c:v>
                </c:pt>
                <c:pt idx="4786">
                  <c:v>183.04210368914707</c:v>
                </c:pt>
                <c:pt idx="4787">
                  <c:v>181.82819039418791</c:v>
                </c:pt>
                <c:pt idx="4788">
                  <c:v>181.87132436913569</c:v>
                </c:pt>
                <c:pt idx="4789">
                  <c:v>182.03153627608461</c:v>
                </c:pt>
                <c:pt idx="4790">
                  <c:v>181.85078438106532</c:v>
                </c:pt>
                <c:pt idx="4791">
                  <c:v>181.85078438106532</c:v>
                </c:pt>
                <c:pt idx="4792">
                  <c:v>181.85078438106532</c:v>
                </c:pt>
                <c:pt idx="4793">
                  <c:v>181.85078438106532</c:v>
                </c:pt>
                <c:pt idx="4794">
                  <c:v>183.36663550065902</c:v>
                </c:pt>
                <c:pt idx="4795">
                  <c:v>184.48401085168743</c:v>
                </c:pt>
                <c:pt idx="4796">
                  <c:v>184.56822480277597</c:v>
                </c:pt>
                <c:pt idx="4797">
                  <c:v>184.07115709147288</c:v>
                </c:pt>
                <c:pt idx="4798">
                  <c:v>184.07115709147286</c:v>
                </c:pt>
                <c:pt idx="4799">
                  <c:v>184.07115709147286</c:v>
                </c:pt>
                <c:pt idx="4800">
                  <c:v>184.45525486838886</c:v>
                </c:pt>
                <c:pt idx="4801">
                  <c:v>185.23988241267719</c:v>
                </c:pt>
                <c:pt idx="4802">
                  <c:v>186.02245595815847</c:v>
                </c:pt>
                <c:pt idx="4803">
                  <c:v>185.11458848544791</c:v>
                </c:pt>
                <c:pt idx="4804">
                  <c:v>187.39863515887359</c:v>
                </c:pt>
                <c:pt idx="4805">
                  <c:v>187.39863515887359</c:v>
                </c:pt>
                <c:pt idx="4806">
                  <c:v>187.39863515887359</c:v>
                </c:pt>
                <c:pt idx="4807">
                  <c:v>188.07645476519596</c:v>
                </c:pt>
                <c:pt idx="4808">
                  <c:v>187.86900088568518</c:v>
                </c:pt>
                <c:pt idx="4809">
                  <c:v>190.12018357819829</c:v>
                </c:pt>
                <c:pt idx="4810">
                  <c:v>192.74724805239924</c:v>
                </c:pt>
                <c:pt idx="4811">
                  <c:v>193.5441995895298</c:v>
                </c:pt>
                <c:pt idx="4812">
                  <c:v>193.5441995895298</c:v>
                </c:pt>
                <c:pt idx="4813">
                  <c:v>193.5441995895298</c:v>
                </c:pt>
                <c:pt idx="4814">
                  <c:v>195.22642461249353</c:v>
                </c:pt>
                <c:pt idx="4815">
                  <c:v>192.1577503947795</c:v>
                </c:pt>
                <c:pt idx="4816">
                  <c:v>191.66068268347644</c:v>
                </c:pt>
                <c:pt idx="4817">
                  <c:v>190.76103120599402</c:v>
                </c:pt>
                <c:pt idx="4818">
                  <c:v>192.18856037688508</c:v>
                </c:pt>
                <c:pt idx="4819">
                  <c:v>192.18856037688508</c:v>
                </c:pt>
                <c:pt idx="4820">
                  <c:v>192.18856037688508</c:v>
                </c:pt>
                <c:pt idx="4821">
                  <c:v>191.49430878010639</c:v>
                </c:pt>
                <c:pt idx="4822">
                  <c:v>189.05005019973177</c:v>
                </c:pt>
                <c:pt idx="4823">
                  <c:v>190.28655748156834</c:v>
                </c:pt>
                <c:pt idx="4824">
                  <c:v>191.30944888747302</c:v>
                </c:pt>
                <c:pt idx="4825">
                  <c:v>191.45117480515864</c:v>
                </c:pt>
                <c:pt idx="4826">
                  <c:v>191.45117480515864</c:v>
                </c:pt>
                <c:pt idx="4827">
                  <c:v>191.45117480515864</c:v>
                </c:pt>
                <c:pt idx="4828">
                  <c:v>191.40393283259678</c:v>
                </c:pt>
                <c:pt idx="4829">
                  <c:v>191.50868677175569</c:v>
                </c:pt>
                <c:pt idx="4830">
                  <c:v>188.6187104502539</c:v>
                </c:pt>
                <c:pt idx="4831">
                  <c:v>189.03156421046842</c:v>
                </c:pt>
                <c:pt idx="4832">
                  <c:v>189.03156421046842</c:v>
                </c:pt>
                <c:pt idx="4833">
                  <c:v>189.03156421046842</c:v>
                </c:pt>
                <c:pt idx="4834">
                  <c:v>189.03156421046842</c:v>
                </c:pt>
                <c:pt idx="4835">
                  <c:v>189.14248014604846</c:v>
                </c:pt>
                <c:pt idx="4836">
                  <c:v>191.71203265365236</c:v>
                </c:pt>
                <c:pt idx="4837">
                  <c:v>190.84319115827549</c:v>
                </c:pt>
                <c:pt idx="4838">
                  <c:v>192.02834846993613</c:v>
                </c:pt>
                <c:pt idx="4839">
                  <c:v>190.84319115827549</c:v>
                </c:pt>
                <c:pt idx="4840">
                  <c:v>190.84319115827549</c:v>
                </c:pt>
                <c:pt idx="4841">
                  <c:v>190.84319115827549</c:v>
                </c:pt>
                <c:pt idx="4842">
                  <c:v>190.02775363188161</c:v>
                </c:pt>
                <c:pt idx="4843">
                  <c:v>189.45057996710409</c:v>
                </c:pt>
                <c:pt idx="4844">
                  <c:v>189.79359776787936</c:v>
                </c:pt>
                <c:pt idx="4845">
                  <c:v>189.3848520052789</c:v>
                </c:pt>
                <c:pt idx="4846">
                  <c:v>189.97640366170572</c:v>
                </c:pt>
                <c:pt idx="4847">
                  <c:v>189.97640366170572</c:v>
                </c:pt>
                <c:pt idx="4848">
                  <c:v>189.97640366170572</c:v>
                </c:pt>
                <c:pt idx="4849">
                  <c:v>189.8223537511779</c:v>
                </c:pt>
                <c:pt idx="4850">
                  <c:v>189.95586367363535</c:v>
                </c:pt>
                <c:pt idx="4851">
                  <c:v>191.72435664649464</c:v>
                </c:pt>
                <c:pt idx="4852">
                  <c:v>191.11226500199749</c:v>
                </c:pt>
                <c:pt idx="4853">
                  <c:v>191.64014269540613</c:v>
                </c:pt>
                <c:pt idx="4854">
                  <c:v>191.64014269540613</c:v>
                </c:pt>
                <c:pt idx="4855">
                  <c:v>191.64014269540613</c:v>
                </c:pt>
                <c:pt idx="4856">
                  <c:v>191.40187883378979</c:v>
                </c:pt>
                <c:pt idx="4857">
                  <c:v>191.35874485884202</c:v>
                </c:pt>
                <c:pt idx="4858">
                  <c:v>191.50252477533465</c:v>
                </c:pt>
                <c:pt idx="4859">
                  <c:v>191.85581257014508</c:v>
                </c:pt>
                <c:pt idx="4860">
                  <c:v>193.26074775415876</c:v>
                </c:pt>
                <c:pt idx="4861">
                  <c:v>193.26074775415876</c:v>
                </c:pt>
                <c:pt idx="4862">
                  <c:v>193.26074775415876</c:v>
                </c:pt>
                <c:pt idx="4863">
                  <c:v>192.12283241506</c:v>
                </c:pt>
                <c:pt idx="4864">
                  <c:v>193.36960969093175</c:v>
                </c:pt>
                <c:pt idx="4865">
                  <c:v>194.09672526862303</c:v>
                </c:pt>
                <c:pt idx="4866">
                  <c:v>193.25047776012357</c:v>
                </c:pt>
                <c:pt idx="4867">
                  <c:v>192.84994799275125</c:v>
                </c:pt>
                <c:pt idx="4868">
                  <c:v>192.84994799275125</c:v>
                </c:pt>
                <c:pt idx="4869">
                  <c:v>192.84994799275125</c:v>
                </c:pt>
                <c:pt idx="4870">
                  <c:v>192.72465406552195</c:v>
                </c:pt>
                <c:pt idx="4871">
                  <c:v>191.42241882186019</c:v>
                </c:pt>
                <c:pt idx="4872">
                  <c:v>190.99724106880342</c:v>
                </c:pt>
                <c:pt idx="4873">
                  <c:v>190.11607558058432</c:v>
                </c:pt>
                <c:pt idx="4874">
                  <c:v>189.94764767840724</c:v>
                </c:pt>
                <c:pt idx="4875">
                  <c:v>189.94764767840724</c:v>
                </c:pt>
                <c:pt idx="4876">
                  <c:v>189.94764767840724</c:v>
                </c:pt>
                <c:pt idx="4877">
                  <c:v>189.7977057654935</c:v>
                </c:pt>
                <c:pt idx="4878">
                  <c:v>189.80386776191466</c:v>
                </c:pt>
                <c:pt idx="4879">
                  <c:v>189.71965381082612</c:v>
                </c:pt>
                <c:pt idx="4880">
                  <c:v>188.33525861488286</c:v>
                </c:pt>
                <c:pt idx="4881">
                  <c:v>188.47287653495437</c:v>
                </c:pt>
                <c:pt idx="4882">
                  <c:v>188.47287653495437</c:v>
                </c:pt>
                <c:pt idx="4883">
                  <c:v>188.47287653495437</c:v>
                </c:pt>
                <c:pt idx="4884">
                  <c:v>189.06853618899524</c:v>
                </c:pt>
                <c:pt idx="4885">
                  <c:v>188.87340630232666</c:v>
                </c:pt>
                <c:pt idx="4886">
                  <c:v>188.45028254807693</c:v>
                </c:pt>
                <c:pt idx="4887">
                  <c:v>188.37839258983061</c:v>
                </c:pt>
                <c:pt idx="4888">
                  <c:v>189.98051165931986</c:v>
                </c:pt>
                <c:pt idx="4889">
                  <c:v>189.98051165931986</c:v>
                </c:pt>
                <c:pt idx="4890">
                  <c:v>189.98051165931986</c:v>
                </c:pt>
                <c:pt idx="4891">
                  <c:v>190.01953763665361</c:v>
                </c:pt>
                <c:pt idx="4892">
                  <c:v>190.49195736227225</c:v>
                </c:pt>
                <c:pt idx="4893">
                  <c:v>190.66449326206342</c:v>
                </c:pt>
                <c:pt idx="4894">
                  <c:v>190.91097311890792</c:v>
                </c:pt>
                <c:pt idx="4895">
                  <c:v>191.77570661667067</c:v>
                </c:pt>
                <c:pt idx="4896">
                  <c:v>191.77570661667067</c:v>
                </c:pt>
                <c:pt idx="4897">
                  <c:v>191.77570661667067</c:v>
                </c:pt>
                <c:pt idx="4898">
                  <c:v>191.77570661667067</c:v>
                </c:pt>
                <c:pt idx="4899">
                  <c:v>192.35493428025526</c:v>
                </c:pt>
                <c:pt idx="4900">
                  <c:v>193.24226176489546</c:v>
                </c:pt>
                <c:pt idx="4901">
                  <c:v>194.41304108490684</c:v>
                </c:pt>
                <c:pt idx="4902">
                  <c:v>193.82148942848005</c:v>
                </c:pt>
                <c:pt idx="4903">
                  <c:v>193.82148942848005</c:v>
                </c:pt>
                <c:pt idx="4904">
                  <c:v>193.82148942848005</c:v>
                </c:pt>
                <c:pt idx="4905">
                  <c:v>195.11961667452775</c:v>
                </c:pt>
                <c:pt idx="4906">
                  <c:v>195.61052238940971</c:v>
                </c:pt>
                <c:pt idx="4907">
                  <c:v>195.16685864708958</c:v>
                </c:pt>
                <c:pt idx="4908">
                  <c:v>194.3514211206957</c:v>
                </c:pt>
                <c:pt idx="4909">
                  <c:v>192.48228220629156</c:v>
                </c:pt>
                <c:pt idx="4910">
                  <c:v>192.48228220629156</c:v>
                </c:pt>
                <c:pt idx="4911">
                  <c:v>192.48228220629156</c:v>
                </c:pt>
                <c:pt idx="4912">
                  <c:v>191.465552796808</c:v>
                </c:pt>
                <c:pt idx="4913">
                  <c:v>191.16156097336645</c:v>
                </c:pt>
                <c:pt idx="4914">
                  <c:v>191.86608256418035</c:v>
                </c:pt>
                <c:pt idx="4915">
                  <c:v>190.62546728472969</c:v>
                </c:pt>
                <c:pt idx="4916">
                  <c:v>191.28480090178871</c:v>
                </c:pt>
                <c:pt idx="4917">
                  <c:v>191.28480090178871</c:v>
                </c:pt>
                <c:pt idx="4918">
                  <c:v>191.28480090178871</c:v>
                </c:pt>
                <c:pt idx="4919">
                  <c:v>192.1105084222178</c:v>
                </c:pt>
                <c:pt idx="4920">
                  <c:v>191.36285285645616</c:v>
                </c:pt>
                <c:pt idx="4921">
                  <c:v>191.41831082424616</c:v>
                </c:pt>
                <c:pt idx="4922">
                  <c:v>192.40833824923823</c:v>
                </c:pt>
                <c:pt idx="4923">
                  <c:v>191.76543662263549</c:v>
                </c:pt>
                <c:pt idx="4924">
                  <c:v>191.76543662263549</c:v>
                </c:pt>
                <c:pt idx="4925">
                  <c:v>191.76543662263549</c:v>
                </c:pt>
                <c:pt idx="4926">
                  <c:v>189.28215206492712</c:v>
                </c:pt>
                <c:pt idx="4927">
                  <c:v>189.55738790507016</c:v>
                </c:pt>
                <c:pt idx="4928">
                  <c:v>190.06677960921547</c:v>
                </c:pt>
                <c:pt idx="4929">
                  <c:v>190.30504347083181</c:v>
                </c:pt>
                <c:pt idx="4930">
                  <c:v>191.028051050909</c:v>
                </c:pt>
                <c:pt idx="4931">
                  <c:v>191.028051050909</c:v>
                </c:pt>
                <c:pt idx="4932">
                  <c:v>191.028051050909</c:v>
                </c:pt>
                <c:pt idx="4933">
                  <c:v>191.028051050909</c:v>
                </c:pt>
                <c:pt idx="4934">
                  <c:v>188.86108230948443</c:v>
                </c:pt>
                <c:pt idx="4935">
                  <c:v>188.97816024148557</c:v>
                </c:pt>
                <c:pt idx="4936">
                  <c:v>189.23491009236525</c:v>
                </c:pt>
                <c:pt idx="4937">
                  <c:v>189.87986571777506</c:v>
                </c:pt>
                <c:pt idx="4938">
                  <c:v>189.87986571777506</c:v>
                </c:pt>
                <c:pt idx="4939">
                  <c:v>189.87986571777506</c:v>
                </c:pt>
                <c:pt idx="4940">
                  <c:v>190.65627726683525</c:v>
                </c:pt>
                <c:pt idx="4941">
                  <c:v>191.9523505140759</c:v>
                </c:pt>
                <c:pt idx="4942">
                  <c:v>190.70557323820415</c:v>
                </c:pt>
                <c:pt idx="4943">
                  <c:v>190.20028953167292</c:v>
                </c:pt>
                <c:pt idx="4944">
                  <c:v>190.59054930501006</c:v>
                </c:pt>
                <c:pt idx="4945">
                  <c:v>190.59054930501006</c:v>
                </c:pt>
                <c:pt idx="4946">
                  <c:v>190.59054930501006</c:v>
                </c:pt>
                <c:pt idx="4947">
                  <c:v>191.02599705210201</c:v>
                </c:pt>
                <c:pt idx="4948">
                  <c:v>190.67270925729153</c:v>
                </c:pt>
                <c:pt idx="4949">
                  <c:v>191.78392261189884</c:v>
                </c:pt>
                <c:pt idx="4950">
                  <c:v>191.5230647634051</c:v>
                </c:pt>
                <c:pt idx="4951">
                  <c:v>192.17829038285004</c:v>
                </c:pt>
                <c:pt idx="4952">
                  <c:v>192.17829038285007</c:v>
                </c:pt>
                <c:pt idx="4953">
                  <c:v>192.17829038285007</c:v>
                </c:pt>
                <c:pt idx="4954">
                  <c:v>192.41450024565935</c:v>
                </c:pt>
                <c:pt idx="4955">
                  <c:v>192.84173199752317</c:v>
                </c:pt>
                <c:pt idx="4956">
                  <c:v>193.0039979032791</c:v>
                </c:pt>
                <c:pt idx="4957">
                  <c:v>193.76397746188297</c:v>
                </c:pt>
                <c:pt idx="4958">
                  <c:v>194.59379297992612</c:v>
                </c:pt>
                <c:pt idx="4959">
                  <c:v>194.59379297992612</c:v>
                </c:pt>
                <c:pt idx="4960">
                  <c:v>194.59379297992612</c:v>
                </c:pt>
                <c:pt idx="4961">
                  <c:v>193.96321534616564</c:v>
                </c:pt>
                <c:pt idx="4962">
                  <c:v>192.27893632439486</c:v>
                </c:pt>
                <c:pt idx="4963">
                  <c:v>192.95264793310315</c:v>
                </c:pt>
                <c:pt idx="4964">
                  <c:v>193.34906970286139</c:v>
                </c:pt>
                <c:pt idx="4965">
                  <c:v>193.98170133542891</c:v>
                </c:pt>
                <c:pt idx="4966">
                  <c:v>193.98170133542891</c:v>
                </c:pt>
                <c:pt idx="4967">
                  <c:v>193.98170133542891</c:v>
                </c:pt>
                <c:pt idx="4968">
                  <c:v>194.18093921971155</c:v>
                </c:pt>
                <c:pt idx="4969">
                  <c:v>193.88927138911225</c:v>
                </c:pt>
                <c:pt idx="4970">
                  <c:v>192.86021798678647</c:v>
                </c:pt>
                <c:pt idx="4971">
                  <c:v>192.9341619438398</c:v>
                </c:pt>
                <c:pt idx="4972">
                  <c:v>192.73903205717124</c:v>
                </c:pt>
                <c:pt idx="4973">
                  <c:v>192.73903205717124</c:v>
                </c:pt>
                <c:pt idx="4974">
                  <c:v>192.73903205717124</c:v>
                </c:pt>
                <c:pt idx="4975">
                  <c:v>194.14602123999194</c:v>
                </c:pt>
                <c:pt idx="4976">
                  <c:v>193.65922352272403</c:v>
                </c:pt>
                <c:pt idx="4977">
                  <c:v>192.63838611562639</c:v>
                </c:pt>
                <c:pt idx="4978">
                  <c:v>193.31415172314172</c:v>
                </c:pt>
                <c:pt idx="4979">
                  <c:v>193.50106561458216</c:v>
                </c:pt>
                <c:pt idx="4980">
                  <c:v>193.50106561458216</c:v>
                </c:pt>
                <c:pt idx="4981">
                  <c:v>193.50106561458216</c:v>
                </c:pt>
                <c:pt idx="4982">
                  <c:v>193.25869375535174</c:v>
                </c:pt>
                <c:pt idx="4983">
                  <c:v>194.09672526862306</c:v>
                </c:pt>
                <c:pt idx="4984">
                  <c:v>193.26485575177284</c:v>
                </c:pt>
                <c:pt idx="4985">
                  <c:v>193.41685166349362</c:v>
                </c:pt>
                <c:pt idx="4986">
                  <c:v>193.29977373149251</c:v>
                </c:pt>
                <c:pt idx="4987">
                  <c:v>193.29977373149251</c:v>
                </c:pt>
                <c:pt idx="4988">
                  <c:v>193.29977373149251</c:v>
                </c:pt>
                <c:pt idx="4989">
                  <c:v>193.39631167542325</c:v>
                </c:pt>
                <c:pt idx="4990">
                  <c:v>193.80916543563782</c:v>
                </c:pt>
                <c:pt idx="4991">
                  <c:v>193.36960969093178</c:v>
                </c:pt>
                <c:pt idx="4992">
                  <c:v>192.83351600229503</c:v>
                </c:pt>
                <c:pt idx="4993">
                  <c:v>193.62019754539037</c:v>
                </c:pt>
                <c:pt idx="4994">
                  <c:v>193.62019754539037</c:v>
                </c:pt>
                <c:pt idx="4995">
                  <c:v>193.62019754539037</c:v>
                </c:pt>
                <c:pt idx="4996">
                  <c:v>193.62019754539037</c:v>
                </c:pt>
                <c:pt idx="4997">
                  <c:v>193.53598359430185</c:v>
                </c:pt>
                <c:pt idx="4998">
                  <c:v>194.61638696680359</c:v>
                </c:pt>
                <c:pt idx="4999">
                  <c:v>194.53217301571507</c:v>
                </c:pt>
                <c:pt idx="5000">
                  <c:v>193.38398768258108</c:v>
                </c:pt>
                <c:pt idx="5001">
                  <c:v>193.38398768258108</c:v>
                </c:pt>
                <c:pt idx="5002">
                  <c:v>193.38398768258108</c:v>
                </c:pt>
                <c:pt idx="5003">
                  <c:v>193.09231985198176</c:v>
                </c:pt>
                <c:pt idx="5004">
                  <c:v>192.67535809415313</c:v>
                </c:pt>
                <c:pt idx="5005">
                  <c:v>192.17829038285004</c:v>
                </c:pt>
                <c:pt idx="5006">
                  <c:v>192.56444215857309</c:v>
                </c:pt>
                <c:pt idx="5007">
                  <c:v>192.58909014425754</c:v>
                </c:pt>
                <c:pt idx="5008">
                  <c:v>192.58909014425754</c:v>
                </c:pt>
                <c:pt idx="5009">
                  <c:v>192.58909014425754</c:v>
                </c:pt>
                <c:pt idx="5010">
                  <c:v>193.4086356682655</c:v>
                </c:pt>
                <c:pt idx="5011">
                  <c:v>192.20088436972748</c:v>
                </c:pt>
                <c:pt idx="5012">
                  <c:v>192.17212838642894</c:v>
                </c:pt>
                <c:pt idx="5013">
                  <c:v>193.55857758117926</c:v>
                </c:pt>
                <c:pt idx="5014">
                  <c:v>193.35112370166848</c:v>
                </c:pt>
                <c:pt idx="5015">
                  <c:v>193.35112370166848</c:v>
                </c:pt>
                <c:pt idx="5016">
                  <c:v>193.35112370166848</c:v>
                </c:pt>
                <c:pt idx="5017">
                  <c:v>193.21761377921104</c:v>
                </c:pt>
                <c:pt idx="5018">
                  <c:v>192.62606212278422</c:v>
                </c:pt>
                <c:pt idx="5019">
                  <c:v>193.31004372552772</c:v>
                </c:pt>
                <c:pt idx="5020">
                  <c:v>192.93826994145394</c:v>
                </c:pt>
                <c:pt idx="5021">
                  <c:v>193.33058371359809</c:v>
                </c:pt>
                <c:pt idx="5022">
                  <c:v>193.33058371359809</c:v>
                </c:pt>
                <c:pt idx="5023">
                  <c:v>193.33058371359809</c:v>
                </c:pt>
                <c:pt idx="5024">
                  <c:v>192.86021798678652</c:v>
                </c:pt>
                <c:pt idx="5025">
                  <c:v>193.08204985794654</c:v>
                </c:pt>
                <c:pt idx="5026">
                  <c:v>193.6879795060226</c:v>
                </c:pt>
                <c:pt idx="5027">
                  <c:v>193.51749760503847</c:v>
                </c:pt>
                <c:pt idx="5028">
                  <c:v>193.10258984601688</c:v>
                </c:pt>
                <c:pt idx="5029">
                  <c:v>193.10258984601688</c:v>
                </c:pt>
                <c:pt idx="5030">
                  <c:v>193.10258984601688</c:v>
                </c:pt>
                <c:pt idx="5031">
                  <c:v>194.26104517318603</c:v>
                </c:pt>
                <c:pt idx="5032">
                  <c:v>193.2895037374573</c:v>
                </c:pt>
                <c:pt idx="5033">
                  <c:v>192.60963013232788</c:v>
                </c:pt>
                <c:pt idx="5034">
                  <c:v>192.07148244488403</c:v>
                </c:pt>
                <c:pt idx="5035">
                  <c:v>191.70997865484543</c:v>
                </c:pt>
                <c:pt idx="5036">
                  <c:v>191.70997865484543</c:v>
                </c:pt>
                <c:pt idx="5037">
                  <c:v>191.70997865484543</c:v>
                </c:pt>
                <c:pt idx="5038">
                  <c:v>192.07559044249811</c:v>
                </c:pt>
                <c:pt idx="5039">
                  <c:v>192.31590830292149</c:v>
                </c:pt>
                <c:pt idx="5040">
                  <c:v>192.55417216453785</c:v>
                </c:pt>
                <c:pt idx="5041">
                  <c:v>192.18239838046404</c:v>
                </c:pt>
                <c:pt idx="5042">
                  <c:v>192.13104841028809</c:v>
                </c:pt>
                <c:pt idx="5043">
                  <c:v>192.13104841028809</c:v>
                </c:pt>
                <c:pt idx="5044">
                  <c:v>192.13104841028809</c:v>
                </c:pt>
                <c:pt idx="5045">
                  <c:v>192.04272646158549</c:v>
                </c:pt>
                <c:pt idx="5046">
                  <c:v>191.18210096143676</c:v>
                </c:pt>
                <c:pt idx="5047">
                  <c:v>190.28655748156839</c:v>
                </c:pt>
                <c:pt idx="5048">
                  <c:v>189.12399415678519</c:v>
                </c:pt>
                <c:pt idx="5049">
                  <c:v>189.20410011025965</c:v>
                </c:pt>
                <c:pt idx="5050">
                  <c:v>189.20410011025965</c:v>
                </c:pt>
                <c:pt idx="5051">
                  <c:v>189.20410011025965</c:v>
                </c:pt>
                <c:pt idx="5052">
                  <c:v>189.35404202317338</c:v>
                </c:pt>
                <c:pt idx="5053">
                  <c:v>188.65362842997359</c:v>
                </c:pt>
                <c:pt idx="5054">
                  <c:v>187.1254533175377</c:v>
                </c:pt>
                <c:pt idx="5055">
                  <c:v>186.98988939627324</c:v>
                </c:pt>
                <c:pt idx="5056">
                  <c:v>187.36577117796114</c:v>
                </c:pt>
                <c:pt idx="5057">
                  <c:v>187.36577117796114</c:v>
                </c:pt>
                <c:pt idx="5058">
                  <c:v>187.36577117796114</c:v>
                </c:pt>
                <c:pt idx="5059">
                  <c:v>187.66360100498156</c:v>
                </c:pt>
                <c:pt idx="5060">
                  <c:v>187.43149913978633</c:v>
                </c:pt>
                <c:pt idx="5061">
                  <c:v>189.0459422021178</c:v>
                </c:pt>
                <c:pt idx="5062">
                  <c:v>190.50017335750036</c:v>
                </c:pt>
                <c:pt idx="5063">
                  <c:v>193.24431576370247</c:v>
                </c:pt>
                <c:pt idx="5064">
                  <c:v>193.24431576370247</c:v>
                </c:pt>
                <c:pt idx="5065">
                  <c:v>193.24431576370247</c:v>
                </c:pt>
                <c:pt idx="5066">
                  <c:v>196.3787179432417</c:v>
                </c:pt>
                <c:pt idx="5067">
                  <c:v>196.48552588120762</c:v>
                </c:pt>
                <c:pt idx="5068">
                  <c:v>196.44855390268091</c:v>
                </c:pt>
                <c:pt idx="5069">
                  <c:v>196.85524566647433</c:v>
                </c:pt>
                <c:pt idx="5070">
                  <c:v>197.09761752570475</c:v>
                </c:pt>
                <c:pt idx="5071">
                  <c:v>197.09761752570475</c:v>
                </c:pt>
                <c:pt idx="5072">
                  <c:v>197.09761752570475</c:v>
                </c:pt>
                <c:pt idx="5073">
                  <c:v>197.19415546963549</c:v>
                </c:pt>
                <c:pt idx="5074">
                  <c:v>198.31974681589202</c:v>
                </c:pt>
                <c:pt idx="5075">
                  <c:v>198.97086443772292</c:v>
                </c:pt>
                <c:pt idx="5076">
                  <c:v>198.97086443772292</c:v>
                </c:pt>
                <c:pt idx="5077">
                  <c:v>198.68741260235174</c:v>
                </c:pt>
                <c:pt idx="5078">
                  <c:v>198.68741260235174</c:v>
                </c:pt>
                <c:pt idx="5079">
                  <c:v>198.68741260235174</c:v>
                </c:pt>
                <c:pt idx="5080">
                  <c:v>197.46733731097146</c:v>
                </c:pt>
                <c:pt idx="5081">
                  <c:v>197.24755943861845</c:v>
                </c:pt>
                <c:pt idx="5082">
                  <c:v>197.82884110101006</c:v>
                </c:pt>
                <c:pt idx="5083">
                  <c:v>198.12667092803051</c:v>
                </c:pt>
                <c:pt idx="5084">
                  <c:v>197.83911109504527</c:v>
                </c:pt>
                <c:pt idx="5085">
                  <c:v>197.83911109504527</c:v>
                </c:pt>
                <c:pt idx="5086">
                  <c:v>197.83911109504527</c:v>
                </c:pt>
                <c:pt idx="5087">
                  <c:v>199.67538602853679</c:v>
                </c:pt>
                <c:pt idx="5088">
                  <c:v>201.02897124237452</c:v>
                </c:pt>
                <c:pt idx="5089">
                  <c:v>200.37990761935066</c:v>
                </c:pt>
                <c:pt idx="5090">
                  <c:v>202.85497618183086</c:v>
                </c:pt>
                <c:pt idx="5091">
                  <c:v>202.15456258863108</c:v>
                </c:pt>
                <c:pt idx="5092">
                  <c:v>202.15456258863108</c:v>
                </c:pt>
                <c:pt idx="5093">
                  <c:v>202.15456258863108</c:v>
                </c:pt>
                <c:pt idx="5094">
                  <c:v>200.27309968138471</c:v>
                </c:pt>
                <c:pt idx="5095">
                  <c:v>199.33442222656856</c:v>
                </c:pt>
                <c:pt idx="5096">
                  <c:v>198.05067297217013</c:v>
                </c:pt>
                <c:pt idx="5097">
                  <c:v>198.07326695904757</c:v>
                </c:pt>
                <c:pt idx="5098">
                  <c:v>198.16364290655719</c:v>
                </c:pt>
                <c:pt idx="5099">
                  <c:v>198.16364290655719</c:v>
                </c:pt>
                <c:pt idx="5100">
                  <c:v>198.16364290655719</c:v>
                </c:pt>
                <c:pt idx="5101">
                  <c:v>199.21939829337447</c:v>
                </c:pt>
                <c:pt idx="5102">
                  <c:v>199.63019805478197</c:v>
                </c:pt>
                <c:pt idx="5103">
                  <c:v>198.80859853196696</c:v>
                </c:pt>
                <c:pt idx="5104">
                  <c:v>197.42831133363779</c:v>
                </c:pt>
                <c:pt idx="5105">
                  <c:v>197.96440502227455</c:v>
                </c:pt>
                <c:pt idx="5106">
                  <c:v>197.96440502227455</c:v>
                </c:pt>
                <c:pt idx="5107">
                  <c:v>197.96440502227455</c:v>
                </c:pt>
                <c:pt idx="5108">
                  <c:v>197.96440502227455</c:v>
                </c:pt>
                <c:pt idx="5109">
                  <c:v>198.16980490297829</c:v>
                </c:pt>
                <c:pt idx="5110">
                  <c:v>197.54333526683186</c:v>
                </c:pt>
                <c:pt idx="5111">
                  <c:v>197.88224506999305</c:v>
                </c:pt>
                <c:pt idx="5112">
                  <c:v>198.01370099364345</c:v>
                </c:pt>
                <c:pt idx="5113">
                  <c:v>198.01370099364345</c:v>
                </c:pt>
                <c:pt idx="5114">
                  <c:v>198.01370099364345</c:v>
                </c:pt>
                <c:pt idx="5115">
                  <c:v>198.01370099364345</c:v>
                </c:pt>
                <c:pt idx="5116">
                  <c:v>198.39779877055949</c:v>
                </c:pt>
                <c:pt idx="5117">
                  <c:v>200.54833552152778</c:v>
                </c:pt>
                <c:pt idx="5118">
                  <c:v>199.43301416930643</c:v>
                </c:pt>
                <c:pt idx="5119">
                  <c:v>198.09996894353907</c:v>
                </c:pt>
                <c:pt idx="5120">
                  <c:v>198.09996894353907</c:v>
                </c:pt>
                <c:pt idx="5121">
                  <c:v>198.09996894353907</c:v>
                </c:pt>
                <c:pt idx="5122">
                  <c:v>197.38312335988297</c:v>
                </c:pt>
                <c:pt idx="5123">
                  <c:v>198.68946660115884</c:v>
                </c:pt>
                <c:pt idx="5124">
                  <c:v>198.78805854389662</c:v>
                </c:pt>
                <c:pt idx="5125">
                  <c:v>198.38136678010321</c:v>
                </c:pt>
                <c:pt idx="5126">
                  <c:v>198.77984254866846</c:v>
                </c:pt>
                <c:pt idx="5127">
                  <c:v>198.77984254866846</c:v>
                </c:pt>
                <c:pt idx="5128">
                  <c:v>198.77984254866846</c:v>
                </c:pt>
                <c:pt idx="5129">
                  <c:v>198.77984254866846</c:v>
                </c:pt>
                <c:pt idx="5130">
                  <c:v>197.71997916423712</c:v>
                </c:pt>
                <c:pt idx="5131">
                  <c:v>197.98699900915199</c:v>
                </c:pt>
                <c:pt idx="5132">
                  <c:v>197.00107958177398</c:v>
                </c:pt>
                <c:pt idx="5133">
                  <c:v>197.30507140521556</c:v>
                </c:pt>
                <c:pt idx="5134">
                  <c:v>197.30507140521556</c:v>
                </c:pt>
                <c:pt idx="5135">
                  <c:v>197.30507140521556</c:v>
                </c:pt>
                <c:pt idx="5136">
                  <c:v>197.22085745412701</c:v>
                </c:pt>
                <c:pt idx="5137">
                  <c:v>198.45120273954248</c:v>
                </c:pt>
                <c:pt idx="5138">
                  <c:v>198.81886852600223</c:v>
                </c:pt>
                <c:pt idx="5139">
                  <c:v>198.52309269778883</c:v>
                </c:pt>
                <c:pt idx="5140">
                  <c:v>197.65425120241196</c:v>
                </c:pt>
                <c:pt idx="5141">
                  <c:v>197.65425120241196</c:v>
                </c:pt>
                <c:pt idx="5142">
                  <c:v>197.65425120241196</c:v>
                </c:pt>
                <c:pt idx="5143">
                  <c:v>196.52455185854134</c:v>
                </c:pt>
                <c:pt idx="5144">
                  <c:v>197.76722113679904</c:v>
                </c:pt>
                <c:pt idx="5145">
                  <c:v>197.94181103539722</c:v>
                </c:pt>
                <c:pt idx="5146">
                  <c:v>197.62549521911342</c:v>
                </c:pt>
                <c:pt idx="5147">
                  <c:v>198.85378650572184</c:v>
                </c:pt>
                <c:pt idx="5148">
                  <c:v>198.85378650572184</c:v>
                </c:pt>
                <c:pt idx="5149">
                  <c:v>198.85378650572184</c:v>
                </c:pt>
                <c:pt idx="5150">
                  <c:v>197.876083073572</c:v>
                </c:pt>
                <c:pt idx="5151">
                  <c:v>197.13869750184554</c:v>
                </c:pt>
                <c:pt idx="5152">
                  <c:v>197.01340357461626</c:v>
                </c:pt>
                <c:pt idx="5153">
                  <c:v>198.23964086241764</c:v>
                </c:pt>
                <c:pt idx="5154">
                  <c:v>199.19680430649711</c:v>
                </c:pt>
                <c:pt idx="5155">
                  <c:v>199.19680430649711</c:v>
                </c:pt>
                <c:pt idx="5156">
                  <c:v>199.19680430649711</c:v>
                </c:pt>
                <c:pt idx="5157">
                  <c:v>198.46352673238474</c:v>
                </c:pt>
                <c:pt idx="5158">
                  <c:v>198.58882065961404</c:v>
                </c:pt>
                <c:pt idx="5159">
                  <c:v>198.37931278129622</c:v>
                </c:pt>
                <c:pt idx="5160">
                  <c:v>197.85348908669462</c:v>
                </c:pt>
                <c:pt idx="5161">
                  <c:v>197.33588138732119</c:v>
                </c:pt>
                <c:pt idx="5162">
                  <c:v>197.33588138732119</c:v>
                </c:pt>
                <c:pt idx="5163">
                  <c:v>197.33588138732119</c:v>
                </c:pt>
                <c:pt idx="5164">
                  <c:v>197.33588138732119</c:v>
                </c:pt>
                <c:pt idx="5165">
                  <c:v>197.80624711413276</c:v>
                </c:pt>
                <c:pt idx="5166">
                  <c:v>196.65600778219175</c:v>
                </c:pt>
                <c:pt idx="5167">
                  <c:v>195.86727224028937</c:v>
                </c:pt>
                <c:pt idx="5168">
                  <c:v>195.24901859937108</c:v>
                </c:pt>
                <c:pt idx="5169">
                  <c:v>195.24901859937108</c:v>
                </c:pt>
                <c:pt idx="5170">
                  <c:v>195.24901859937108</c:v>
                </c:pt>
                <c:pt idx="5171">
                  <c:v>196.84497567243923</c:v>
                </c:pt>
                <c:pt idx="5172">
                  <c:v>195.14631865901922</c:v>
                </c:pt>
                <c:pt idx="5173">
                  <c:v>195.40512250870594</c:v>
                </c:pt>
                <c:pt idx="5174">
                  <c:v>194.77659887375245</c:v>
                </c:pt>
                <c:pt idx="5175">
                  <c:v>194.71497890954134</c:v>
                </c:pt>
                <c:pt idx="5176">
                  <c:v>194.71497890954137</c:v>
                </c:pt>
                <c:pt idx="5177">
                  <c:v>194.71497890954137</c:v>
                </c:pt>
                <c:pt idx="5178">
                  <c:v>194.037159303219</c:v>
                </c:pt>
                <c:pt idx="5179">
                  <c:v>193.26280175296586</c:v>
                </c:pt>
                <c:pt idx="5180">
                  <c:v>192.59936013829272</c:v>
                </c:pt>
                <c:pt idx="5181">
                  <c:v>192.0612124508489</c:v>
                </c:pt>
                <c:pt idx="5182">
                  <c:v>192.12694041267412</c:v>
                </c:pt>
                <c:pt idx="5183">
                  <c:v>192.12694041267412</c:v>
                </c:pt>
                <c:pt idx="5184">
                  <c:v>192.12694041267412</c:v>
                </c:pt>
                <c:pt idx="5185">
                  <c:v>192.13310240909524</c:v>
                </c:pt>
                <c:pt idx="5186">
                  <c:v>191.67711467393295</c:v>
                </c:pt>
                <c:pt idx="5187">
                  <c:v>192.85610998917247</c:v>
                </c:pt>
                <c:pt idx="5188">
                  <c:v>192.93210794503284</c:v>
                </c:pt>
                <c:pt idx="5189">
                  <c:v>193.09026585317477</c:v>
                </c:pt>
                <c:pt idx="5190">
                  <c:v>193.09026585317477</c:v>
                </c:pt>
                <c:pt idx="5191">
                  <c:v>193.09026585317477</c:v>
                </c:pt>
                <c:pt idx="5192">
                  <c:v>192.39601425639609</c:v>
                </c:pt>
                <c:pt idx="5193">
                  <c:v>190.86578514515313</c:v>
                </c:pt>
                <c:pt idx="5194">
                  <c:v>190.39541941834156</c:v>
                </c:pt>
                <c:pt idx="5195">
                  <c:v>190.77951719525757</c:v>
                </c:pt>
                <c:pt idx="5196">
                  <c:v>191.06502302943576</c:v>
                </c:pt>
                <c:pt idx="5197">
                  <c:v>191.06502302943574</c:v>
                </c:pt>
                <c:pt idx="5198">
                  <c:v>191.06502302943574</c:v>
                </c:pt>
                <c:pt idx="5199">
                  <c:v>191.57236073477398</c:v>
                </c:pt>
                <c:pt idx="5200">
                  <c:v>191.91948653316334</c:v>
                </c:pt>
                <c:pt idx="5201">
                  <c:v>192.80476001899649</c:v>
                </c:pt>
                <c:pt idx="5202">
                  <c:v>193.19091179471954</c:v>
                </c:pt>
                <c:pt idx="5203">
                  <c:v>193.85024541177859</c:v>
                </c:pt>
                <c:pt idx="5204">
                  <c:v>193.85024541177859</c:v>
                </c:pt>
                <c:pt idx="5205">
                  <c:v>193.85024541177859</c:v>
                </c:pt>
                <c:pt idx="5206">
                  <c:v>192.76778804046981</c:v>
                </c:pt>
                <c:pt idx="5207">
                  <c:v>192.75957204524167</c:v>
                </c:pt>
                <c:pt idx="5208">
                  <c:v>191.71819465007363</c:v>
                </c:pt>
                <c:pt idx="5209">
                  <c:v>193.0101598997002</c:v>
                </c:pt>
                <c:pt idx="5210">
                  <c:v>192.84173199752314</c:v>
                </c:pt>
                <c:pt idx="5211">
                  <c:v>192.84173199752314</c:v>
                </c:pt>
                <c:pt idx="5212">
                  <c:v>192.84173199752314</c:v>
                </c:pt>
                <c:pt idx="5213">
                  <c:v>193.79273344518148</c:v>
                </c:pt>
                <c:pt idx="5214">
                  <c:v>194.7190869071554</c:v>
                </c:pt>
                <c:pt idx="5215">
                  <c:v>193.57295557282845</c:v>
                </c:pt>
                <c:pt idx="5216">
                  <c:v>192.79859802257533</c:v>
                </c:pt>
                <c:pt idx="5217">
                  <c:v>192.79859802257533</c:v>
                </c:pt>
                <c:pt idx="5218">
                  <c:v>192.79859802257533</c:v>
                </c:pt>
                <c:pt idx="5219">
                  <c:v>192.79859802257533</c:v>
                </c:pt>
                <c:pt idx="5220">
                  <c:v>193.16626380903509</c:v>
                </c:pt>
                <c:pt idx="5221">
                  <c:v>193.42095966110773</c:v>
                </c:pt>
                <c:pt idx="5222">
                  <c:v>194.16039923164126</c:v>
                </c:pt>
                <c:pt idx="5223">
                  <c:v>194.06180728890345</c:v>
                </c:pt>
                <c:pt idx="5224">
                  <c:v>194.17477722329053</c:v>
                </c:pt>
                <c:pt idx="5225">
                  <c:v>194.17477722329053</c:v>
                </c:pt>
                <c:pt idx="5226">
                  <c:v>194.17477722329053</c:v>
                </c:pt>
                <c:pt idx="5227">
                  <c:v>194.20147920778203</c:v>
                </c:pt>
                <c:pt idx="5228">
                  <c:v>194.77249087613845</c:v>
                </c:pt>
                <c:pt idx="5229">
                  <c:v>195.34555654330191</c:v>
                </c:pt>
                <c:pt idx="5230">
                  <c:v>194.68416892743585</c:v>
                </c:pt>
                <c:pt idx="5231">
                  <c:v>193.36344769451074</c:v>
                </c:pt>
                <c:pt idx="5232">
                  <c:v>193.36344769451074</c:v>
                </c:pt>
                <c:pt idx="5233">
                  <c:v>193.36344769451074</c:v>
                </c:pt>
                <c:pt idx="5234">
                  <c:v>193.65306152630302</c:v>
                </c:pt>
                <c:pt idx="5235">
                  <c:v>193.37987968496705</c:v>
                </c:pt>
                <c:pt idx="5236">
                  <c:v>192.62400812397723</c:v>
                </c:pt>
                <c:pt idx="5237">
                  <c:v>191.62987270137111</c:v>
                </c:pt>
                <c:pt idx="5238">
                  <c:v>192.8499479927514</c:v>
                </c:pt>
                <c:pt idx="5239">
                  <c:v>192.8499479927514</c:v>
                </c:pt>
                <c:pt idx="5240">
                  <c:v>192.8499479927514</c:v>
                </c:pt>
                <c:pt idx="5241">
                  <c:v>192.34261028741312</c:v>
                </c:pt>
                <c:pt idx="5242">
                  <c:v>191.78392261189893</c:v>
                </c:pt>
                <c:pt idx="5243">
                  <c:v>192.47406621106353</c:v>
                </c:pt>
                <c:pt idx="5244">
                  <c:v>191.77981461428485</c:v>
                </c:pt>
                <c:pt idx="5245">
                  <c:v>191.18004696262989</c:v>
                </c:pt>
                <c:pt idx="5246">
                  <c:v>191.18004696262989</c:v>
                </c:pt>
                <c:pt idx="5247">
                  <c:v>191.18004696262989</c:v>
                </c:pt>
                <c:pt idx="5248">
                  <c:v>191.55182074670367</c:v>
                </c:pt>
                <c:pt idx="5249">
                  <c:v>191.17388496620876</c:v>
                </c:pt>
                <c:pt idx="5250">
                  <c:v>189.99078165335516</c:v>
                </c:pt>
                <c:pt idx="5251">
                  <c:v>189.26982807208498</c:v>
                </c:pt>
                <c:pt idx="5252">
                  <c:v>189.53684791699985</c:v>
                </c:pt>
                <c:pt idx="5253">
                  <c:v>189.53684791699985</c:v>
                </c:pt>
                <c:pt idx="5254">
                  <c:v>189.53684791699985</c:v>
                </c:pt>
                <c:pt idx="5255">
                  <c:v>189.64570985377281</c:v>
                </c:pt>
                <c:pt idx="5256">
                  <c:v>189.1506961412768</c:v>
                </c:pt>
                <c:pt idx="5257">
                  <c:v>189.09318417467975</c:v>
                </c:pt>
                <c:pt idx="5258">
                  <c:v>187.74986895487723</c:v>
                </c:pt>
                <c:pt idx="5259">
                  <c:v>187.20350527220523</c:v>
                </c:pt>
                <c:pt idx="5260">
                  <c:v>187.20350527220523</c:v>
                </c:pt>
                <c:pt idx="5261">
                  <c:v>187.20350527220523</c:v>
                </c:pt>
                <c:pt idx="5262">
                  <c:v>187.20350527220523</c:v>
                </c:pt>
                <c:pt idx="5263">
                  <c:v>185.95672799633348</c:v>
                </c:pt>
                <c:pt idx="5264">
                  <c:v>185.64246617885672</c:v>
                </c:pt>
                <c:pt idx="5265">
                  <c:v>187.67592499782387</c:v>
                </c:pt>
                <c:pt idx="5266">
                  <c:v>187.48901110638343</c:v>
                </c:pt>
                <c:pt idx="5267">
                  <c:v>187.48901110638343</c:v>
                </c:pt>
                <c:pt idx="5268">
                  <c:v>187.48901110638343</c:v>
                </c:pt>
                <c:pt idx="5269">
                  <c:v>186.67562757879659</c:v>
                </c:pt>
                <c:pt idx="5270">
                  <c:v>186.87691946188627</c:v>
                </c:pt>
                <c:pt idx="5271">
                  <c:v>186.05942793668535</c:v>
                </c:pt>
                <c:pt idx="5272">
                  <c:v>186.6920595692529</c:v>
                </c:pt>
                <c:pt idx="5273">
                  <c:v>187.84435290000096</c:v>
                </c:pt>
                <c:pt idx="5274">
                  <c:v>187.84435290000096</c:v>
                </c:pt>
                <c:pt idx="5275">
                  <c:v>187.84435290000096</c:v>
                </c:pt>
                <c:pt idx="5276">
                  <c:v>188.13396673179324</c:v>
                </c:pt>
                <c:pt idx="5277">
                  <c:v>188.34142061130402</c:v>
                </c:pt>
                <c:pt idx="5278">
                  <c:v>187.59581904434941</c:v>
                </c:pt>
                <c:pt idx="5279">
                  <c:v>186.63454760265583</c:v>
                </c:pt>
                <c:pt idx="5280">
                  <c:v>186.35931176251279</c:v>
                </c:pt>
                <c:pt idx="5281">
                  <c:v>186.35931176251279</c:v>
                </c:pt>
                <c:pt idx="5282">
                  <c:v>186.35931176251279</c:v>
                </c:pt>
                <c:pt idx="5283">
                  <c:v>186.34493377086355</c:v>
                </c:pt>
                <c:pt idx="5284">
                  <c:v>185.18237044608031</c:v>
                </c:pt>
                <c:pt idx="5285">
                  <c:v>184.36282492207235</c:v>
                </c:pt>
                <c:pt idx="5286">
                  <c:v>185.31382636973072</c:v>
                </c:pt>
                <c:pt idx="5287">
                  <c:v>186.47844369332097</c:v>
                </c:pt>
                <c:pt idx="5288">
                  <c:v>186.47844369332097</c:v>
                </c:pt>
                <c:pt idx="5289">
                  <c:v>186.47844369332097</c:v>
                </c:pt>
                <c:pt idx="5290">
                  <c:v>187.19734327578408</c:v>
                </c:pt>
                <c:pt idx="5291">
                  <c:v>187.19118127936298</c:v>
                </c:pt>
                <c:pt idx="5292">
                  <c:v>187.60198104077048</c:v>
                </c:pt>
                <c:pt idx="5293">
                  <c:v>188.23255867453099</c:v>
                </c:pt>
                <c:pt idx="5294">
                  <c:v>187.81970491431645</c:v>
                </c:pt>
                <c:pt idx="5295">
                  <c:v>187.81970491431645</c:v>
                </c:pt>
                <c:pt idx="5296">
                  <c:v>187.81970491431645</c:v>
                </c:pt>
                <c:pt idx="5297">
                  <c:v>188.88778429397598</c:v>
                </c:pt>
                <c:pt idx="5298">
                  <c:v>188.88778429397598</c:v>
                </c:pt>
                <c:pt idx="5299">
                  <c:v>187.72316697038571</c:v>
                </c:pt>
                <c:pt idx="5300">
                  <c:v>186.76394952749916</c:v>
                </c:pt>
                <c:pt idx="5301">
                  <c:v>186.98578139865924</c:v>
                </c:pt>
                <c:pt idx="5302">
                  <c:v>186.98578139865924</c:v>
                </c:pt>
                <c:pt idx="5303">
                  <c:v>186.98578139865924</c:v>
                </c:pt>
                <c:pt idx="5304">
                  <c:v>186.10050791282606</c:v>
                </c:pt>
                <c:pt idx="5305">
                  <c:v>186.88718945592143</c:v>
                </c:pt>
                <c:pt idx="5306">
                  <c:v>186.6222236098136</c:v>
                </c:pt>
                <c:pt idx="5307">
                  <c:v>186.69616756686693</c:v>
                </c:pt>
                <c:pt idx="5308">
                  <c:v>186.52773966468985</c:v>
                </c:pt>
                <c:pt idx="5309">
                  <c:v>186.52773966468985</c:v>
                </c:pt>
                <c:pt idx="5310">
                  <c:v>186.52773966468985</c:v>
                </c:pt>
                <c:pt idx="5311">
                  <c:v>186.96524141058882</c:v>
                </c:pt>
                <c:pt idx="5312">
                  <c:v>186.22785583886235</c:v>
                </c:pt>
                <c:pt idx="5313">
                  <c:v>187.48490310876932</c:v>
                </c:pt>
                <c:pt idx="5314">
                  <c:v>187.53009108252414</c:v>
                </c:pt>
                <c:pt idx="5315">
                  <c:v>186.77216552272731</c:v>
                </c:pt>
                <c:pt idx="5316">
                  <c:v>186.77216552272731</c:v>
                </c:pt>
                <c:pt idx="5317">
                  <c:v>186.77216552272731</c:v>
                </c:pt>
                <c:pt idx="5318">
                  <c:v>187.19118127936298</c:v>
                </c:pt>
                <c:pt idx="5319">
                  <c:v>188.27980064709286</c:v>
                </c:pt>
                <c:pt idx="5320">
                  <c:v>186.96113341297479</c:v>
                </c:pt>
                <c:pt idx="5321">
                  <c:v>186.97961940223811</c:v>
                </c:pt>
                <c:pt idx="5322">
                  <c:v>186.08818391998383</c:v>
                </c:pt>
                <c:pt idx="5323">
                  <c:v>186.08818391998381</c:v>
                </c:pt>
                <c:pt idx="5324">
                  <c:v>186.08818391998381</c:v>
                </c:pt>
                <c:pt idx="5325">
                  <c:v>185.5192262504344</c:v>
                </c:pt>
                <c:pt idx="5326">
                  <c:v>184.97902456418353</c:v>
                </c:pt>
                <c:pt idx="5327">
                  <c:v>183.3789594935013</c:v>
                </c:pt>
                <c:pt idx="5328">
                  <c:v>183.0996156557442</c:v>
                </c:pt>
                <c:pt idx="5329">
                  <c:v>183.59668336704729</c:v>
                </c:pt>
                <c:pt idx="5330">
                  <c:v>183.59668336704729</c:v>
                </c:pt>
                <c:pt idx="5331">
                  <c:v>183.59668336704729</c:v>
                </c:pt>
                <c:pt idx="5332">
                  <c:v>183.42209346844911</c:v>
                </c:pt>
                <c:pt idx="5333">
                  <c:v>183.15507362353424</c:v>
                </c:pt>
                <c:pt idx="5334">
                  <c:v>182.34169009594737</c:v>
                </c:pt>
                <c:pt idx="5335">
                  <c:v>181.97813230710173</c:v>
                </c:pt>
                <c:pt idx="5336">
                  <c:v>182.59433194921297</c:v>
                </c:pt>
                <c:pt idx="5337">
                  <c:v>182.59433194921297</c:v>
                </c:pt>
                <c:pt idx="5338">
                  <c:v>182.59433194921297</c:v>
                </c:pt>
                <c:pt idx="5339">
                  <c:v>182.32115010787697</c:v>
                </c:pt>
                <c:pt idx="5340">
                  <c:v>181.18528876758526</c:v>
                </c:pt>
                <c:pt idx="5341">
                  <c:v>181.11339880933895</c:v>
                </c:pt>
                <c:pt idx="5342">
                  <c:v>180.8463789644241</c:v>
                </c:pt>
                <c:pt idx="5343">
                  <c:v>180.92853891670558</c:v>
                </c:pt>
                <c:pt idx="5344">
                  <c:v>180.92853891670558</c:v>
                </c:pt>
                <c:pt idx="5345">
                  <c:v>180.92853891670558</c:v>
                </c:pt>
                <c:pt idx="5346">
                  <c:v>180.33493326147172</c:v>
                </c:pt>
                <c:pt idx="5347">
                  <c:v>180.41709321375322</c:v>
                </c:pt>
                <c:pt idx="5348">
                  <c:v>180.53827914336841</c:v>
                </c:pt>
                <c:pt idx="5349">
                  <c:v>181.03329285586446</c:v>
                </c:pt>
                <c:pt idx="5350">
                  <c:v>181.23047674134008</c:v>
                </c:pt>
                <c:pt idx="5351">
                  <c:v>181.23047674134008</c:v>
                </c:pt>
                <c:pt idx="5352">
                  <c:v>181.23047674134008</c:v>
                </c:pt>
                <c:pt idx="5353">
                  <c:v>181.24690873179637</c:v>
                </c:pt>
                <c:pt idx="5354">
                  <c:v>181.44614661607903</c:v>
                </c:pt>
                <c:pt idx="5355">
                  <c:v>181.48928059102684</c:v>
                </c:pt>
                <c:pt idx="5356">
                  <c:v>182.35606808759667</c:v>
                </c:pt>
                <c:pt idx="5357">
                  <c:v>183.05031968437538</c:v>
                </c:pt>
                <c:pt idx="5358">
                  <c:v>183.05031968437538</c:v>
                </c:pt>
                <c:pt idx="5359">
                  <c:v>183.05031968437538</c:v>
                </c:pt>
                <c:pt idx="5360">
                  <c:v>183.05031968437538</c:v>
                </c:pt>
                <c:pt idx="5361">
                  <c:v>182.55530597187933</c:v>
                </c:pt>
                <c:pt idx="5362">
                  <c:v>182.26980013770114</c:v>
                </c:pt>
                <c:pt idx="5363">
                  <c:v>181.22842274253316</c:v>
                </c:pt>
                <c:pt idx="5364">
                  <c:v>181.04972484632088</c:v>
                </c:pt>
                <c:pt idx="5365">
                  <c:v>181.04972484632088</c:v>
                </c:pt>
                <c:pt idx="5366">
                  <c:v>181.04972484632088</c:v>
                </c:pt>
                <c:pt idx="5367">
                  <c:v>180.87102695010861</c:v>
                </c:pt>
                <c:pt idx="5368">
                  <c:v>181.76657042997698</c:v>
                </c:pt>
                <c:pt idx="5369">
                  <c:v>182.10137223552408</c:v>
                </c:pt>
                <c:pt idx="5370">
                  <c:v>181.67824848127435</c:v>
                </c:pt>
                <c:pt idx="5371">
                  <c:v>182.11985822478741</c:v>
                </c:pt>
                <c:pt idx="5372">
                  <c:v>182.11985822478741</c:v>
                </c:pt>
                <c:pt idx="5373">
                  <c:v>182.11985822478741</c:v>
                </c:pt>
                <c:pt idx="5374">
                  <c:v>182.2554221460519</c:v>
                </c:pt>
                <c:pt idx="5375">
                  <c:v>181.59198053137879</c:v>
                </c:pt>
                <c:pt idx="5376">
                  <c:v>182.55735997068641</c:v>
                </c:pt>
                <c:pt idx="5377">
                  <c:v>182.07261625222554</c:v>
                </c:pt>
                <c:pt idx="5378">
                  <c:v>182.68676189552974</c:v>
                </c:pt>
                <c:pt idx="5379">
                  <c:v>182.68676189552974</c:v>
                </c:pt>
                <c:pt idx="5380">
                  <c:v>182.68676189552974</c:v>
                </c:pt>
                <c:pt idx="5381">
                  <c:v>183.6480333372233</c:v>
                </c:pt>
                <c:pt idx="5382">
                  <c:v>184.1533170437545</c:v>
                </c:pt>
                <c:pt idx="5383">
                  <c:v>185.28507038643218</c:v>
                </c:pt>
                <c:pt idx="5384">
                  <c:v>185.31998836615179</c:v>
                </c:pt>
                <c:pt idx="5385">
                  <c:v>184.81881265723464</c:v>
                </c:pt>
                <c:pt idx="5386">
                  <c:v>184.81881265723464</c:v>
                </c:pt>
                <c:pt idx="5387">
                  <c:v>184.81881265723464</c:v>
                </c:pt>
                <c:pt idx="5388">
                  <c:v>185.49047026713595</c:v>
                </c:pt>
                <c:pt idx="5389">
                  <c:v>185.38160833036292</c:v>
                </c:pt>
                <c:pt idx="5390">
                  <c:v>184.84551464172611</c:v>
                </c:pt>
                <c:pt idx="5391">
                  <c:v>184.42239088747641</c:v>
                </c:pt>
                <c:pt idx="5392">
                  <c:v>184.28271896859786</c:v>
                </c:pt>
                <c:pt idx="5393">
                  <c:v>184.28271896859786</c:v>
                </c:pt>
                <c:pt idx="5394">
                  <c:v>184.28271896859786</c:v>
                </c:pt>
                <c:pt idx="5395">
                  <c:v>183.96640315231406</c:v>
                </c:pt>
                <c:pt idx="5396">
                  <c:v>183.80619124536514</c:v>
                </c:pt>
                <c:pt idx="5397">
                  <c:v>183.47549743743213</c:v>
                </c:pt>
                <c:pt idx="5398">
                  <c:v>183.70965330143437</c:v>
                </c:pt>
                <c:pt idx="5399">
                  <c:v>183.55971138852064</c:v>
                </c:pt>
                <c:pt idx="5400">
                  <c:v>183.55971138852064</c:v>
                </c:pt>
                <c:pt idx="5401">
                  <c:v>183.55971138852064</c:v>
                </c:pt>
                <c:pt idx="5402">
                  <c:v>183.28036755076351</c:v>
                </c:pt>
                <c:pt idx="5403">
                  <c:v>183.0256716986909</c:v>
                </c:pt>
                <c:pt idx="5404">
                  <c:v>183.18588360563982</c:v>
                </c:pt>
                <c:pt idx="5405">
                  <c:v>182.92091775953196</c:v>
                </c:pt>
                <c:pt idx="5406">
                  <c:v>182.98253772374312</c:v>
                </c:pt>
                <c:pt idx="5407">
                  <c:v>182.98253772374312</c:v>
                </c:pt>
                <c:pt idx="5408">
                  <c:v>182.98253772374312</c:v>
                </c:pt>
                <c:pt idx="5409">
                  <c:v>182.41974205061487</c:v>
                </c:pt>
                <c:pt idx="5410">
                  <c:v>182.3293661031052</c:v>
                </c:pt>
                <c:pt idx="5411">
                  <c:v>181.70495046576579</c:v>
                </c:pt>
                <c:pt idx="5412">
                  <c:v>181.77889442281912</c:v>
                </c:pt>
                <c:pt idx="5413">
                  <c:v>182.3355280995263</c:v>
                </c:pt>
                <c:pt idx="5414">
                  <c:v>182.3355280995263</c:v>
                </c:pt>
                <c:pt idx="5415">
                  <c:v>182.3355280995263</c:v>
                </c:pt>
                <c:pt idx="5416">
                  <c:v>181.82202839776693</c:v>
                </c:pt>
                <c:pt idx="5417">
                  <c:v>182.69292389195084</c:v>
                </c:pt>
                <c:pt idx="5418">
                  <c:v>182.10958823075219</c:v>
                </c:pt>
                <c:pt idx="5419">
                  <c:v>181.09080482246159</c:v>
                </c:pt>
                <c:pt idx="5420">
                  <c:v>180.88540494175786</c:v>
                </c:pt>
                <c:pt idx="5421">
                  <c:v>180.88540494175783</c:v>
                </c:pt>
                <c:pt idx="5422">
                  <c:v>180.88540494175783</c:v>
                </c:pt>
                <c:pt idx="5423">
                  <c:v>181.18118076997123</c:v>
                </c:pt>
                <c:pt idx="5424">
                  <c:v>179.8604595370461</c:v>
                </c:pt>
                <c:pt idx="5425">
                  <c:v>179.74132760623795</c:v>
                </c:pt>
                <c:pt idx="5426">
                  <c:v>179.909755508415</c:v>
                </c:pt>
                <c:pt idx="5427">
                  <c:v>180.08434540701319</c:v>
                </c:pt>
                <c:pt idx="5428">
                  <c:v>180.08434540701319</c:v>
                </c:pt>
                <c:pt idx="5429">
                  <c:v>180.08434540701319</c:v>
                </c:pt>
                <c:pt idx="5430">
                  <c:v>179.87072953108128</c:v>
                </c:pt>
                <c:pt idx="5431">
                  <c:v>179.52360373269192</c:v>
                </c:pt>
                <c:pt idx="5432">
                  <c:v>179.85429754062497</c:v>
                </c:pt>
                <c:pt idx="5433">
                  <c:v>180.71697703958074</c:v>
                </c:pt>
                <c:pt idx="5434">
                  <c:v>181.5365225635887</c:v>
                </c:pt>
                <c:pt idx="5435">
                  <c:v>181.5365225635887</c:v>
                </c:pt>
                <c:pt idx="5436">
                  <c:v>181.5365225635887</c:v>
                </c:pt>
                <c:pt idx="5437">
                  <c:v>181.70289646695872</c:v>
                </c:pt>
                <c:pt idx="5438">
                  <c:v>181.87337836794282</c:v>
                </c:pt>
                <c:pt idx="5439">
                  <c:v>182.31704211026292</c:v>
                </c:pt>
                <c:pt idx="5440">
                  <c:v>182.31704211026292</c:v>
                </c:pt>
                <c:pt idx="5441">
                  <c:v>182.26774613889401</c:v>
                </c:pt>
                <c:pt idx="5442">
                  <c:v>182.26774613889398</c:v>
                </c:pt>
                <c:pt idx="5443">
                  <c:v>182.26774613889398</c:v>
                </c:pt>
                <c:pt idx="5444">
                  <c:v>182.17737019138437</c:v>
                </c:pt>
                <c:pt idx="5445">
                  <c:v>182.3273121042981</c:v>
                </c:pt>
                <c:pt idx="5446">
                  <c:v>183.36252750304502</c:v>
                </c:pt>
                <c:pt idx="5447">
                  <c:v>182.72578787286338</c:v>
                </c:pt>
                <c:pt idx="5448">
                  <c:v>182.78740783707448</c:v>
                </c:pt>
                <c:pt idx="5449">
                  <c:v>182.78740783707445</c:v>
                </c:pt>
                <c:pt idx="5450">
                  <c:v>182.78740783707445</c:v>
                </c:pt>
                <c:pt idx="5451">
                  <c:v>182.9537817404445</c:v>
                </c:pt>
                <c:pt idx="5452">
                  <c:v>181.94526832618905</c:v>
                </c:pt>
                <c:pt idx="5453">
                  <c:v>181.0394548522855</c:v>
                </c:pt>
                <c:pt idx="5454">
                  <c:v>181.25923272463851</c:v>
                </c:pt>
                <c:pt idx="5455">
                  <c:v>181.07642683081218</c:v>
                </c:pt>
                <c:pt idx="5456">
                  <c:v>181.07642683081218</c:v>
                </c:pt>
                <c:pt idx="5457">
                  <c:v>181.07642683081218</c:v>
                </c:pt>
                <c:pt idx="5458">
                  <c:v>180.58962911354431</c:v>
                </c:pt>
                <c:pt idx="5459">
                  <c:v>180.19731534140013</c:v>
                </c:pt>
                <c:pt idx="5460">
                  <c:v>181.00864487017995</c:v>
                </c:pt>
                <c:pt idx="5461">
                  <c:v>180.24455731396199</c:v>
                </c:pt>
                <c:pt idx="5462">
                  <c:v>180.84432496561695</c:v>
                </c:pt>
                <c:pt idx="5463">
                  <c:v>180.84432496561695</c:v>
                </c:pt>
                <c:pt idx="5464">
                  <c:v>180.84432496561695</c:v>
                </c:pt>
                <c:pt idx="5465">
                  <c:v>182.06234625819019</c:v>
                </c:pt>
                <c:pt idx="5466">
                  <c:v>181.69673447053751</c:v>
                </c:pt>
                <c:pt idx="5467">
                  <c:v>181.65154649678266</c:v>
                </c:pt>
                <c:pt idx="5468">
                  <c:v>182.3108801138417</c:v>
                </c:pt>
                <c:pt idx="5469">
                  <c:v>182.3108801138417</c:v>
                </c:pt>
                <c:pt idx="5470">
                  <c:v>182.3108801138417</c:v>
                </c:pt>
                <c:pt idx="5471">
                  <c:v>182.3108801138417</c:v>
                </c:pt>
                <c:pt idx="5472">
                  <c:v>182.3108801138417</c:v>
                </c:pt>
                <c:pt idx="5473">
                  <c:v>182.6723839038803</c:v>
                </c:pt>
                <c:pt idx="5474">
                  <c:v>182.50190200289617</c:v>
                </c:pt>
                <c:pt idx="5475">
                  <c:v>182.5758459599495</c:v>
                </c:pt>
                <c:pt idx="5476">
                  <c:v>182.38482407089504</c:v>
                </c:pt>
                <c:pt idx="5477">
                  <c:v>182.38482407089504</c:v>
                </c:pt>
                <c:pt idx="5478">
                  <c:v>182.38482407089504</c:v>
                </c:pt>
                <c:pt idx="5479">
                  <c:v>182.38482407089504</c:v>
                </c:pt>
                <c:pt idx="5480">
                  <c:v>182.67032990507326</c:v>
                </c:pt>
                <c:pt idx="5481">
                  <c:v>181.43587662204371</c:v>
                </c:pt>
                <c:pt idx="5482">
                  <c:v>181.04972484632066</c:v>
                </c:pt>
                <c:pt idx="5483">
                  <c:v>180.52595515052607</c:v>
                </c:pt>
                <c:pt idx="5484">
                  <c:v>180.5259551505261</c:v>
                </c:pt>
                <c:pt idx="5485">
                  <c:v>180.5259551505261</c:v>
                </c:pt>
                <c:pt idx="5486">
                  <c:v>180.67795106224688</c:v>
                </c:pt>
                <c:pt idx="5487">
                  <c:v>179.70640962651811</c:v>
                </c:pt>
                <c:pt idx="5488">
                  <c:v>179.17442393549541</c:v>
                </c:pt>
                <c:pt idx="5489">
                  <c:v>180.41093121733198</c:v>
                </c:pt>
                <c:pt idx="5490">
                  <c:v>179.86251353585297</c:v>
                </c:pt>
                <c:pt idx="5491">
                  <c:v>179.86251353585297</c:v>
                </c:pt>
                <c:pt idx="5492">
                  <c:v>179.86251353585297</c:v>
                </c:pt>
                <c:pt idx="5493">
                  <c:v>179.86251353585297</c:v>
                </c:pt>
                <c:pt idx="5494">
                  <c:v>178.58081828026155</c:v>
                </c:pt>
                <c:pt idx="5495">
                  <c:v>178.112506552257</c:v>
                </c:pt>
                <c:pt idx="5496">
                  <c:v>177.24777305449422</c:v>
                </c:pt>
                <c:pt idx="5497">
                  <c:v>178.12893854271331</c:v>
                </c:pt>
                <c:pt idx="5498">
                  <c:v>178.12893854271331</c:v>
                </c:pt>
                <c:pt idx="5499">
                  <c:v>178.12893854271331</c:v>
                </c:pt>
                <c:pt idx="5500">
                  <c:v>178.00364461548403</c:v>
                </c:pt>
                <c:pt idx="5501">
                  <c:v>178.07142657611627</c:v>
                </c:pt>
                <c:pt idx="5502">
                  <c:v>177.93175465723772</c:v>
                </c:pt>
                <c:pt idx="5503">
                  <c:v>177.95024064650107</c:v>
                </c:pt>
                <c:pt idx="5504">
                  <c:v>176.37687756031036</c:v>
                </c:pt>
                <c:pt idx="5505">
                  <c:v>176.37687756031039</c:v>
                </c:pt>
                <c:pt idx="5506">
                  <c:v>176.37687756031039</c:v>
                </c:pt>
                <c:pt idx="5507">
                  <c:v>176.29266360922185</c:v>
                </c:pt>
                <c:pt idx="5508">
                  <c:v>176.82464930024457</c:v>
                </c:pt>
                <c:pt idx="5509">
                  <c:v>176.16326168437848</c:v>
                </c:pt>
                <c:pt idx="5510">
                  <c:v>176.1529916903433</c:v>
                </c:pt>
                <c:pt idx="5511">
                  <c:v>175.69494995637393</c:v>
                </c:pt>
                <c:pt idx="5512">
                  <c:v>175.69494995637393</c:v>
                </c:pt>
                <c:pt idx="5513">
                  <c:v>175.69494995637393</c:v>
                </c:pt>
                <c:pt idx="5514">
                  <c:v>176.23309764381776</c:v>
                </c:pt>
                <c:pt idx="5515">
                  <c:v>175.38274213770424</c:v>
                </c:pt>
                <c:pt idx="5516">
                  <c:v>175.30058218542274</c:v>
                </c:pt>
                <c:pt idx="5517">
                  <c:v>176.94378123105275</c:v>
                </c:pt>
                <c:pt idx="5518">
                  <c:v>176.11396571300961</c:v>
                </c:pt>
                <c:pt idx="5519">
                  <c:v>176.11396571300961</c:v>
                </c:pt>
                <c:pt idx="5520">
                  <c:v>176.11396571300961</c:v>
                </c:pt>
                <c:pt idx="5521">
                  <c:v>175.19377424745682</c:v>
                </c:pt>
                <c:pt idx="5522">
                  <c:v>175.00891435482342</c:v>
                </c:pt>
                <c:pt idx="5523">
                  <c:v>175.39095813293238</c:v>
                </c:pt>
                <c:pt idx="5524">
                  <c:v>175.05204832977122</c:v>
                </c:pt>
                <c:pt idx="5525">
                  <c:v>175.2923661901946</c:v>
                </c:pt>
                <c:pt idx="5526">
                  <c:v>175.2923661901946</c:v>
                </c:pt>
                <c:pt idx="5527">
                  <c:v>175.2923661901946</c:v>
                </c:pt>
                <c:pt idx="5528">
                  <c:v>175.2923661901946</c:v>
                </c:pt>
                <c:pt idx="5529">
                  <c:v>175.1342082820527</c:v>
                </c:pt>
                <c:pt idx="5530">
                  <c:v>175.54911604107426</c:v>
                </c:pt>
                <c:pt idx="5531">
                  <c:v>175.34577015917753</c:v>
                </c:pt>
                <c:pt idx="5532">
                  <c:v>174.92059240612076</c:v>
                </c:pt>
                <c:pt idx="5533">
                  <c:v>174.92059240612076</c:v>
                </c:pt>
                <c:pt idx="5534">
                  <c:v>174.92059240612076</c:v>
                </c:pt>
                <c:pt idx="5535">
                  <c:v>173.89359300260199</c:v>
                </c:pt>
                <c:pt idx="5536">
                  <c:v>173.55057520182672</c:v>
                </c:pt>
                <c:pt idx="5537">
                  <c:v>173.33285132828073</c:v>
                </c:pt>
                <c:pt idx="5538">
                  <c:v>175.02329234647257</c:v>
                </c:pt>
                <c:pt idx="5539">
                  <c:v>176.57611544459292</c:v>
                </c:pt>
                <c:pt idx="5540">
                  <c:v>176.57611544459292</c:v>
                </c:pt>
                <c:pt idx="5541">
                  <c:v>176.57611544459292</c:v>
                </c:pt>
                <c:pt idx="5542">
                  <c:v>176.6069254266985</c:v>
                </c:pt>
                <c:pt idx="5543">
                  <c:v>177.99953661786992</c:v>
                </c:pt>
                <c:pt idx="5544">
                  <c:v>178.64243824447266</c:v>
                </c:pt>
                <c:pt idx="5545">
                  <c:v>177.44701093877683</c:v>
                </c:pt>
                <c:pt idx="5546">
                  <c:v>177.12042512845787</c:v>
                </c:pt>
                <c:pt idx="5547">
                  <c:v>177.12042512845787</c:v>
                </c:pt>
                <c:pt idx="5548">
                  <c:v>177.12042512845787</c:v>
                </c:pt>
                <c:pt idx="5549">
                  <c:v>177.65241081948054</c:v>
                </c:pt>
                <c:pt idx="5550">
                  <c:v>177.43879494354863</c:v>
                </c:pt>
                <c:pt idx="5551">
                  <c:v>177.28474503302084</c:v>
                </c:pt>
                <c:pt idx="5552">
                  <c:v>176.22898964620356</c:v>
                </c:pt>
                <c:pt idx="5553">
                  <c:v>176.73221935392772</c:v>
                </c:pt>
                <c:pt idx="5554">
                  <c:v>176.73221935392772</c:v>
                </c:pt>
                <c:pt idx="5555">
                  <c:v>176.73221935392772</c:v>
                </c:pt>
                <c:pt idx="5556">
                  <c:v>177.07934515231707</c:v>
                </c:pt>
                <c:pt idx="5557">
                  <c:v>176.38714755434543</c:v>
                </c:pt>
                <c:pt idx="5558">
                  <c:v>177.27242104017859</c:v>
                </c:pt>
                <c:pt idx="5559">
                  <c:v>177.55587287554977</c:v>
                </c:pt>
                <c:pt idx="5560">
                  <c:v>177.68322080158609</c:v>
                </c:pt>
                <c:pt idx="5561">
                  <c:v>177.68322080158609</c:v>
                </c:pt>
                <c:pt idx="5562">
                  <c:v>177.68322080158609</c:v>
                </c:pt>
                <c:pt idx="5563">
                  <c:v>176.9068092525259</c:v>
                </c:pt>
                <c:pt idx="5564">
                  <c:v>177.20463907954635</c:v>
                </c:pt>
                <c:pt idx="5565">
                  <c:v>178.18028851288918</c:v>
                </c:pt>
                <c:pt idx="5566">
                  <c:v>177.97078063457135</c:v>
                </c:pt>
                <c:pt idx="5567">
                  <c:v>177.97078063457135</c:v>
                </c:pt>
                <c:pt idx="5568">
                  <c:v>177.97078063457135</c:v>
                </c:pt>
                <c:pt idx="5569">
                  <c:v>177.97078063457135</c:v>
                </c:pt>
                <c:pt idx="5570">
                  <c:v>177.73046277414795</c:v>
                </c:pt>
                <c:pt idx="5571">
                  <c:v>177.94818664769394</c:v>
                </c:pt>
                <c:pt idx="5572">
                  <c:v>177.7818127443239</c:v>
                </c:pt>
                <c:pt idx="5573">
                  <c:v>178.34255441864514</c:v>
                </c:pt>
                <c:pt idx="5574">
                  <c:v>179.12101996651236</c:v>
                </c:pt>
                <c:pt idx="5575">
                  <c:v>179.12101996651239</c:v>
                </c:pt>
                <c:pt idx="5576">
                  <c:v>179.12101996651239</c:v>
                </c:pt>
                <c:pt idx="5577">
                  <c:v>178.30352844131147</c:v>
                </c:pt>
                <c:pt idx="5578">
                  <c:v>178.10223655822179</c:v>
                </c:pt>
                <c:pt idx="5579">
                  <c:v>178.99572603928308</c:v>
                </c:pt>
                <c:pt idx="5580">
                  <c:v>178.12688454390624</c:v>
                </c:pt>
                <c:pt idx="5581">
                  <c:v>177.9338086560447</c:v>
                </c:pt>
                <c:pt idx="5582">
                  <c:v>177.9338086560447</c:v>
                </c:pt>
                <c:pt idx="5583">
                  <c:v>177.9338086560447</c:v>
                </c:pt>
                <c:pt idx="5584">
                  <c:v>178.06731857850215</c:v>
                </c:pt>
                <c:pt idx="5585">
                  <c:v>177.69143679681429</c:v>
                </c:pt>
                <c:pt idx="5586">
                  <c:v>177.78592074193799</c:v>
                </c:pt>
                <c:pt idx="5587">
                  <c:v>177.50657690418092</c:v>
                </c:pt>
                <c:pt idx="5588">
                  <c:v>177.07729115351009</c:v>
                </c:pt>
                <c:pt idx="5589">
                  <c:v>177.07729115351009</c:v>
                </c:pt>
                <c:pt idx="5590">
                  <c:v>177.07729115351009</c:v>
                </c:pt>
                <c:pt idx="5591">
                  <c:v>177.26831304256456</c:v>
                </c:pt>
                <c:pt idx="5592">
                  <c:v>178.83756813114121</c:v>
                </c:pt>
                <c:pt idx="5593">
                  <c:v>178.91972808342274</c:v>
                </c:pt>
                <c:pt idx="5594">
                  <c:v>178.19261250573146</c:v>
                </c:pt>
                <c:pt idx="5595">
                  <c:v>178.07964257134441</c:v>
                </c:pt>
                <c:pt idx="5596">
                  <c:v>178.07964257134441</c:v>
                </c:pt>
                <c:pt idx="5597">
                  <c:v>178.07964257134441</c:v>
                </c:pt>
                <c:pt idx="5598">
                  <c:v>177.72019278011285</c:v>
                </c:pt>
                <c:pt idx="5599">
                  <c:v>178.21315249380186</c:v>
                </c:pt>
                <c:pt idx="5600">
                  <c:v>179.98780746308228</c:v>
                </c:pt>
                <c:pt idx="5601">
                  <c:v>179.78856957879961</c:v>
                </c:pt>
                <c:pt idx="5602">
                  <c:v>180.1213173855397</c:v>
                </c:pt>
                <c:pt idx="5603">
                  <c:v>180.1213173855397</c:v>
                </c:pt>
                <c:pt idx="5604">
                  <c:v>180.1213173855397</c:v>
                </c:pt>
                <c:pt idx="5605">
                  <c:v>180.99426687853062</c:v>
                </c:pt>
                <c:pt idx="5606">
                  <c:v>181.65770849320376</c:v>
                </c:pt>
                <c:pt idx="5607">
                  <c:v>180.96961889284617</c:v>
                </c:pt>
                <c:pt idx="5608">
                  <c:v>180.38217523403347</c:v>
                </c:pt>
                <c:pt idx="5609">
                  <c:v>179.94672748694151</c:v>
                </c:pt>
                <c:pt idx="5610">
                  <c:v>179.94672748694151</c:v>
                </c:pt>
                <c:pt idx="5611">
                  <c:v>179.94672748694151</c:v>
                </c:pt>
                <c:pt idx="5612">
                  <c:v>179.48868575297215</c:v>
                </c:pt>
                <c:pt idx="5613">
                  <c:v>180.12953338076787</c:v>
                </c:pt>
                <c:pt idx="5614">
                  <c:v>180.77448900617765</c:v>
                </c:pt>
                <c:pt idx="5615">
                  <c:v>181.1668027783218</c:v>
                </c:pt>
                <c:pt idx="5616">
                  <c:v>181.09285882126844</c:v>
                </c:pt>
                <c:pt idx="5617">
                  <c:v>181.09285882126844</c:v>
                </c:pt>
                <c:pt idx="5618">
                  <c:v>181.09285882126844</c:v>
                </c:pt>
                <c:pt idx="5619">
                  <c:v>181.65360049558967</c:v>
                </c:pt>
                <c:pt idx="5620">
                  <c:v>180.90183693221394</c:v>
                </c:pt>
                <c:pt idx="5621">
                  <c:v>180.56908912547388</c:v>
                </c:pt>
                <c:pt idx="5622">
                  <c:v>180.3883372304546</c:v>
                </c:pt>
                <c:pt idx="5623">
                  <c:v>180.69849105031727</c:v>
                </c:pt>
                <c:pt idx="5624">
                  <c:v>180.69849105031727</c:v>
                </c:pt>
                <c:pt idx="5625">
                  <c:v>180.69849105031727</c:v>
                </c:pt>
                <c:pt idx="5626">
                  <c:v>180.69849105031727</c:v>
                </c:pt>
                <c:pt idx="5627">
                  <c:v>182.45055203272025</c:v>
                </c:pt>
                <c:pt idx="5628">
                  <c:v>182.43001204464986</c:v>
                </c:pt>
                <c:pt idx="5629">
                  <c:v>181.82613639538084</c:v>
                </c:pt>
                <c:pt idx="5630">
                  <c:v>180.88951293937171</c:v>
                </c:pt>
                <c:pt idx="5631">
                  <c:v>180.88951293937171</c:v>
                </c:pt>
                <c:pt idx="5632">
                  <c:v>180.88951293937171</c:v>
                </c:pt>
                <c:pt idx="5633">
                  <c:v>180.89567493579284</c:v>
                </c:pt>
                <c:pt idx="5634">
                  <c:v>181.78300242043304</c:v>
                </c:pt>
                <c:pt idx="5635">
                  <c:v>181.25923272463848</c:v>
                </c:pt>
                <c:pt idx="5636">
                  <c:v>181.62895250990522</c:v>
                </c:pt>
                <c:pt idx="5637">
                  <c:v>181.63100650871226</c:v>
                </c:pt>
                <c:pt idx="5638">
                  <c:v>181.63100650871226</c:v>
                </c:pt>
                <c:pt idx="5639">
                  <c:v>181.63100650871226</c:v>
                </c:pt>
                <c:pt idx="5640">
                  <c:v>181.73165245025712</c:v>
                </c:pt>
                <c:pt idx="5641">
                  <c:v>182.19380218184054</c:v>
                </c:pt>
                <c:pt idx="5642">
                  <c:v>181.60225052541375</c:v>
                </c:pt>
                <c:pt idx="5643">
                  <c:v>182.14450621047166</c:v>
                </c:pt>
                <c:pt idx="5644">
                  <c:v>181.94321432738198</c:v>
                </c:pt>
                <c:pt idx="5645">
                  <c:v>181.94321432738198</c:v>
                </c:pt>
                <c:pt idx="5646">
                  <c:v>181.94321432738198</c:v>
                </c:pt>
                <c:pt idx="5647">
                  <c:v>183.15918162114818</c:v>
                </c:pt>
                <c:pt idx="5648">
                  <c:v>184.14510104852616</c:v>
                </c:pt>
                <c:pt idx="5649">
                  <c:v>185.38160833036275</c:v>
                </c:pt>
                <c:pt idx="5650">
                  <c:v>185.21728842579978</c:v>
                </c:pt>
                <c:pt idx="5651">
                  <c:v>185.18853244250127</c:v>
                </c:pt>
                <c:pt idx="5652">
                  <c:v>185.18853244250127</c:v>
                </c:pt>
                <c:pt idx="5653">
                  <c:v>185.18853244250127</c:v>
                </c:pt>
                <c:pt idx="5654">
                  <c:v>184.82086665604155</c:v>
                </c:pt>
                <c:pt idx="5655">
                  <c:v>184.95026858088494</c:v>
                </c:pt>
                <c:pt idx="5656">
                  <c:v>184.32996094115958</c:v>
                </c:pt>
                <c:pt idx="5657">
                  <c:v>184.17180303301771</c:v>
                </c:pt>
                <c:pt idx="5658">
                  <c:v>183.8144072405932</c:v>
                </c:pt>
                <c:pt idx="5659">
                  <c:v>183.8144072405932</c:v>
                </c:pt>
                <c:pt idx="5660">
                  <c:v>183.8144072405932</c:v>
                </c:pt>
                <c:pt idx="5661">
                  <c:v>183.59052137062613</c:v>
                </c:pt>
                <c:pt idx="5662">
                  <c:v>185.11048048783388</c:v>
                </c:pt>
                <c:pt idx="5663">
                  <c:v>185.11048048783388</c:v>
                </c:pt>
                <c:pt idx="5664">
                  <c:v>185.66711416454103</c:v>
                </c:pt>
                <c:pt idx="5665">
                  <c:v>185.96494399156148</c:v>
                </c:pt>
                <c:pt idx="5666">
                  <c:v>185.96494399156148</c:v>
                </c:pt>
                <c:pt idx="5667">
                  <c:v>185.96494399156148</c:v>
                </c:pt>
                <c:pt idx="5668">
                  <c:v>185.68560015380439</c:v>
                </c:pt>
                <c:pt idx="5669">
                  <c:v>184.55795480874079</c:v>
                </c:pt>
                <c:pt idx="5670">
                  <c:v>184.65860075028561</c:v>
                </c:pt>
                <c:pt idx="5671">
                  <c:v>183.89862119168174</c:v>
                </c:pt>
                <c:pt idx="5672">
                  <c:v>183.75073327757502</c:v>
                </c:pt>
                <c:pt idx="5673">
                  <c:v>183.75073327757502</c:v>
                </c:pt>
                <c:pt idx="5674">
                  <c:v>183.75073327757502</c:v>
                </c:pt>
                <c:pt idx="5675">
                  <c:v>182.89626977384742</c:v>
                </c:pt>
                <c:pt idx="5676">
                  <c:v>183.00307771181335</c:v>
                </c:pt>
                <c:pt idx="5677">
                  <c:v>182.37455407685985</c:v>
                </c:pt>
                <c:pt idx="5678">
                  <c:v>184.5024968409507</c:v>
                </c:pt>
                <c:pt idx="5679">
                  <c:v>183.60900735988938</c:v>
                </c:pt>
                <c:pt idx="5680">
                  <c:v>183.60900735988938</c:v>
                </c:pt>
                <c:pt idx="5681">
                  <c:v>183.60900735988938</c:v>
                </c:pt>
                <c:pt idx="5682">
                  <c:v>183.29269154360563</c:v>
                </c:pt>
                <c:pt idx="5683">
                  <c:v>181.4687406029563</c:v>
                </c:pt>
                <c:pt idx="5684">
                  <c:v>180.06996741536375</c:v>
                </c:pt>
                <c:pt idx="5685">
                  <c:v>180.58757511473723</c:v>
                </c:pt>
                <c:pt idx="5686">
                  <c:v>179.41063379830476</c:v>
                </c:pt>
                <c:pt idx="5687">
                  <c:v>179.41063379830476</c:v>
                </c:pt>
                <c:pt idx="5688">
                  <c:v>179.41063379830476</c:v>
                </c:pt>
                <c:pt idx="5689">
                  <c:v>179.66738364918444</c:v>
                </c:pt>
                <c:pt idx="5690">
                  <c:v>180.29179928652385</c:v>
                </c:pt>
                <c:pt idx="5691">
                  <c:v>180.67178906582581</c:v>
                </c:pt>
                <c:pt idx="5692">
                  <c:v>181.39068864828894</c:v>
                </c:pt>
                <c:pt idx="5693">
                  <c:v>181.23869273656817</c:v>
                </c:pt>
                <c:pt idx="5694">
                  <c:v>181.23869273656817</c:v>
                </c:pt>
                <c:pt idx="5695">
                  <c:v>181.23869273656817</c:v>
                </c:pt>
                <c:pt idx="5696">
                  <c:v>182.0109962880143</c:v>
                </c:pt>
                <c:pt idx="5697">
                  <c:v>181.83229839180203</c:v>
                </c:pt>
                <c:pt idx="5698">
                  <c:v>181.58581853495753</c:v>
                </c:pt>
                <c:pt idx="5699">
                  <c:v>182.16915419615617</c:v>
                </c:pt>
                <c:pt idx="5700">
                  <c:v>182.24926014963063</c:v>
                </c:pt>
                <c:pt idx="5701">
                  <c:v>182.2492601496306</c:v>
                </c:pt>
                <c:pt idx="5702">
                  <c:v>182.2492601496306</c:v>
                </c:pt>
                <c:pt idx="5703">
                  <c:v>181.87132436913572</c:v>
                </c:pt>
                <c:pt idx="5704">
                  <c:v>182.6805998991085</c:v>
                </c:pt>
                <c:pt idx="5705">
                  <c:v>182.29855612099954</c:v>
                </c:pt>
                <c:pt idx="5706">
                  <c:v>182.23488215798139</c:v>
                </c:pt>
                <c:pt idx="5707">
                  <c:v>182.79973182991671</c:v>
                </c:pt>
                <c:pt idx="5708">
                  <c:v>182.79973182991671</c:v>
                </c:pt>
                <c:pt idx="5709">
                  <c:v>182.79973182991671</c:v>
                </c:pt>
                <c:pt idx="5710">
                  <c:v>182.79151583468857</c:v>
                </c:pt>
                <c:pt idx="5711">
                  <c:v>183.84110922508475</c:v>
                </c:pt>
                <c:pt idx="5712">
                  <c:v>184.00953712726184</c:v>
                </c:pt>
                <c:pt idx="5713">
                  <c:v>183.84110922508475</c:v>
                </c:pt>
                <c:pt idx="5714">
                  <c:v>183.27625955314946</c:v>
                </c:pt>
                <c:pt idx="5715">
                  <c:v>183.27625955314946</c:v>
                </c:pt>
                <c:pt idx="5716">
                  <c:v>183.27625955314946</c:v>
                </c:pt>
                <c:pt idx="5717">
                  <c:v>182.68676189552968</c:v>
                </c:pt>
                <c:pt idx="5718">
                  <c:v>182.93940374879529</c:v>
                </c:pt>
                <c:pt idx="5719">
                  <c:v>182.81000182395192</c:v>
                </c:pt>
                <c:pt idx="5720">
                  <c:v>183.09756165693716</c:v>
                </c:pt>
                <c:pt idx="5721">
                  <c:v>183.24134157342979</c:v>
                </c:pt>
                <c:pt idx="5722">
                  <c:v>183.24134157342979</c:v>
                </c:pt>
                <c:pt idx="5723">
                  <c:v>183.24134157342979</c:v>
                </c:pt>
                <c:pt idx="5724">
                  <c:v>183.24134157342979</c:v>
                </c:pt>
                <c:pt idx="5725">
                  <c:v>182.4361740410711</c:v>
                </c:pt>
                <c:pt idx="5726">
                  <c:v>182.62719593012559</c:v>
                </c:pt>
                <c:pt idx="5727">
                  <c:v>181.95143032261026</c:v>
                </c:pt>
                <c:pt idx="5728">
                  <c:v>181.8220283977669</c:v>
                </c:pt>
                <c:pt idx="5729">
                  <c:v>181.82202839776693</c:v>
                </c:pt>
                <c:pt idx="5730">
                  <c:v>181.82202839776693</c:v>
                </c:pt>
                <c:pt idx="5731">
                  <c:v>181.52625256955352</c:v>
                </c:pt>
                <c:pt idx="5732">
                  <c:v>181.54268456000983</c:v>
                </c:pt>
                <c:pt idx="5733">
                  <c:v>181.67414048366021</c:v>
                </c:pt>
                <c:pt idx="5734">
                  <c:v>180.90799892863524</c:v>
                </c:pt>
                <c:pt idx="5735">
                  <c:v>181.20377475684867</c:v>
                </c:pt>
                <c:pt idx="5736">
                  <c:v>181.20377475684867</c:v>
                </c:pt>
                <c:pt idx="5737">
                  <c:v>181.20377475684867</c:v>
                </c:pt>
                <c:pt idx="5738">
                  <c:v>180.6081151028078</c:v>
                </c:pt>
                <c:pt idx="5739">
                  <c:v>180.50952316007002</c:v>
                </c:pt>
                <c:pt idx="5740">
                  <c:v>179.76392159311541</c:v>
                </c:pt>
                <c:pt idx="5741">
                  <c:v>180.31644727220848</c:v>
                </c:pt>
                <c:pt idx="5742">
                  <c:v>179.54414372076238</c:v>
                </c:pt>
                <c:pt idx="5743">
                  <c:v>179.54414372076235</c:v>
                </c:pt>
                <c:pt idx="5744">
                  <c:v>179.54414372076235</c:v>
                </c:pt>
                <c:pt idx="5745">
                  <c:v>179.77419158715057</c:v>
                </c:pt>
                <c:pt idx="5746">
                  <c:v>179.97753746904729</c:v>
                </c:pt>
                <c:pt idx="5747">
                  <c:v>178.98956404286224</c:v>
                </c:pt>
                <c:pt idx="5748">
                  <c:v>178.73897618840368</c:v>
                </c:pt>
                <c:pt idx="5749">
                  <c:v>179.65300565753537</c:v>
                </c:pt>
                <c:pt idx="5750">
                  <c:v>179.6530056575354</c:v>
                </c:pt>
                <c:pt idx="5751">
                  <c:v>179.6530056575354</c:v>
                </c:pt>
                <c:pt idx="5752">
                  <c:v>177.4449569399701</c:v>
                </c:pt>
                <c:pt idx="5753">
                  <c:v>176.44055152332876</c:v>
                </c:pt>
                <c:pt idx="5754">
                  <c:v>177.38744497337305</c:v>
                </c:pt>
                <c:pt idx="5755">
                  <c:v>176.18790967006314</c:v>
                </c:pt>
                <c:pt idx="5756">
                  <c:v>175.8859718454286</c:v>
                </c:pt>
                <c:pt idx="5757">
                  <c:v>175.8859718454286</c:v>
                </c:pt>
                <c:pt idx="5758">
                  <c:v>175.8859718454286</c:v>
                </c:pt>
                <c:pt idx="5759">
                  <c:v>176.43233552810059</c:v>
                </c:pt>
                <c:pt idx="5760">
                  <c:v>175.98045579055233</c:v>
                </c:pt>
                <c:pt idx="5761">
                  <c:v>176.62130341834802</c:v>
                </c:pt>
                <c:pt idx="5762">
                  <c:v>176.88010726803472</c:v>
                </c:pt>
                <c:pt idx="5763">
                  <c:v>175.13831627966692</c:v>
                </c:pt>
                <c:pt idx="5764">
                  <c:v>175.13831627966692</c:v>
                </c:pt>
                <c:pt idx="5765">
                  <c:v>175.13831627966692</c:v>
                </c:pt>
                <c:pt idx="5766">
                  <c:v>177.00129319764997</c:v>
                </c:pt>
                <c:pt idx="5767">
                  <c:v>177.72840877534122</c:v>
                </c:pt>
                <c:pt idx="5768">
                  <c:v>177.23544906165225</c:v>
                </c:pt>
                <c:pt idx="5769">
                  <c:v>176.88626926445585</c:v>
                </c:pt>
                <c:pt idx="5770">
                  <c:v>176.20228766171238</c:v>
                </c:pt>
                <c:pt idx="5771">
                  <c:v>176.20228766171238</c:v>
                </c:pt>
                <c:pt idx="5772">
                  <c:v>176.20228766171238</c:v>
                </c:pt>
                <c:pt idx="5773">
                  <c:v>176.62951941357616</c:v>
                </c:pt>
                <c:pt idx="5774">
                  <c:v>176.23720564143198</c:v>
                </c:pt>
                <c:pt idx="5775">
                  <c:v>175.57581802556592</c:v>
                </c:pt>
                <c:pt idx="5776">
                  <c:v>175.75451592177819</c:v>
                </c:pt>
                <c:pt idx="5777">
                  <c:v>176.30087960445019</c:v>
                </c:pt>
                <c:pt idx="5778">
                  <c:v>176.30087960445019</c:v>
                </c:pt>
                <c:pt idx="5779">
                  <c:v>176.30087960445019</c:v>
                </c:pt>
                <c:pt idx="5780">
                  <c:v>176.18996366887015</c:v>
                </c:pt>
                <c:pt idx="5781">
                  <c:v>176.66443739329583</c:v>
                </c:pt>
                <c:pt idx="5782">
                  <c:v>175.38274213770441</c:v>
                </c:pt>
                <c:pt idx="5783">
                  <c:v>177.15328910937075</c:v>
                </c:pt>
                <c:pt idx="5784">
                  <c:v>177.81262272642979</c:v>
                </c:pt>
                <c:pt idx="5785">
                  <c:v>177.81262272642979</c:v>
                </c:pt>
                <c:pt idx="5786">
                  <c:v>177.81262272642979</c:v>
                </c:pt>
                <c:pt idx="5787">
                  <c:v>177.4572809328123</c:v>
                </c:pt>
                <c:pt idx="5788">
                  <c:v>177.43879494354894</c:v>
                </c:pt>
                <c:pt idx="5789">
                  <c:v>176.83697329308694</c:v>
                </c:pt>
                <c:pt idx="5790">
                  <c:v>176.80616331098136</c:v>
                </c:pt>
                <c:pt idx="5791">
                  <c:v>176.00510377623675</c:v>
                </c:pt>
                <c:pt idx="5792">
                  <c:v>176.00510377623675</c:v>
                </c:pt>
                <c:pt idx="5793">
                  <c:v>176.00510377623675</c:v>
                </c:pt>
                <c:pt idx="5794">
                  <c:v>175.83667587405967</c:v>
                </c:pt>
                <c:pt idx="5795">
                  <c:v>175.66208597546145</c:v>
                </c:pt>
                <c:pt idx="5796">
                  <c:v>175.50598206612659</c:v>
                </c:pt>
                <c:pt idx="5797">
                  <c:v>175.56760203033772</c:v>
                </c:pt>
                <c:pt idx="5798">
                  <c:v>175.41560611861695</c:v>
                </c:pt>
                <c:pt idx="5799">
                  <c:v>175.41560611861695</c:v>
                </c:pt>
                <c:pt idx="5800">
                  <c:v>175.41560611861695</c:v>
                </c:pt>
                <c:pt idx="5801">
                  <c:v>175.01096835363055</c:v>
                </c:pt>
                <c:pt idx="5802">
                  <c:v>175.30263618422987</c:v>
                </c:pt>
                <c:pt idx="5803">
                  <c:v>176.54941346010162</c:v>
                </c:pt>
                <c:pt idx="5804">
                  <c:v>176.54941346010162</c:v>
                </c:pt>
                <c:pt idx="5805">
                  <c:v>177.37717497933775</c:v>
                </c:pt>
                <c:pt idx="5806">
                  <c:v>177.37717497933775</c:v>
                </c:pt>
                <c:pt idx="5807">
                  <c:v>177.37717497933775</c:v>
                </c:pt>
                <c:pt idx="5808">
                  <c:v>177.1943690855114</c:v>
                </c:pt>
                <c:pt idx="5809">
                  <c:v>175.55938603510955</c:v>
                </c:pt>
                <c:pt idx="5810">
                  <c:v>175.24717821643986</c:v>
                </c:pt>
                <c:pt idx="5811">
                  <c:v>175.33755416394951</c:v>
                </c:pt>
                <c:pt idx="5812">
                  <c:v>174.51390064232746</c:v>
                </c:pt>
                <c:pt idx="5813">
                  <c:v>174.51390064232743</c:v>
                </c:pt>
                <c:pt idx="5814">
                  <c:v>174.51390064232743</c:v>
                </c:pt>
                <c:pt idx="5815">
                  <c:v>174.77065049320709</c:v>
                </c:pt>
                <c:pt idx="5816">
                  <c:v>173.18701741298116</c:v>
                </c:pt>
                <c:pt idx="5817">
                  <c:v>173.18701741298116</c:v>
                </c:pt>
                <c:pt idx="5818">
                  <c:v>172.85221560743406</c:v>
                </c:pt>
                <c:pt idx="5819">
                  <c:v>173.28150135810492</c:v>
                </c:pt>
                <c:pt idx="5820">
                  <c:v>173.28150135810492</c:v>
                </c:pt>
                <c:pt idx="5821">
                  <c:v>173.28150135810492</c:v>
                </c:pt>
                <c:pt idx="5822">
                  <c:v>171.9381861383024</c:v>
                </c:pt>
                <c:pt idx="5823">
                  <c:v>171.94024013710941</c:v>
                </c:pt>
                <c:pt idx="5824">
                  <c:v>172.5646557744488</c:v>
                </c:pt>
                <c:pt idx="5825">
                  <c:v>170.57227693162244</c:v>
                </c:pt>
                <c:pt idx="5826">
                  <c:v>170.494224976955</c:v>
                </c:pt>
                <c:pt idx="5827">
                  <c:v>170.494224976955</c:v>
                </c:pt>
                <c:pt idx="5828">
                  <c:v>170.494224976955</c:v>
                </c:pt>
                <c:pt idx="5829">
                  <c:v>169.90267332052818</c:v>
                </c:pt>
                <c:pt idx="5830">
                  <c:v>170.02796724775746</c:v>
                </c:pt>
                <c:pt idx="5831">
                  <c:v>169.32549965575063</c:v>
                </c:pt>
                <c:pt idx="5832">
                  <c:v>169.27004168796063</c:v>
                </c:pt>
                <c:pt idx="5833">
                  <c:v>168.34368822598671</c:v>
                </c:pt>
                <c:pt idx="5834">
                  <c:v>168.34368822598671</c:v>
                </c:pt>
                <c:pt idx="5835">
                  <c:v>168.34368822598671</c:v>
                </c:pt>
                <c:pt idx="5836">
                  <c:v>169.02356183111613</c:v>
                </c:pt>
                <c:pt idx="5837">
                  <c:v>169.02356183111615</c:v>
                </c:pt>
                <c:pt idx="5838">
                  <c:v>169.55965551975294</c:v>
                </c:pt>
                <c:pt idx="5839">
                  <c:v>168.33341823195153</c:v>
                </c:pt>
                <c:pt idx="5840">
                  <c:v>168.31904024030226</c:v>
                </c:pt>
                <c:pt idx="5841">
                  <c:v>168.31904024030229</c:v>
                </c:pt>
                <c:pt idx="5842">
                  <c:v>168.31904024030229</c:v>
                </c:pt>
                <c:pt idx="5843">
                  <c:v>168.4730901508301</c:v>
                </c:pt>
                <c:pt idx="5844">
                  <c:v>168.4730901508301</c:v>
                </c:pt>
                <c:pt idx="5845">
                  <c:v>168.58606008521716</c:v>
                </c:pt>
                <c:pt idx="5846">
                  <c:v>169.39328161638289</c:v>
                </c:pt>
                <c:pt idx="5847">
                  <c:v>169.70548943505261</c:v>
                </c:pt>
                <c:pt idx="5848">
                  <c:v>169.70548943505261</c:v>
                </c:pt>
                <c:pt idx="5849">
                  <c:v>169.70548943505261</c:v>
                </c:pt>
                <c:pt idx="5850">
                  <c:v>171.11247861787328</c:v>
                </c:pt>
                <c:pt idx="5851">
                  <c:v>172.26271794981426</c:v>
                </c:pt>
                <c:pt idx="5852">
                  <c:v>173.11718145354186</c:v>
                </c:pt>
                <c:pt idx="5853">
                  <c:v>173.05350749052371</c:v>
                </c:pt>
                <c:pt idx="5854">
                  <c:v>173.38420129845676</c:v>
                </c:pt>
                <c:pt idx="5855">
                  <c:v>173.38420129845676</c:v>
                </c:pt>
                <c:pt idx="5856">
                  <c:v>173.38420129845676</c:v>
                </c:pt>
                <c:pt idx="5857">
                  <c:v>173.31847333663157</c:v>
                </c:pt>
                <c:pt idx="5858">
                  <c:v>173.4067952853342</c:v>
                </c:pt>
                <c:pt idx="5859">
                  <c:v>173.97369895607656</c:v>
                </c:pt>
                <c:pt idx="5860">
                  <c:v>173.81554104793469</c:v>
                </c:pt>
                <c:pt idx="5861">
                  <c:v>173.79500105986432</c:v>
                </c:pt>
                <c:pt idx="5862">
                  <c:v>173.79500105986435</c:v>
                </c:pt>
                <c:pt idx="5863">
                  <c:v>173.79500105986435</c:v>
                </c:pt>
                <c:pt idx="5864">
                  <c:v>173.79500105986435</c:v>
                </c:pt>
                <c:pt idx="5865">
                  <c:v>173.11718145354197</c:v>
                </c:pt>
                <c:pt idx="5866">
                  <c:v>172.51535980307997</c:v>
                </c:pt>
                <c:pt idx="5867">
                  <c:v>173.31436533901757</c:v>
                </c:pt>
                <c:pt idx="5868">
                  <c:v>173.69640911712654</c:v>
                </c:pt>
                <c:pt idx="5869">
                  <c:v>173.69640911712654</c:v>
                </c:pt>
                <c:pt idx="5870">
                  <c:v>173.69640911712654</c:v>
                </c:pt>
                <c:pt idx="5871">
                  <c:v>174.60427658983713</c:v>
                </c:pt>
                <c:pt idx="5872">
                  <c:v>174.0661289023933</c:v>
                </c:pt>
                <c:pt idx="5873">
                  <c:v>173.05556148933084</c:v>
                </c:pt>
                <c:pt idx="5874">
                  <c:v>172.50508980904479</c:v>
                </c:pt>
                <c:pt idx="5875">
                  <c:v>172.7618396599245</c:v>
                </c:pt>
                <c:pt idx="5876">
                  <c:v>172.7618396599245</c:v>
                </c:pt>
                <c:pt idx="5877">
                  <c:v>172.7618396599245</c:v>
                </c:pt>
                <c:pt idx="5878">
                  <c:v>173.10485746069975</c:v>
                </c:pt>
                <c:pt idx="5879">
                  <c:v>172.91178157283824</c:v>
                </c:pt>
                <c:pt idx="5880">
                  <c:v>173.06172348575194</c:v>
                </c:pt>
                <c:pt idx="5881">
                  <c:v>173.12745144757716</c:v>
                </c:pt>
                <c:pt idx="5882">
                  <c:v>172.91588957045229</c:v>
                </c:pt>
                <c:pt idx="5883">
                  <c:v>172.91588957045229</c:v>
                </c:pt>
                <c:pt idx="5884">
                  <c:v>172.91588957045229</c:v>
                </c:pt>
                <c:pt idx="5885">
                  <c:v>174.16677484393816</c:v>
                </c:pt>
                <c:pt idx="5886">
                  <c:v>174.45433467692342</c:v>
                </c:pt>
                <c:pt idx="5887">
                  <c:v>174.44406468288821</c:v>
                </c:pt>
                <c:pt idx="5888">
                  <c:v>175.11366829398241</c:v>
                </c:pt>
                <c:pt idx="5889">
                  <c:v>175.51009006374068</c:v>
                </c:pt>
                <c:pt idx="5890">
                  <c:v>175.51009006374068</c:v>
                </c:pt>
                <c:pt idx="5891">
                  <c:v>175.51009006374068</c:v>
                </c:pt>
                <c:pt idx="5892">
                  <c:v>175.51009006374068</c:v>
                </c:pt>
                <c:pt idx="5893">
                  <c:v>175.32933816872139</c:v>
                </c:pt>
                <c:pt idx="5894">
                  <c:v>175.57992602317995</c:v>
                </c:pt>
                <c:pt idx="5895">
                  <c:v>175.51419806135473</c:v>
                </c:pt>
                <c:pt idx="5896">
                  <c:v>175.88391784662147</c:v>
                </c:pt>
                <c:pt idx="5897">
                  <c:v>175.88391784662144</c:v>
                </c:pt>
                <c:pt idx="5898">
                  <c:v>175.88391784662144</c:v>
                </c:pt>
                <c:pt idx="5899">
                  <c:v>175.66824797188252</c:v>
                </c:pt>
                <c:pt idx="5900">
                  <c:v>173.97575295488363</c:v>
                </c:pt>
                <c:pt idx="5901">
                  <c:v>174.31671675685186</c:v>
                </c:pt>
                <c:pt idx="5902">
                  <c:v>174.74394850871565</c:v>
                </c:pt>
                <c:pt idx="5903">
                  <c:v>175.54500804346026</c:v>
                </c:pt>
                <c:pt idx="5904">
                  <c:v>175.54500804346029</c:v>
                </c:pt>
                <c:pt idx="5905">
                  <c:v>175.54500804346029</c:v>
                </c:pt>
                <c:pt idx="5906">
                  <c:v>175.15269427131611</c:v>
                </c:pt>
                <c:pt idx="5907">
                  <c:v>174.56935861011743</c:v>
                </c:pt>
                <c:pt idx="5908">
                  <c:v>172.65913971957258</c:v>
                </c:pt>
                <c:pt idx="5909">
                  <c:v>172.2113679796384</c:v>
                </c:pt>
                <c:pt idx="5910">
                  <c:v>172.11277603690064</c:v>
                </c:pt>
                <c:pt idx="5911">
                  <c:v>172.11277603690064</c:v>
                </c:pt>
                <c:pt idx="5912">
                  <c:v>172.11277603690064</c:v>
                </c:pt>
                <c:pt idx="5913">
                  <c:v>172.20725998202434</c:v>
                </c:pt>
                <c:pt idx="5914">
                  <c:v>172.13126202616394</c:v>
                </c:pt>
                <c:pt idx="5915">
                  <c:v>171.57873634707087</c:v>
                </c:pt>
                <c:pt idx="5916">
                  <c:v>171.46165841506973</c:v>
                </c:pt>
                <c:pt idx="5917">
                  <c:v>171.10631662145224</c:v>
                </c:pt>
                <c:pt idx="5918">
                  <c:v>171.10631662145227</c:v>
                </c:pt>
                <c:pt idx="5919">
                  <c:v>171.10631662145227</c:v>
                </c:pt>
                <c:pt idx="5920">
                  <c:v>171.51711638285977</c:v>
                </c:pt>
                <c:pt idx="5921">
                  <c:v>170.68730086481662</c:v>
                </c:pt>
                <c:pt idx="5922">
                  <c:v>170.25801511414576</c:v>
                </c:pt>
                <c:pt idx="5923">
                  <c:v>170.6421128910618</c:v>
                </c:pt>
                <c:pt idx="5924">
                  <c:v>168.59222208163837</c:v>
                </c:pt>
                <c:pt idx="5925">
                  <c:v>168.59222208163837</c:v>
                </c:pt>
                <c:pt idx="5926">
                  <c:v>168.59222208163837</c:v>
                </c:pt>
                <c:pt idx="5927">
                  <c:v>169.01739983469514</c:v>
                </c:pt>
                <c:pt idx="5928">
                  <c:v>169.43641559133079</c:v>
                </c:pt>
                <c:pt idx="5929">
                  <c:v>169.74246141357938</c:v>
                </c:pt>
                <c:pt idx="5930">
                  <c:v>170.30525708670763</c:v>
                </c:pt>
                <c:pt idx="5931">
                  <c:v>169.89651132410714</c:v>
                </c:pt>
                <c:pt idx="5932">
                  <c:v>169.89651132410711</c:v>
                </c:pt>
                <c:pt idx="5933">
                  <c:v>169.89651132410711</c:v>
                </c:pt>
                <c:pt idx="5934">
                  <c:v>170.0320752453716</c:v>
                </c:pt>
                <c:pt idx="5935">
                  <c:v>169.64181547203447</c:v>
                </c:pt>
                <c:pt idx="5936">
                  <c:v>169.9232133085986</c:v>
                </c:pt>
                <c:pt idx="5937">
                  <c:v>170.81259479204587</c:v>
                </c:pt>
                <c:pt idx="5938">
                  <c:v>171.78619022658165</c:v>
                </c:pt>
                <c:pt idx="5939">
                  <c:v>171.78619022658162</c:v>
                </c:pt>
                <c:pt idx="5940">
                  <c:v>171.78619022658162</c:v>
                </c:pt>
                <c:pt idx="5941">
                  <c:v>171.43084843296415</c:v>
                </c:pt>
                <c:pt idx="5942">
                  <c:v>170.6400588922547</c:v>
                </c:pt>
                <c:pt idx="5943">
                  <c:v>171.99775210370652</c:v>
                </c:pt>
                <c:pt idx="5944">
                  <c:v>171.93613213949538</c:v>
                </c:pt>
                <c:pt idx="5945">
                  <c:v>171.82316220510833</c:v>
                </c:pt>
                <c:pt idx="5946">
                  <c:v>171.8231622051083</c:v>
                </c:pt>
                <c:pt idx="5947">
                  <c:v>171.8231622051083</c:v>
                </c:pt>
                <c:pt idx="5948">
                  <c:v>171.81083821226608</c:v>
                </c:pt>
                <c:pt idx="5949">
                  <c:v>171.67732828980863</c:v>
                </c:pt>
                <c:pt idx="5950">
                  <c:v>170.8372427777303</c:v>
                </c:pt>
                <c:pt idx="5951">
                  <c:v>170.47163099007761</c:v>
                </c:pt>
                <c:pt idx="5952">
                  <c:v>170.47163099007761</c:v>
                </c:pt>
                <c:pt idx="5953">
                  <c:v>170.47163099007761</c:v>
                </c:pt>
                <c:pt idx="5954">
                  <c:v>170.47163099007761</c:v>
                </c:pt>
                <c:pt idx="5955">
                  <c:v>170.36276905330462</c:v>
                </c:pt>
                <c:pt idx="5956">
                  <c:v>171.16999058447036</c:v>
                </c:pt>
                <c:pt idx="5957">
                  <c:v>171.89916016096868</c:v>
                </c:pt>
                <c:pt idx="5958">
                  <c:v>170.27033910698793</c:v>
                </c:pt>
                <c:pt idx="5959">
                  <c:v>170.98718469064403</c:v>
                </c:pt>
                <c:pt idx="5960">
                  <c:v>170.987184690644</c:v>
                </c:pt>
                <c:pt idx="5961">
                  <c:v>170.987184690644</c:v>
                </c:pt>
                <c:pt idx="5962">
                  <c:v>171.35074247948964</c:v>
                </c:pt>
                <c:pt idx="5963">
                  <c:v>169.83694535870299</c:v>
                </c:pt>
                <c:pt idx="5964">
                  <c:v>169.95607728951117</c:v>
                </c:pt>
                <c:pt idx="5965">
                  <c:v>170.10396520361786</c:v>
                </c:pt>
                <c:pt idx="5966">
                  <c:v>171.49246839717523</c:v>
                </c:pt>
                <c:pt idx="5967">
                  <c:v>171.49246839717523</c:v>
                </c:pt>
                <c:pt idx="5968">
                  <c:v>171.49246839717523</c:v>
                </c:pt>
                <c:pt idx="5969">
                  <c:v>172.28325793788468</c:v>
                </c:pt>
                <c:pt idx="5970">
                  <c:v>171.89505216335462</c:v>
                </c:pt>
                <c:pt idx="5971">
                  <c:v>171.44111842699931</c:v>
                </c:pt>
                <c:pt idx="5972">
                  <c:v>170.60103291492098</c:v>
                </c:pt>
                <c:pt idx="5973">
                  <c:v>169.82256736705375</c:v>
                </c:pt>
                <c:pt idx="5974">
                  <c:v>169.82256736705375</c:v>
                </c:pt>
                <c:pt idx="5975">
                  <c:v>169.82256736705375</c:v>
                </c:pt>
                <c:pt idx="5976">
                  <c:v>168.48541414367233</c:v>
                </c:pt>
                <c:pt idx="5977">
                  <c:v>168.83253994206169</c:v>
                </c:pt>
                <c:pt idx="5978">
                  <c:v>168.51622412577788</c:v>
                </c:pt>
                <c:pt idx="5979">
                  <c:v>167.96164444787777</c:v>
                </c:pt>
                <c:pt idx="5980">
                  <c:v>166.90588906106052</c:v>
                </c:pt>
                <c:pt idx="5981">
                  <c:v>166.90588906106052</c:v>
                </c:pt>
                <c:pt idx="5982">
                  <c:v>166.90588906106052</c:v>
                </c:pt>
                <c:pt idx="5983">
                  <c:v>166.69843518154974</c:v>
                </c:pt>
                <c:pt idx="5984">
                  <c:v>167.20782688569503</c:v>
                </c:pt>
                <c:pt idx="5985">
                  <c:v>166.39033536049411</c:v>
                </c:pt>
                <c:pt idx="5986">
                  <c:v>164.90734822181301</c:v>
                </c:pt>
                <c:pt idx="5987">
                  <c:v>165.59749182097761</c:v>
                </c:pt>
                <c:pt idx="5988">
                  <c:v>165.59749182097761</c:v>
                </c:pt>
                <c:pt idx="5989">
                  <c:v>165.59749182097761</c:v>
                </c:pt>
                <c:pt idx="5990">
                  <c:v>165.59749182097761</c:v>
                </c:pt>
                <c:pt idx="5991">
                  <c:v>165.67554377564502</c:v>
                </c:pt>
                <c:pt idx="5992">
                  <c:v>165.42906391880049</c:v>
                </c:pt>
                <c:pt idx="5993">
                  <c:v>164.57665441387991</c:v>
                </c:pt>
                <c:pt idx="5994">
                  <c:v>164.27060859163132</c:v>
                </c:pt>
                <c:pt idx="5995">
                  <c:v>164.27060859163132</c:v>
                </c:pt>
                <c:pt idx="5996">
                  <c:v>164.27060859163132</c:v>
                </c:pt>
                <c:pt idx="5997">
                  <c:v>164.84983625521593</c:v>
                </c:pt>
                <c:pt idx="5998">
                  <c:v>166.20342146905364</c:v>
                </c:pt>
                <c:pt idx="5999">
                  <c:v>164.7882162910048</c:v>
                </c:pt>
                <c:pt idx="6000">
                  <c:v>164.22952861549058</c:v>
                </c:pt>
                <c:pt idx="6001">
                  <c:v>163.58251899127376</c:v>
                </c:pt>
                <c:pt idx="6002">
                  <c:v>163.58251899127376</c:v>
                </c:pt>
                <c:pt idx="6003">
                  <c:v>163.58251899127376</c:v>
                </c:pt>
                <c:pt idx="6004">
                  <c:v>163.75916288867899</c:v>
                </c:pt>
                <c:pt idx="6005">
                  <c:v>164.21515062384131</c:v>
                </c:pt>
                <c:pt idx="6006">
                  <c:v>164.198718633385</c:v>
                </c:pt>
                <c:pt idx="6007">
                  <c:v>164.75535231009215</c:v>
                </c:pt>
                <c:pt idx="6008">
                  <c:v>163.5208990270626</c:v>
                </c:pt>
                <c:pt idx="6009">
                  <c:v>163.5208990270626</c:v>
                </c:pt>
                <c:pt idx="6010">
                  <c:v>163.5208990270626</c:v>
                </c:pt>
                <c:pt idx="6011">
                  <c:v>163.88445681590824</c:v>
                </c:pt>
                <c:pt idx="6012">
                  <c:v>164.24185260833275</c:v>
                </c:pt>
                <c:pt idx="6013">
                  <c:v>163.90088880636452</c:v>
                </c:pt>
                <c:pt idx="6014">
                  <c:v>163.30933714993773</c:v>
                </c:pt>
                <c:pt idx="6015">
                  <c:v>162.54524959371977</c:v>
                </c:pt>
                <c:pt idx="6016">
                  <c:v>162.54524959371977</c:v>
                </c:pt>
                <c:pt idx="6017">
                  <c:v>162.54524959371977</c:v>
                </c:pt>
                <c:pt idx="6018">
                  <c:v>161.04993846219648</c:v>
                </c:pt>
                <c:pt idx="6019">
                  <c:v>161.3744702737084</c:v>
                </c:pt>
                <c:pt idx="6020">
                  <c:v>161.61684213293884</c:v>
                </c:pt>
                <c:pt idx="6021">
                  <c:v>162.97658934319767</c:v>
                </c:pt>
                <c:pt idx="6022">
                  <c:v>163.94813077892641</c:v>
                </c:pt>
                <c:pt idx="6023">
                  <c:v>163.94813077892641</c:v>
                </c:pt>
                <c:pt idx="6024">
                  <c:v>163.94813077892641</c:v>
                </c:pt>
                <c:pt idx="6025">
                  <c:v>162.91702337779356</c:v>
                </c:pt>
                <c:pt idx="6026">
                  <c:v>161.57576215679808</c:v>
                </c:pt>
                <c:pt idx="6027">
                  <c:v>161.60451814009659</c:v>
                </c:pt>
                <c:pt idx="6028">
                  <c:v>161.60451814009659</c:v>
                </c:pt>
                <c:pt idx="6029">
                  <c:v>162.48362962950864</c:v>
                </c:pt>
                <c:pt idx="6030">
                  <c:v>162.48362962950864</c:v>
                </c:pt>
                <c:pt idx="6031">
                  <c:v>162.48362962950864</c:v>
                </c:pt>
                <c:pt idx="6032">
                  <c:v>161.46895421883212</c:v>
                </c:pt>
                <c:pt idx="6033">
                  <c:v>161.19988037511021</c:v>
                </c:pt>
                <c:pt idx="6034">
                  <c:v>161.1649623953906</c:v>
                </c:pt>
                <c:pt idx="6035">
                  <c:v>160.15234098352113</c:v>
                </c:pt>
                <c:pt idx="6036">
                  <c:v>160.56108674612159</c:v>
                </c:pt>
                <c:pt idx="6037">
                  <c:v>160.56108674612159</c:v>
                </c:pt>
                <c:pt idx="6038">
                  <c:v>160.56108674612159</c:v>
                </c:pt>
                <c:pt idx="6039">
                  <c:v>159.58338331397175</c:v>
                </c:pt>
                <c:pt idx="6040">
                  <c:v>159.97775108492294</c:v>
                </c:pt>
                <c:pt idx="6041">
                  <c:v>159.96748109088773</c:v>
                </c:pt>
                <c:pt idx="6042">
                  <c:v>159.86067315292178</c:v>
                </c:pt>
                <c:pt idx="6043">
                  <c:v>160.35363286661081</c:v>
                </c:pt>
                <c:pt idx="6044">
                  <c:v>160.35363286661081</c:v>
                </c:pt>
                <c:pt idx="6045">
                  <c:v>160.35363286661081</c:v>
                </c:pt>
                <c:pt idx="6046">
                  <c:v>159.66143526863917</c:v>
                </c:pt>
                <c:pt idx="6047">
                  <c:v>160.0701810312396</c:v>
                </c:pt>
                <c:pt idx="6048">
                  <c:v>162.09542385497858</c:v>
                </c:pt>
                <c:pt idx="6049">
                  <c:v>160.96572451110794</c:v>
                </c:pt>
                <c:pt idx="6050">
                  <c:v>161.54084417707844</c:v>
                </c:pt>
                <c:pt idx="6051">
                  <c:v>161.54084417707844</c:v>
                </c:pt>
                <c:pt idx="6052">
                  <c:v>161.54084417707844</c:v>
                </c:pt>
                <c:pt idx="6053">
                  <c:v>161.09512643595127</c:v>
                </c:pt>
                <c:pt idx="6054">
                  <c:v>162.99507533246097</c:v>
                </c:pt>
                <c:pt idx="6055">
                  <c:v>162.53908759729865</c:v>
                </c:pt>
                <c:pt idx="6056">
                  <c:v>160.36184886183889</c:v>
                </c:pt>
                <c:pt idx="6057">
                  <c:v>159.56489732470834</c:v>
                </c:pt>
                <c:pt idx="6058">
                  <c:v>159.56489732470834</c:v>
                </c:pt>
                <c:pt idx="6059">
                  <c:v>159.56489732470834</c:v>
                </c:pt>
                <c:pt idx="6060">
                  <c:v>159.75181121614875</c:v>
                </c:pt>
                <c:pt idx="6061">
                  <c:v>159.12739557880934</c:v>
                </c:pt>
                <c:pt idx="6062">
                  <c:v>158.62621986989217</c:v>
                </c:pt>
                <c:pt idx="6063">
                  <c:v>158.74329780189331</c:v>
                </c:pt>
                <c:pt idx="6064">
                  <c:v>157.51089851767082</c:v>
                </c:pt>
                <c:pt idx="6065">
                  <c:v>157.51089851767082</c:v>
                </c:pt>
                <c:pt idx="6066">
                  <c:v>157.51089851767082</c:v>
                </c:pt>
                <c:pt idx="6067">
                  <c:v>157.25620266559815</c:v>
                </c:pt>
                <c:pt idx="6068">
                  <c:v>156.44487313681833</c:v>
                </c:pt>
                <c:pt idx="6069">
                  <c:v>156.50033110460834</c:v>
                </c:pt>
                <c:pt idx="6070">
                  <c:v>155.73829754719742</c:v>
                </c:pt>
                <c:pt idx="6071">
                  <c:v>156.63794902467984</c:v>
                </c:pt>
                <c:pt idx="6072">
                  <c:v>156.63794902467984</c:v>
                </c:pt>
                <c:pt idx="6073">
                  <c:v>156.63794902467984</c:v>
                </c:pt>
                <c:pt idx="6074">
                  <c:v>156.65438101513612</c:v>
                </c:pt>
                <c:pt idx="6075">
                  <c:v>156.7242169745754</c:v>
                </c:pt>
                <c:pt idx="6076">
                  <c:v>156.26617524060603</c:v>
                </c:pt>
                <c:pt idx="6077">
                  <c:v>156.40379316067757</c:v>
                </c:pt>
                <c:pt idx="6078">
                  <c:v>155.74445954361852</c:v>
                </c:pt>
                <c:pt idx="6079">
                  <c:v>155.74445954361852</c:v>
                </c:pt>
                <c:pt idx="6080">
                  <c:v>155.74445954361852</c:v>
                </c:pt>
                <c:pt idx="6081">
                  <c:v>155.56165364979216</c:v>
                </c:pt>
                <c:pt idx="6082">
                  <c:v>153.86710463398623</c:v>
                </c:pt>
                <c:pt idx="6083">
                  <c:v>154.63530018781825</c:v>
                </c:pt>
                <c:pt idx="6084">
                  <c:v>155.10566591462984</c:v>
                </c:pt>
                <c:pt idx="6085">
                  <c:v>155.13442189792838</c:v>
                </c:pt>
                <c:pt idx="6086">
                  <c:v>155.13442189792838</c:v>
                </c:pt>
                <c:pt idx="6087">
                  <c:v>155.13442189792838</c:v>
                </c:pt>
                <c:pt idx="6088">
                  <c:v>155.13442189792838</c:v>
                </c:pt>
                <c:pt idx="6089">
                  <c:v>153.59392279265023</c:v>
                </c:pt>
                <c:pt idx="6090">
                  <c:v>153.40495490240281</c:v>
                </c:pt>
                <c:pt idx="6091">
                  <c:v>154.620922196169</c:v>
                </c:pt>
                <c:pt idx="6092">
                  <c:v>154.07250451469</c:v>
                </c:pt>
                <c:pt idx="6093">
                  <c:v>154.07250451469</c:v>
                </c:pt>
                <c:pt idx="6094">
                  <c:v>154.07250451469</c:v>
                </c:pt>
                <c:pt idx="6095">
                  <c:v>156.81664692089211</c:v>
                </c:pt>
                <c:pt idx="6096">
                  <c:v>159.0144256444222</c:v>
                </c:pt>
                <c:pt idx="6097">
                  <c:v>160.98421050037118</c:v>
                </c:pt>
                <c:pt idx="6098">
                  <c:v>159.99623707418615</c:v>
                </c:pt>
                <c:pt idx="6099">
                  <c:v>160.34130887376844</c:v>
                </c:pt>
                <c:pt idx="6100">
                  <c:v>160.34130887376844</c:v>
                </c:pt>
                <c:pt idx="6101">
                  <c:v>160.34130887376844</c:v>
                </c:pt>
                <c:pt idx="6102">
                  <c:v>161.86742998739732</c:v>
                </c:pt>
                <c:pt idx="6103">
                  <c:v>159.51765535214642</c:v>
                </c:pt>
                <c:pt idx="6104">
                  <c:v>158.86037573389441</c:v>
                </c:pt>
                <c:pt idx="6105">
                  <c:v>158.47216995936432</c:v>
                </c:pt>
                <c:pt idx="6106">
                  <c:v>158.57897789733028</c:v>
                </c:pt>
                <c:pt idx="6107">
                  <c:v>158.57897789733028</c:v>
                </c:pt>
                <c:pt idx="6108">
                  <c:v>158.57897789733028</c:v>
                </c:pt>
                <c:pt idx="6109">
                  <c:v>158.80697176491142</c:v>
                </c:pt>
                <c:pt idx="6110">
                  <c:v>157.51500651528482</c:v>
                </c:pt>
                <c:pt idx="6111">
                  <c:v>158.90350970884217</c:v>
                </c:pt>
                <c:pt idx="6112">
                  <c:v>157.86624031128824</c:v>
                </c:pt>
                <c:pt idx="6113">
                  <c:v>157.38971258805552</c:v>
                </c:pt>
                <c:pt idx="6114">
                  <c:v>157.38971258805552</c:v>
                </c:pt>
                <c:pt idx="6115">
                  <c:v>157.38971258805552</c:v>
                </c:pt>
                <c:pt idx="6116">
                  <c:v>157.48419653317924</c:v>
                </c:pt>
                <c:pt idx="6117">
                  <c:v>156.25795924537786</c:v>
                </c:pt>
                <c:pt idx="6118">
                  <c:v>156.76529695071613</c:v>
                </c:pt>
                <c:pt idx="6119">
                  <c:v>156.54141108074904</c:v>
                </c:pt>
                <c:pt idx="6120">
                  <c:v>155.8492134827774</c:v>
                </c:pt>
                <c:pt idx="6121">
                  <c:v>155.8492134827774</c:v>
                </c:pt>
                <c:pt idx="6122">
                  <c:v>155.8492134827774</c:v>
                </c:pt>
                <c:pt idx="6123">
                  <c:v>155.97245341119964</c:v>
                </c:pt>
                <c:pt idx="6124">
                  <c:v>155.18782586691128</c:v>
                </c:pt>
                <c:pt idx="6125">
                  <c:v>154.81399808403046</c:v>
                </c:pt>
                <c:pt idx="6126">
                  <c:v>154.53876224388742</c:v>
                </c:pt>
                <c:pt idx="6127">
                  <c:v>156.23536525850039</c:v>
                </c:pt>
                <c:pt idx="6128">
                  <c:v>156.23536525850039</c:v>
                </c:pt>
                <c:pt idx="6129">
                  <c:v>156.23536525850039</c:v>
                </c:pt>
                <c:pt idx="6130">
                  <c:v>155.68078558060029</c:v>
                </c:pt>
                <c:pt idx="6131">
                  <c:v>155.64586760088062</c:v>
                </c:pt>
                <c:pt idx="6132">
                  <c:v>156.17374529428926</c:v>
                </c:pt>
                <c:pt idx="6133">
                  <c:v>156.97891282664796</c:v>
                </c:pt>
                <c:pt idx="6134">
                  <c:v>156.91934686124389</c:v>
                </c:pt>
                <c:pt idx="6135">
                  <c:v>156.91934686124389</c:v>
                </c:pt>
                <c:pt idx="6136">
                  <c:v>156.91934686124389</c:v>
                </c:pt>
                <c:pt idx="6137">
                  <c:v>157.65673243297036</c:v>
                </c:pt>
                <c:pt idx="6138">
                  <c:v>158.11272016813268</c:v>
                </c:pt>
                <c:pt idx="6139">
                  <c:v>158.35303802855609</c:v>
                </c:pt>
                <c:pt idx="6140">
                  <c:v>157.26647265963322</c:v>
                </c:pt>
                <c:pt idx="6141">
                  <c:v>157.56841048426776</c:v>
                </c:pt>
                <c:pt idx="6142">
                  <c:v>157.56841048426776</c:v>
                </c:pt>
                <c:pt idx="6143">
                  <c:v>157.56841048426776</c:v>
                </c:pt>
                <c:pt idx="6144">
                  <c:v>157.94634626476267</c:v>
                </c:pt>
                <c:pt idx="6145">
                  <c:v>158.2873100667309</c:v>
                </c:pt>
                <c:pt idx="6146">
                  <c:v>157.36095660475698</c:v>
                </c:pt>
                <c:pt idx="6147">
                  <c:v>157.79640435184893</c:v>
                </c:pt>
                <c:pt idx="6148">
                  <c:v>159.31225547144263</c:v>
                </c:pt>
                <c:pt idx="6149">
                  <c:v>159.31225547144263</c:v>
                </c:pt>
                <c:pt idx="6150">
                  <c:v>159.31225547144263</c:v>
                </c:pt>
                <c:pt idx="6151">
                  <c:v>160.36595685945287</c:v>
                </c:pt>
                <c:pt idx="6152">
                  <c:v>161.11977442163561</c:v>
                </c:pt>
                <c:pt idx="6153">
                  <c:v>159.64911127579677</c:v>
                </c:pt>
                <c:pt idx="6154">
                  <c:v>160.00239907060723</c:v>
                </c:pt>
                <c:pt idx="6155">
                  <c:v>160.00856106702832</c:v>
                </c:pt>
                <c:pt idx="6156">
                  <c:v>160.00856106702832</c:v>
                </c:pt>
                <c:pt idx="6157">
                  <c:v>160.00856106702832</c:v>
                </c:pt>
                <c:pt idx="6158">
                  <c:v>159.87094314695682</c:v>
                </c:pt>
                <c:pt idx="6159">
                  <c:v>159.39646942253114</c:v>
                </c:pt>
                <c:pt idx="6160">
                  <c:v>158.76794578757767</c:v>
                </c:pt>
                <c:pt idx="6161">
                  <c:v>158.67962383887505</c:v>
                </c:pt>
                <c:pt idx="6162">
                  <c:v>158.54405991761058</c:v>
                </c:pt>
                <c:pt idx="6163">
                  <c:v>158.54405991761058</c:v>
                </c:pt>
                <c:pt idx="6164">
                  <c:v>158.54405991761058</c:v>
                </c:pt>
                <c:pt idx="6165">
                  <c:v>157.78818835662079</c:v>
                </c:pt>
                <c:pt idx="6166">
                  <c:v>157.99153423851752</c:v>
                </c:pt>
                <c:pt idx="6167">
                  <c:v>157.59922046637334</c:v>
                </c:pt>
                <c:pt idx="6168">
                  <c:v>157.26236466201919</c:v>
                </c:pt>
                <c:pt idx="6169">
                  <c:v>157.66905642581261</c:v>
                </c:pt>
                <c:pt idx="6170">
                  <c:v>157.66905642581261</c:v>
                </c:pt>
                <c:pt idx="6171">
                  <c:v>157.66905642581261</c:v>
                </c:pt>
                <c:pt idx="6172">
                  <c:v>158.79670177087621</c:v>
                </c:pt>
                <c:pt idx="6173">
                  <c:v>158.65702985199763</c:v>
                </c:pt>
                <c:pt idx="6174">
                  <c:v>159.07399160982627</c:v>
                </c:pt>
                <c:pt idx="6175">
                  <c:v>159.07399160982627</c:v>
                </c:pt>
                <c:pt idx="6176">
                  <c:v>158.31606605002943</c:v>
                </c:pt>
                <c:pt idx="6177">
                  <c:v>158.31606605002943</c:v>
                </c:pt>
                <c:pt idx="6178">
                  <c:v>158.31606605002943</c:v>
                </c:pt>
                <c:pt idx="6179">
                  <c:v>158.38384801066169</c:v>
                </c:pt>
                <c:pt idx="6180">
                  <c:v>158.39206400588984</c:v>
                </c:pt>
                <c:pt idx="6181">
                  <c:v>158.69810982813843</c:v>
                </c:pt>
                <c:pt idx="6182">
                  <c:v>158.59540988778656</c:v>
                </c:pt>
                <c:pt idx="6183">
                  <c:v>159.00826364800108</c:v>
                </c:pt>
                <c:pt idx="6184">
                  <c:v>159.00826364800108</c:v>
                </c:pt>
                <c:pt idx="6185">
                  <c:v>159.00826364800108</c:v>
                </c:pt>
                <c:pt idx="6186">
                  <c:v>158.71043382098065</c:v>
                </c:pt>
                <c:pt idx="6187">
                  <c:v>158.6159498758569</c:v>
                </c:pt>
                <c:pt idx="6188">
                  <c:v>158.40233399992502</c:v>
                </c:pt>
                <c:pt idx="6189">
                  <c:v>158.8829697207718</c:v>
                </c:pt>
                <c:pt idx="6190">
                  <c:v>158.1661241371157</c:v>
                </c:pt>
                <c:pt idx="6191">
                  <c:v>158.1661241371157</c:v>
                </c:pt>
                <c:pt idx="6192">
                  <c:v>158.1661241371157</c:v>
                </c:pt>
                <c:pt idx="6193">
                  <c:v>158.30374205718724</c:v>
                </c:pt>
                <c:pt idx="6194">
                  <c:v>158.98566966112369</c:v>
                </c:pt>
                <c:pt idx="6195">
                  <c:v>159.48889936884788</c:v>
                </c:pt>
                <c:pt idx="6196">
                  <c:v>159.67992125790238</c:v>
                </c:pt>
                <c:pt idx="6197">
                  <c:v>159.56284332590127</c:v>
                </c:pt>
                <c:pt idx="6198">
                  <c:v>159.56284332590127</c:v>
                </c:pt>
                <c:pt idx="6199">
                  <c:v>159.56284332590127</c:v>
                </c:pt>
                <c:pt idx="6200">
                  <c:v>159.59981530442795</c:v>
                </c:pt>
                <c:pt idx="6201">
                  <c:v>159.60803129965609</c:v>
                </c:pt>
                <c:pt idx="6202">
                  <c:v>159.60803129965609</c:v>
                </c:pt>
                <c:pt idx="6203">
                  <c:v>159.37592943446086</c:v>
                </c:pt>
                <c:pt idx="6204">
                  <c:v>158.75972979234962</c:v>
                </c:pt>
                <c:pt idx="6205">
                  <c:v>158.75972979234962</c:v>
                </c:pt>
                <c:pt idx="6206">
                  <c:v>158.75972979234962</c:v>
                </c:pt>
                <c:pt idx="6207">
                  <c:v>159.08631560266858</c:v>
                </c:pt>
                <c:pt idx="6208">
                  <c:v>158.94664368379003</c:v>
                </c:pt>
                <c:pt idx="6209">
                  <c:v>158.94664368379003</c:v>
                </c:pt>
                <c:pt idx="6210">
                  <c:v>158.00796622897388</c:v>
                </c:pt>
                <c:pt idx="6211">
                  <c:v>158.08396418483426</c:v>
                </c:pt>
                <c:pt idx="6212">
                  <c:v>158.08396418483426</c:v>
                </c:pt>
                <c:pt idx="6213">
                  <c:v>158.08396418483426</c:v>
                </c:pt>
                <c:pt idx="6214">
                  <c:v>157.80462034707716</c:v>
                </c:pt>
                <c:pt idx="6215">
                  <c:v>157.47187254033707</c:v>
                </c:pt>
                <c:pt idx="6216">
                  <c:v>157.00150681352551</c:v>
                </c:pt>
                <c:pt idx="6217">
                  <c:v>156.05050536586714</c:v>
                </c:pt>
                <c:pt idx="6218">
                  <c:v>156.51881709387169</c:v>
                </c:pt>
                <c:pt idx="6219">
                  <c:v>156.51881709387169</c:v>
                </c:pt>
                <c:pt idx="6220">
                  <c:v>156.51881709387169</c:v>
                </c:pt>
                <c:pt idx="6221">
                  <c:v>156.80843092566397</c:v>
                </c:pt>
                <c:pt idx="6222">
                  <c:v>157.51911451289894</c:v>
                </c:pt>
                <c:pt idx="6223">
                  <c:v>157.49857452482854</c:v>
                </c:pt>
                <c:pt idx="6224">
                  <c:v>158.03672221227237</c:v>
                </c:pt>
                <c:pt idx="6225">
                  <c:v>156.7385949662247</c:v>
                </c:pt>
                <c:pt idx="6226">
                  <c:v>156.7385949662247</c:v>
                </c:pt>
                <c:pt idx="6227">
                  <c:v>156.7385949662247</c:v>
                </c:pt>
                <c:pt idx="6228">
                  <c:v>156.7385949662247</c:v>
                </c:pt>
                <c:pt idx="6229">
                  <c:v>155.81634950186486</c:v>
                </c:pt>
                <c:pt idx="6230">
                  <c:v>155.86975347084783</c:v>
                </c:pt>
                <c:pt idx="6231">
                  <c:v>155.03172195757654</c:v>
                </c:pt>
                <c:pt idx="6232">
                  <c:v>154.43195430592161</c:v>
                </c:pt>
                <c:pt idx="6233">
                  <c:v>154.43195430592161</c:v>
                </c:pt>
                <c:pt idx="6234">
                  <c:v>154.43195430592161</c:v>
                </c:pt>
                <c:pt idx="6235">
                  <c:v>154.6620021723098</c:v>
                </c:pt>
                <c:pt idx="6236">
                  <c:v>154.59011221406348</c:v>
                </c:pt>
                <c:pt idx="6237">
                  <c:v>154.08688250633929</c:v>
                </c:pt>
                <c:pt idx="6238">
                  <c:v>153.16874503959355</c:v>
                </c:pt>
                <c:pt idx="6239">
                  <c:v>152.69016331755381</c:v>
                </c:pt>
                <c:pt idx="6240">
                  <c:v>152.69016331755381</c:v>
                </c:pt>
                <c:pt idx="6241">
                  <c:v>152.69016331755381</c:v>
                </c:pt>
                <c:pt idx="6242">
                  <c:v>153.1112330729965</c:v>
                </c:pt>
                <c:pt idx="6243">
                  <c:v>152.89556319825758</c:v>
                </c:pt>
                <c:pt idx="6244">
                  <c:v>153.64321876401922</c:v>
                </c:pt>
                <c:pt idx="6245">
                  <c:v>152.59773337123713</c:v>
                </c:pt>
                <c:pt idx="6246">
                  <c:v>151.76791785319398</c:v>
                </c:pt>
                <c:pt idx="6247">
                  <c:v>151.76791785319398</c:v>
                </c:pt>
                <c:pt idx="6248">
                  <c:v>151.76791785319398</c:v>
                </c:pt>
                <c:pt idx="6249">
                  <c:v>151.74737786512361</c:v>
                </c:pt>
                <c:pt idx="6250">
                  <c:v>152.11298965277632</c:v>
                </c:pt>
                <c:pt idx="6251">
                  <c:v>152.24033757881264</c:v>
                </c:pt>
                <c:pt idx="6252">
                  <c:v>152.25266157165484</c:v>
                </c:pt>
                <c:pt idx="6253">
                  <c:v>151.64673192357878</c:v>
                </c:pt>
                <c:pt idx="6254">
                  <c:v>151.64673192357878</c:v>
                </c:pt>
                <c:pt idx="6255">
                  <c:v>151.64673192357878</c:v>
                </c:pt>
                <c:pt idx="6256">
                  <c:v>151.64673192357878</c:v>
                </c:pt>
                <c:pt idx="6257">
                  <c:v>151.56867996891137</c:v>
                </c:pt>
                <c:pt idx="6258">
                  <c:v>151.46803402736654</c:v>
                </c:pt>
                <c:pt idx="6259">
                  <c:v>151.88294178638813</c:v>
                </c:pt>
                <c:pt idx="6260">
                  <c:v>151.48857401543691</c:v>
                </c:pt>
                <c:pt idx="6261">
                  <c:v>151.48857401543691</c:v>
                </c:pt>
                <c:pt idx="6262">
                  <c:v>151.48857401543691</c:v>
                </c:pt>
                <c:pt idx="6263">
                  <c:v>151.66932591045622</c:v>
                </c:pt>
                <c:pt idx="6264">
                  <c:v>151.42079205480471</c:v>
                </c:pt>
                <c:pt idx="6265">
                  <c:v>149.70775704973542</c:v>
                </c:pt>
                <c:pt idx="6266">
                  <c:v>150.72037846160489</c:v>
                </c:pt>
                <c:pt idx="6267">
                  <c:v>150.73886445086825</c:v>
                </c:pt>
                <c:pt idx="6268">
                  <c:v>150.73886445086825</c:v>
                </c:pt>
                <c:pt idx="6269">
                  <c:v>150.73886445086825</c:v>
                </c:pt>
                <c:pt idx="6270">
                  <c:v>148.60681368916332</c:v>
                </c:pt>
                <c:pt idx="6271">
                  <c:v>147.99677604347318</c:v>
                </c:pt>
                <c:pt idx="6272">
                  <c:v>145.81132131278528</c:v>
                </c:pt>
                <c:pt idx="6273">
                  <c:v>145.27933562176256</c:v>
                </c:pt>
                <c:pt idx="6274">
                  <c:v>145.26495763011332</c:v>
                </c:pt>
                <c:pt idx="6275">
                  <c:v>145.26495763011332</c:v>
                </c:pt>
                <c:pt idx="6276">
                  <c:v>145.26495763011332</c:v>
                </c:pt>
                <c:pt idx="6277">
                  <c:v>142.20039141001334</c:v>
                </c:pt>
                <c:pt idx="6278">
                  <c:v>140.60648833575223</c:v>
                </c:pt>
                <c:pt idx="6279">
                  <c:v>138.31011766948433</c:v>
                </c:pt>
                <c:pt idx="6280">
                  <c:v>137.96709986870908</c:v>
                </c:pt>
                <c:pt idx="6281">
                  <c:v>136.44303275388725</c:v>
                </c:pt>
                <c:pt idx="6282">
                  <c:v>136.44303275388725</c:v>
                </c:pt>
                <c:pt idx="6283">
                  <c:v>136.44303275388725</c:v>
                </c:pt>
                <c:pt idx="6284">
                  <c:v>136.72443059045139</c:v>
                </c:pt>
                <c:pt idx="6285">
                  <c:v>133.59413640852623</c:v>
                </c:pt>
                <c:pt idx="6286">
                  <c:v>129.86818257256019</c:v>
                </c:pt>
                <c:pt idx="6287">
                  <c:v>135.9685590294616</c:v>
                </c:pt>
                <c:pt idx="6288">
                  <c:v>136.51286871332653</c:v>
                </c:pt>
                <c:pt idx="6289">
                  <c:v>136.51286871332653</c:v>
                </c:pt>
                <c:pt idx="6290">
                  <c:v>136.51286871332653</c:v>
                </c:pt>
                <c:pt idx="6291">
                  <c:v>137.66721604288162</c:v>
                </c:pt>
                <c:pt idx="6292">
                  <c:v>136.46562674076466</c:v>
                </c:pt>
                <c:pt idx="6293">
                  <c:v>137.24409228863186</c:v>
                </c:pt>
                <c:pt idx="6294">
                  <c:v>135.53311128236965</c:v>
                </c:pt>
                <c:pt idx="6295">
                  <c:v>135.21268746847178</c:v>
                </c:pt>
                <c:pt idx="6296">
                  <c:v>135.21268746847178</c:v>
                </c:pt>
                <c:pt idx="6297">
                  <c:v>135.21268746847178</c:v>
                </c:pt>
                <c:pt idx="6298">
                  <c:v>133.32506256480431</c:v>
                </c:pt>
                <c:pt idx="6299">
                  <c:v>135.05452956032988</c:v>
                </c:pt>
                <c:pt idx="6300">
                  <c:v>134.28633400649787</c:v>
                </c:pt>
                <c:pt idx="6301">
                  <c:v>133.06215071750353</c:v>
                </c:pt>
                <c:pt idx="6302">
                  <c:v>131.88931739868511</c:v>
                </c:pt>
                <c:pt idx="6303">
                  <c:v>131.88931739868511</c:v>
                </c:pt>
                <c:pt idx="6304">
                  <c:v>131.88931739868511</c:v>
                </c:pt>
                <c:pt idx="6305">
                  <c:v>131.54629959790984</c:v>
                </c:pt>
                <c:pt idx="6306">
                  <c:v>132.49524704676114</c:v>
                </c:pt>
                <c:pt idx="6307">
                  <c:v>132.82594085469418</c:v>
                </c:pt>
                <c:pt idx="6308">
                  <c:v>134.40341193849898</c:v>
                </c:pt>
                <c:pt idx="6309">
                  <c:v>134.40341193849898</c:v>
                </c:pt>
                <c:pt idx="6310">
                  <c:v>134.40341193849898</c:v>
                </c:pt>
                <c:pt idx="6311">
                  <c:v>134.40341193849898</c:v>
                </c:pt>
                <c:pt idx="6312">
                  <c:v>133.12993267813573</c:v>
                </c:pt>
                <c:pt idx="6313">
                  <c:v>131.84412942493026</c:v>
                </c:pt>
                <c:pt idx="6314">
                  <c:v>130.47411222063624</c:v>
                </c:pt>
                <c:pt idx="6315">
                  <c:v>129.33619688153746</c:v>
                </c:pt>
                <c:pt idx="6316">
                  <c:v>130.31595431249437</c:v>
                </c:pt>
                <c:pt idx="6317">
                  <c:v>130.31595431249437</c:v>
                </c:pt>
                <c:pt idx="6318">
                  <c:v>130.31595431249437</c:v>
                </c:pt>
                <c:pt idx="6319">
                  <c:v>130.81713002141151</c:v>
                </c:pt>
                <c:pt idx="6320">
                  <c:v>132.00639533068625</c:v>
                </c:pt>
                <c:pt idx="6321">
                  <c:v>130.31800831130144</c:v>
                </c:pt>
                <c:pt idx="6322">
                  <c:v>132.02077332233551</c:v>
                </c:pt>
                <c:pt idx="6323">
                  <c:v>132.06390729728332</c:v>
                </c:pt>
                <c:pt idx="6324">
                  <c:v>132.06390729728332</c:v>
                </c:pt>
                <c:pt idx="6325">
                  <c:v>132.06390729728332</c:v>
                </c:pt>
                <c:pt idx="6326">
                  <c:v>134.2329300375149</c:v>
                </c:pt>
                <c:pt idx="6327">
                  <c:v>136.17395891016537</c:v>
                </c:pt>
                <c:pt idx="6328">
                  <c:v>138.87291334261266</c:v>
                </c:pt>
                <c:pt idx="6329">
                  <c:v>137.6364060607761</c:v>
                </c:pt>
                <c:pt idx="6330">
                  <c:v>136.74291657971477</c:v>
                </c:pt>
                <c:pt idx="6331">
                  <c:v>136.74291657971477</c:v>
                </c:pt>
                <c:pt idx="6332">
                  <c:v>136.74291657971477</c:v>
                </c:pt>
                <c:pt idx="6333">
                  <c:v>136.44508675269432</c:v>
                </c:pt>
                <c:pt idx="6334">
                  <c:v>135.51051729549226</c:v>
                </c:pt>
                <c:pt idx="6335">
                  <c:v>135.10998752811994</c:v>
                </c:pt>
                <c:pt idx="6336">
                  <c:v>136.19860689584982</c:v>
                </c:pt>
                <c:pt idx="6337">
                  <c:v>138.48470756808257</c:v>
                </c:pt>
                <c:pt idx="6338">
                  <c:v>138.48470756808257</c:v>
                </c:pt>
                <c:pt idx="6339">
                  <c:v>138.48470756808257</c:v>
                </c:pt>
                <c:pt idx="6340">
                  <c:v>137.32625224091342</c:v>
                </c:pt>
                <c:pt idx="6341">
                  <c:v>135.551597271633</c:v>
                </c:pt>
                <c:pt idx="6342">
                  <c:v>133.35587254690992</c:v>
                </c:pt>
                <c:pt idx="6343">
                  <c:v>132.88550682009836</c:v>
                </c:pt>
                <c:pt idx="6344">
                  <c:v>133.71737633694855</c:v>
                </c:pt>
                <c:pt idx="6345">
                  <c:v>133.71737633694855</c:v>
                </c:pt>
                <c:pt idx="6346">
                  <c:v>133.71737633694855</c:v>
                </c:pt>
                <c:pt idx="6347">
                  <c:v>136.7367545832937</c:v>
                </c:pt>
                <c:pt idx="6348">
                  <c:v>135.90283106763647</c:v>
                </c:pt>
                <c:pt idx="6349">
                  <c:v>137.2625782778953</c:v>
                </c:pt>
                <c:pt idx="6350">
                  <c:v>138.09855579235958</c:v>
                </c:pt>
                <c:pt idx="6351">
                  <c:v>137.9527218770599</c:v>
                </c:pt>
                <c:pt idx="6352">
                  <c:v>137.9527218770599</c:v>
                </c:pt>
                <c:pt idx="6353">
                  <c:v>137.9527218770599</c:v>
                </c:pt>
                <c:pt idx="6354">
                  <c:v>137.9527218770599</c:v>
                </c:pt>
                <c:pt idx="6355">
                  <c:v>139.70889085707697</c:v>
                </c:pt>
                <c:pt idx="6356">
                  <c:v>141.16928400888065</c:v>
                </c:pt>
                <c:pt idx="6357">
                  <c:v>138.41692560745039</c:v>
                </c:pt>
                <c:pt idx="6358">
                  <c:v>137.09825837333233</c:v>
                </c:pt>
                <c:pt idx="6359">
                  <c:v>137.09825837333233</c:v>
                </c:pt>
                <c:pt idx="6360">
                  <c:v>137.09825837333233</c:v>
                </c:pt>
                <c:pt idx="6361">
                  <c:v>138.79691538675232</c:v>
                </c:pt>
                <c:pt idx="6362">
                  <c:v>138.91810131636754</c:v>
                </c:pt>
                <c:pt idx="6363">
                  <c:v>141.17544600530175</c:v>
                </c:pt>
                <c:pt idx="6364">
                  <c:v>142.49000524180576</c:v>
                </c:pt>
                <c:pt idx="6365">
                  <c:v>144.17223026476947</c:v>
                </c:pt>
                <c:pt idx="6366">
                  <c:v>144.17223026476947</c:v>
                </c:pt>
                <c:pt idx="6367">
                  <c:v>144.17223026476947</c:v>
                </c:pt>
                <c:pt idx="6368">
                  <c:v>146.58567886303854</c:v>
                </c:pt>
                <c:pt idx="6369">
                  <c:v>144.24001222540173</c:v>
                </c:pt>
                <c:pt idx="6370">
                  <c:v>140.15255459939709</c:v>
                </c:pt>
                <c:pt idx="6371">
                  <c:v>137.32830623972052</c:v>
                </c:pt>
                <c:pt idx="6372">
                  <c:v>139.0865292185446</c:v>
                </c:pt>
                <c:pt idx="6373">
                  <c:v>139.0865292185446</c:v>
                </c:pt>
                <c:pt idx="6374">
                  <c:v>139.0865292185446</c:v>
                </c:pt>
                <c:pt idx="6375">
                  <c:v>139.92866872943</c:v>
                </c:pt>
                <c:pt idx="6376">
                  <c:v>140.79134822838577</c:v>
                </c:pt>
                <c:pt idx="6377">
                  <c:v>138.62643348576825</c:v>
                </c:pt>
                <c:pt idx="6378">
                  <c:v>138.36146763966042</c:v>
                </c:pt>
                <c:pt idx="6379">
                  <c:v>138.25260570288745</c:v>
                </c:pt>
                <c:pt idx="6380">
                  <c:v>138.25260570288745</c:v>
                </c:pt>
                <c:pt idx="6381">
                  <c:v>138.25260570288745</c:v>
                </c:pt>
                <c:pt idx="6382">
                  <c:v>138.24644370646632</c:v>
                </c:pt>
                <c:pt idx="6383">
                  <c:v>138.64902747264568</c:v>
                </c:pt>
                <c:pt idx="6384">
                  <c:v>136.89491249143566</c:v>
                </c:pt>
                <c:pt idx="6385">
                  <c:v>137.09825837333236</c:v>
                </c:pt>
                <c:pt idx="6386">
                  <c:v>136.4163307693959</c:v>
                </c:pt>
                <c:pt idx="6387">
                  <c:v>136.4163307693959</c:v>
                </c:pt>
                <c:pt idx="6388">
                  <c:v>136.4163307693959</c:v>
                </c:pt>
                <c:pt idx="6389">
                  <c:v>138.25876769930855</c:v>
                </c:pt>
                <c:pt idx="6390">
                  <c:v>137.60148808105654</c:v>
                </c:pt>
                <c:pt idx="6391">
                  <c:v>135.85764309388171</c:v>
                </c:pt>
                <c:pt idx="6392">
                  <c:v>136.02607099605879</c:v>
                </c:pt>
                <c:pt idx="6393">
                  <c:v>136.02607099605879</c:v>
                </c:pt>
                <c:pt idx="6394">
                  <c:v>136.02607099605879</c:v>
                </c:pt>
                <c:pt idx="6395">
                  <c:v>136.02607099605879</c:v>
                </c:pt>
                <c:pt idx="6396">
                  <c:v>135.85558909507466</c:v>
                </c:pt>
                <c:pt idx="6397">
                  <c:v>134.22471404228691</c:v>
                </c:pt>
                <c:pt idx="6398">
                  <c:v>134.29865799934026</c:v>
                </c:pt>
                <c:pt idx="6399">
                  <c:v>132.51167903721762</c:v>
                </c:pt>
                <c:pt idx="6400">
                  <c:v>133.47295047891117</c:v>
                </c:pt>
                <c:pt idx="6401">
                  <c:v>133.47295047891117</c:v>
                </c:pt>
                <c:pt idx="6402">
                  <c:v>133.47295047891117</c:v>
                </c:pt>
                <c:pt idx="6403">
                  <c:v>133.48938246936746</c:v>
                </c:pt>
                <c:pt idx="6404">
                  <c:v>132.91220880458994</c:v>
                </c:pt>
                <c:pt idx="6405">
                  <c:v>135.96855902946174</c:v>
                </c:pt>
                <c:pt idx="6406">
                  <c:v>135.39549336229825</c:v>
                </c:pt>
                <c:pt idx="6407">
                  <c:v>134.54924585379879</c:v>
                </c:pt>
                <c:pt idx="6408">
                  <c:v>134.54924585379879</c:v>
                </c:pt>
                <c:pt idx="6409">
                  <c:v>134.54924585379879</c:v>
                </c:pt>
                <c:pt idx="6410">
                  <c:v>133.05598872108251</c:v>
                </c:pt>
                <c:pt idx="6411">
                  <c:v>134.83885968559107</c:v>
                </c:pt>
                <c:pt idx="6412">
                  <c:v>134.51227387527211</c:v>
                </c:pt>
                <c:pt idx="6413">
                  <c:v>136.22736287914844</c:v>
                </c:pt>
                <c:pt idx="6414">
                  <c:v>135.2065254720508</c:v>
                </c:pt>
                <c:pt idx="6415">
                  <c:v>135.2065254720508</c:v>
                </c:pt>
                <c:pt idx="6416">
                  <c:v>135.2065254720508</c:v>
                </c:pt>
                <c:pt idx="6417">
                  <c:v>134.98469360089072</c:v>
                </c:pt>
                <c:pt idx="6418">
                  <c:v>134.4198439289554</c:v>
                </c:pt>
                <c:pt idx="6419">
                  <c:v>135.62759522749346</c:v>
                </c:pt>
                <c:pt idx="6420">
                  <c:v>135.2681454362619</c:v>
                </c:pt>
                <c:pt idx="6421">
                  <c:v>134.21649804705871</c:v>
                </c:pt>
                <c:pt idx="6422">
                  <c:v>134.21649804705871</c:v>
                </c:pt>
                <c:pt idx="6423">
                  <c:v>134.21649804705871</c:v>
                </c:pt>
                <c:pt idx="6424">
                  <c:v>135.1859854839804</c:v>
                </c:pt>
                <c:pt idx="6425">
                  <c:v>134.95593761759218</c:v>
                </c:pt>
                <c:pt idx="6426">
                  <c:v>135.59267724777382</c:v>
                </c:pt>
                <c:pt idx="6427">
                  <c:v>135.20036347562967</c:v>
                </c:pt>
                <c:pt idx="6428">
                  <c:v>136.63405464294186</c:v>
                </c:pt>
                <c:pt idx="6429">
                  <c:v>136.63405464294186</c:v>
                </c:pt>
                <c:pt idx="6430">
                  <c:v>136.63405464294186</c:v>
                </c:pt>
                <c:pt idx="6431">
                  <c:v>137.84385994028696</c:v>
                </c:pt>
                <c:pt idx="6432">
                  <c:v>138.96945128654352</c:v>
                </c:pt>
                <c:pt idx="6433">
                  <c:v>137.82537395102364</c:v>
                </c:pt>
                <c:pt idx="6434">
                  <c:v>137.19068831964904</c:v>
                </c:pt>
                <c:pt idx="6435">
                  <c:v>137.19068831964904</c:v>
                </c:pt>
                <c:pt idx="6436">
                  <c:v>137.19068831964904</c:v>
                </c:pt>
                <c:pt idx="6437">
                  <c:v>137.19068831964904</c:v>
                </c:pt>
                <c:pt idx="6438">
                  <c:v>136.15136492328807</c:v>
                </c:pt>
                <c:pt idx="6439">
                  <c:v>134.33562997786692</c:v>
                </c:pt>
                <c:pt idx="6440">
                  <c:v>134.66221578818588</c:v>
                </c:pt>
                <c:pt idx="6441">
                  <c:v>133.88169624151163</c:v>
                </c:pt>
                <c:pt idx="6442">
                  <c:v>132.74172690360584</c:v>
                </c:pt>
                <c:pt idx="6443">
                  <c:v>132.74172690360584</c:v>
                </c:pt>
                <c:pt idx="6444">
                  <c:v>132.74172690360584</c:v>
                </c:pt>
                <c:pt idx="6445">
                  <c:v>134.00904416754796</c:v>
                </c:pt>
                <c:pt idx="6446">
                  <c:v>133.61673039540381</c:v>
                </c:pt>
                <c:pt idx="6447">
                  <c:v>132.05774530086234</c:v>
                </c:pt>
                <c:pt idx="6448">
                  <c:v>133.08474470438108</c:v>
                </c:pt>
                <c:pt idx="6449">
                  <c:v>133.28398258866372</c:v>
                </c:pt>
                <c:pt idx="6450">
                  <c:v>133.28398258866372</c:v>
                </c:pt>
                <c:pt idx="6451">
                  <c:v>133.28398258866372</c:v>
                </c:pt>
                <c:pt idx="6452">
                  <c:v>131.75991547384191</c:v>
                </c:pt>
                <c:pt idx="6453">
                  <c:v>131.96942335215974</c:v>
                </c:pt>
                <c:pt idx="6454">
                  <c:v>131.18479580787138</c:v>
                </c:pt>
                <c:pt idx="6455">
                  <c:v>131.80304944878969</c:v>
                </c:pt>
                <c:pt idx="6456">
                  <c:v>132.45005907300649</c:v>
                </c:pt>
                <c:pt idx="6457">
                  <c:v>132.45005907300649</c:v>
                </c:pt>
                <c:pt idx="6458">
                  <c:v>132.45005907300649</c:v>
                </c:pt>
                <c:pt idx="6459">
                  <c:v>132.45005907300649</c:v>
                </c:pt>
                <c:pt idx="6460">
                  <c:v>132.28984716605754</c:v>
                </c:pt>
                <c:pt idx="6461">
                  <c:v>131.20122779832769</c:v>
                </c:pt>
                <c:pt idx="6462">
                  <c:v>131.40457368022442</c:v>
                </c:pt>
                <c:pt idx="6463">
                  <c:v>130.5870821550235</c:v>
                </c:pt>
                <c:pt idx="6464">
                  <c:v>130.5870821550235</c:v>
                </c:pt>
                <c:pt idx="6465">
                  <c:v>130.5870821550235</c:v>
                </c:pt>
                <c:pt idx="6466">
                  <c:v>131.32857572436404</c:v>
                </c:pt>
                <c:pt idx="6467">
                  <c:v>130.53367818604053</c:v>
                </c:pt>
                <c:pt idx="6468">
                  <c:v>131.28954974703035</c:v>
                </c:pt>
                <c:pt idx="6469">
                  <c:v>131.60175756570004</c:v>
                </c:pt>
                <c:pt idx="6470">
                  <c:v>130.9095599677284</c:v>
                </c:pt>
                <c:pt idx="6471">
                  <c:v>130.9095599677284</c:v>
                </c:pt>
                <c:pt idx="6472">
                  <c:v>130.9095599677284</c:v>
                </c:pt>
                <c:pt idx="6473">
                  <c:v>129.04247505213129</c:v>
                </c:pt>
                <c:pt idx="6474">
                  <c:v>129.03836705451724</c:v>
                </c:pt>
                <c:pt idx="6475">
                  <c:v>128.51665135752972</c:v>
                </c:pt>
                <c:pt idx="6476">
                  <c:v>128.14693157226296</c:v>
                </c:pt>
                <c:pt idx="6477">
                  <c:v>127.99288166173514</c:v>
                </c:pt>
                <c:pt idx="6478">
                  <c:v>127.99288166173514</c:v>
                </c:pt>
                <c:pt idx="6479">
                  <c:v>127.99288166173514</c:v>
                </c:pt>
                <c:pt idx="6480">
                  <c:v>128.7302672334616</c:v>
                </c:pt>
                <c:pt idx="6481">
                  <c:v>128.08736560685887</c:v>
                </c:pt>
                <c:pt idx="6482">
                  <c:v>127.75461780011878</c:v>
                </c:pt>
                <c:pt idx="6483">
                  <c:v>128.51870535633674</c:v>
                </c:pt>
                <c:pt idx="6484">
                  <c:v>130.13725641628227</c:v>
                </c:pt>
                <c:pt idx="6485">
                  <c:v>130.13725641628227</c:v>
                </c:pt>
                <c:pt idx="6486">
                  <c:v>130.13725641628227</c:v>
                </c:pt>
                <c:pt idx="6487">
                  <c:v>131.11290584962509</c:v>
                </c:pt>
                <c:pt idx="6488">
                  <c:v>131.75786147503487</c:v>
                </c:pt>
                <c:pt idx="6489">
                  <c:v>132.31244115293498</c:v>
                </c:pt>
                <c:pt idx="6490">
                  <c:v>132.93274879266031</c:v>
                </c:pt>
                <c:pt idx="6491">
                  <c:v>132.28984716605754</c:v>
                </c:pt>
                <c:pt idx="6492">
                  <c:v>132.28984716605754</c:v>
                </c:pt>
                <c:pt idx="6493">
                  <c:v>132.28984716605754</c:v>
                </c:pt>
                <c:pt idx="6494">
                  <c:v>132.22206520542531</c:v>
                </c:pt>
                <c:pt idx="6495">
                  <c:v>131.42922166590884</c:v>
                </c:pt>
                <c:pt idx="6496">
                  <c:v>131.49289562892699</c:v>
                </c:pt>
                <c:pt idx="6497">
                  <c:v>132.68216093820172</c:v>
                </c:pt>
                <c:pt idx="6498">
                  <c:v>132.07623129012563</c:v>
                </c:pt>
                <c:pt idx="6499">
                  <c:v>132.07623129012563</c:v>
                </c:pt>
                <c:pt idx="6500">
                  <c:v>132.07623129012563</c:v>
                </c:pt>
                <c:pt idx="6501">
                  <c:v>132.57124500262165</c:v>
                </c:pt>
                <c:pt idx="6502">
                  <c:v>132.93685679027436</c:v>
                </c:pt>
                <c:pt idx="6503">
                  <c:v>133.14431066978514</c:v>
                </c:pt>
                <c:pt idx="6504">
                  <c:v>135.19625547801562</c:v>
                </c:pt>
                <c:pt idx="6505">
                  <c:v>135.79191513205649</c:v>
                </c:pt>
                <c:pt idx="6506">
                  <c:v>135.79191513205649</c:v>
                </c:pt>
                <c:pt idx="6507">
                  <c:v>135.79191513205649</c:v>
                </c:pt>
                <c:pt idx="6508">
                  <c:v>135.09355553766375</c:v>
                </c:pt>
                <c:pt idx="6509">
                  <c:v>134.46503190271025</c:v>
                </c:pt>
                <c:pt idx="6510">
                  <c:v>134.06244813653092</c:v>
                </c:pt>
                <c:pt idx="6511">
                  <c:v>134.94977562117111</c:v>
                </c:pt>
                <c:pt idx="6512">
                  <c:v>135.14695950664674</c:v>
                </c:pt>
                <c:pt idx="6513">
                  <c:v>135.14695950664674</c:v>
                </c:pt>
                <c:pt idx="6514">
                  <c:v>135.14695950664674</c:v>
                </c:pt>
                <c:pt idx="6515">
                  <c:v>135.39549336229825</c:v>
                </c:pt>
                <c:pt idx="6516">
                  <c:v>136.4717887371859</c:v>
                </c:pt>
                <c:pt idx="6517">
                  <c:v>133.737916325019</c:v>
                </c:pt>
                <c:pt idx="6518">
                  <c:v>134.77929372018701</c:v>
                </c:pt>
                <c:pt idx="6519">
                  <c:v>133.39489852424376</c:v>
                </c:pt>
                <c:pt idx="6520">
                  <c:v>133.39489852424376</c:v>
                </c:pt>
                <c:pt idx="6521">
                  <c:v>133.39489852424376</c:v>
                </c:pt>
                <c:pt idx="6522">
                  <c:v>139.43981701335514</c:v>
                </c:pt>
                <c:pt idx="6523">
                  <c:v>140.31482050515314</c:v>
                </c:pt>
                <c:pt idx="6524">
                  <c:v>138.66545946310202</c:v>
                </c:pt>
                <c:pt idx="6525">
                  <c:v>137.7719699820407</c:v>
                </c:pt>
                <c:pt idx="6526">
                  <c:v>139.5137609704085</c:v>
                </c:pt>
                <c:pt idx="6527">
                  <c:v>139.5137609704085</c:v>
                </c:pt>
                <c:pt idx="6528">
                  <c:v>139.5137609704085</c:v>
                </c:pt>
                <c:pt idx="6529">
                  <c:v>141.82861762593978</c:v>
                </c:pt>
                <c:pt idx="6530">
                  <c:v>142.74264709507148</c:v>
                </c:pt>
                <c:pt idx="6531">
                  <c:v>142.17779742313616</c:v>
                </c:pt>
                <c:pt idx="6532">
                  <c:v>142.48589724419176</c:v>
                </c:pt>
                <c:pt idx="6533">
                  <c:v>142.8679410223007</c:v>
                </c:pt>
                <c:pt idx="6534">
                  <c:v>142.8679410223007</c:v>
                </c:pt>
                <c:pt idx="6535">
                  <c:v>142.8679410223007</c:v>
                </c:pt>
                <c:pt idx="6536">
                  <c:v>144.9815057947423</c:v>
                </c:pt>
                <c:pt idx="6537">
                  <c:v>146.4706549298445</c:v>
                </c:pt>
                <c:pt idx="6538">
                  <c:v>145.33890158716684</c:v>
                </c:pt>
                <c:pt idx="6539">
                  <c:v>145.33890158716684</c:v>
                </c:pt>
                <c:pt idx="6540">
                  <c:v>145.09447572912936</c:v>
                </c:pt>
                <c:pt idx="6541">
                  <c:v>145.09447572912936</c:v>
                </c:pt>
                <c:pt idx="6542">
                  <c:v>145.09447572912936</c:v>
                </c:pt>
                <c:pt idx="6543">
                  <c:v>142.53313921675357</c:v>
                </c:pt>
                <c:pt idx="6544">
                  <c:v>143.30133477058561</c:v>
                </c:pt>
                <c:pt idx="6545">
                  <c:v>143.64846056897497</c:v>
                </c:pt>
                <c:pt idx="6546">
                  <c:v>144.51114006793071</c:v>
                </c:pt>
                <c:pt idx="6547">
                  <c:v>145.92839924478662</c:v>
                </c:pt>
                <c:pt idx="6548">
                  <c:v>145.92839924478662</c:v>
                </c:pt>
                <c:pt idx="6549">
                  <c:v>145.92839924478662</c:v>
                </c:pt>
                <c:pt idx="6550">
                  <c:v>145.48268150365948</c:v>
                </c:pt>
                <c:pt idx="6551">
                  <c:v>146.17077110401704</c:v>
                </c:pt>
                <c:pt idx="6552">
                  <c:v>146.51995090121341</c:v>
                </c:pt>
                <c:pt idx="6553">
                  <c:v>147.94542607329743</c:v>
                </c:pt>
                <c:pt idx="6554">
                  <c:v>147.52024832024068</c:v>
                </c:pt>
                <c:pt idx="6555">
                  <c:v>147.52024832024068</c:v>
                </c:pt>
                <c:pt idx="6556">
                  <c:v>147.52024832024068</c:v>
                </c:pt>
                <c:pt idx="6557">
                  <c:v>147.74618818901479</c:v>
                </c:pt>
                <c:pt idx="6558">
                  <c:v>148.95393948755287</c:v>
                </c:pt>
                <c:pt idx="6559">
                  <c:v>148.35622583470496</c:v>
                </c:pt>
                <c:pt idx="6560">
                  <c:v>148.6930816390591</c:v>
                </c:pt>
                <c:pt idx="6561">
                  <c:v>148.84713154958692</c:v>
                </c:pt>
                <c:pt idx="6562">
                  <c:v>148.84713154958692</c:v>
                </c:pt>
                <c:pt idx="6563">
                  <c:v>148.84713154958692</c:v>
                </c:pt>
                <c:pt idx="6564">
                  <c:v>149.3709012453815</c:v>
                </c:pt>
                <c:pt idx="6565">
                  <c:v>150.45746661430434</c:v>
                </c:pt>
                <c:pt idx="6566">
                  <c:v>152.07190967663581</c:v>
                </c:pt>
                <c:pt idx="6567">
                  <c:v>151.57484196533275</c:v>
                </c:pt>
                <c:pt idx="6568">
                  <c:v>151.57484196533275</c:v>
                </c:pt>
                <c:pt idx="6569">
                  <c:v>151.57484196533275</c:v>
                </c:pt>
                <c:pt idx="6570">
                  <c:v>151.57484196533275</c:v>
                </c:pt>
                <c:pt idx="6571">
                  <c:v>151.23798616097858</c:v>
                </c:pt>
                <c:pt idx="6572">
                  <c:v>149.81045699008752</c:v>
                </c:pt>
                <c:pt idx="6573">
                  <c:v>150.41433263935653</c:v>
                </c:pt>
                <c:pt idx="6574">
                  <c:v>149.38733323583779</c:v>
                </c:pt>
                <c:pt idx="6575">
                  <c:v>149.38733323583779</c:v>
                </c:pt>
                <c:pt idx="6576">
                  <c:v>149.38733323583779</c:v>
                </c:pt>
                <c:pt idx="6577">
                  <c:v>149.38733323583779</c:v>
                </c:pt>
                <c:pt idx="6578">
                  <c:v>149.36884724657446</c:v>
                </c:pt>
                <c:pt idx="6579">
                  <c:v>150.79843041627257</c:v>
                </c:pt>
                <c:pt idx="6580">
                  <c:v>153.5446268212817</c:v>
                </c:pt>
                <c:pt idx="6581">
                  <c:v>153.55489681531688</c:v>
                </c:pt>
                <c:pt idx="6582">
                  <c:v>152.56281539151774</c:v>
                </c:pt>
                <c:pt idx="6583">
                  <c:v>152.56281539151774</c:v>
                </c:pt>
                <c:pt idx="6584">
                  <c:v>152.56281539151774</c:v>
                </c:pt>
                <c:pt idx="6585">
                  <c:v>153.22009500976975</c:v>
                </c:pt>
                <c:pt idx="6586">
                  <c:v>154.76675611146899</c:v>
                </c:pt>
                <c:pt idx="6587">
                  <c:v>153.4152248964383</c:v>
                </c:pt>
                <c:pt idx="6588">
                  <c:v>155.72186555674145</c:v>
                </c:pt>
                <c:pt idx="6589">
                  <c:v>155.48565569393213</c:v>
                </c:pt>
                <c:pt idx="6590">
                  <c:v>155.48565569393213</c:v>
                </c:pt>
                <c:pt idx="6591">
                  <c:v>155.48565569393213</c:v>
                </c:pt>
                <c:pt idx="6592">
                  <c:v>155.48565569393213</c:v>
                </c:pt>
                <c:pt idx="6593">
                  <c:v>155.28436381084245</c:v>
                </c:pt>
                <c:pt idx="6594">
                  <c:v>155.03172195757682</c:v>
                </c:pt>
                <c:pt idx="6595">
                  <c:v>154.45660229160632</c:v>
                </c:pt>
                <c:pt idx="6596">
                  <c:v>155.73418954958365</c:v>
                </c:pt>
                <c:pt idx="6597">
                  <c:v>155.73418954958365</c:v>
                </c:pt>
                <c:pt idx="6598">
                  <c:v>155.73418954958365</c:v>
                </c:pt>
                <c:pt idx="6599">
                  <c:v>155.55138365575729</c:v>
                </c:pt>
                <c:pt idx="6600">
                  <c:v>155.30490379891282</c:v>
                </c:pt>
                <c:pt idx="6601">
                  <c:v>156.45514313085383</c:v>
                </c:pt>
                <c:pt idx="6602">
                  <c:v>154.53876224388782</c:v>
                </c:pt>
                <c:pt idx="6603">
                  <c:v>154.14644847174367</c:v>
                </c:pt>
                <c:pt idx="6604">
                  <c:v>154.14644847174367</c:v>
                </c:pt>
                <c:pt idx="6605">
                  <c:v>154.14644847174367</c:v>
                </c:pt>
                <c:pt idx="6606">
                  <c:v>155.5616536497925</c:v>
                </c:pt>
                <c:pt idx="6607">
                  <c:v>155.07896393013868</c:v>
                </c:pt>
                <c:pt idx="6608">
                  <c:v>155.79375551498774</c:v>
                </c:pt>
                <c:pt idx="6609">
                  <c:v>156.50649310102975</c:v>
                </c:pt>
                <c:pt idx="6610">
                  <c:v>156.94604884573576</c:v>
                </c:pt>
                <c:pt idx="6611">
                  <c:v>156.94604884573576</c:v>
                </c:pt>
                <c:pt idx="6612">
                  <c:v>156.94604884573576</c:v>
                </c:pt>
                <c:pt idx="6613">
                  <c:v>158.35920002497755</c:v>
                </c:pt>
                <c:pt idx="6614">
                  <c:v>158.73302780785838</c:v>
                </c:pt>
                <c:pt idx="6615">
                  <c:v>159.06372161579142</c:v>
                </c:pt>
                <c:pt idx="6616">
                  <c:v>159.4293334034441</c:v>
                </c:pt>
                <c:pt idx="6617">
                  <c:v>159.40263141895258</c:v>
                </c:pt>
                <c:pt idx="6618">
                  <c:v>159.40263141895258</c:v>
                </c:pt>
                <c:pt idx="6619">
                  <c:v>159.40263141895258</c:v>
                </c:pt>
                <c:pt idx="6620">
                  <c:v>159.40263141895258</c:v>
                </c:pt>
                <c:pt idx="6621">
                  <c:v>158.74535180070058</c:v>
                </c:pt>
                <c:pt idx="6622">
                  <c:v>157.94429226595594</c:v>
                </c:pt>
                <c:pt idx="6623">
                  <c:v>156.79405293401493</c:v>
                </c:pt>
                <c:pt idx="6624">
                  <c:v>158.8459977422454</c:v>
                </c:pt>
                <c:pt idx="6625">
                  <c:v>158.8459977422454</c:v>
                </c:pt>
                <c:pt idx="6626">
                  <c:v>158.8459977422454</c:v>
                </c:pt>
                <c:pt idx="6627">
                  <c:v>159.45603538793554</c:v>
                </c:pt>
                <c:pt idx="6628">
                  <c:v>159.42317140702292</c:v>
                </c:pt>
                <c:pt idx="6629">
                  <c:v>160.11947700260862</c:v>
                </c:pt>
                <c:pt idx="6630">
                  <c:v>158.72275781382314</c:v>
                </c:pt>
                <c:pt idx="6631">
                  <c:v>159.39030742611033</c:v>
                </c:pt>
                <c:pt idx="6632">
                  <c:v>159.39030742611033</c:v>
                </c:pt>
                <c:pt idx="6633">
                  <c:v>159.39030742611033</c:v>
                </c:pt>
                <c:pt idx="6634">
                  <c:v>159.92229311713302</c:v>
                </c:pt>
                <c:pt idx="6635">
                  <c:v>158.64675985796271</c:v>
                </c:pt>
                <c:pt idx="6636">
                  <c:v>159.85656515530781</c:v>
                </c:pt>
                <c:pt idx="6637">
                  <c:v>159.31636346905694</c:v>
                </c:pt>
                <c:pt idx="6638">
                  <c:v>159.95104910043153</c:v>
                </c:pt>
                <c:pt idx="6639">
                  <c:v>159.95104910043153</c:v>
                </c:pt>
                <c:pt idx="6640">
                  <c:v>159.95104910043153</c:v>
                </c:pt>
                <c:pt idx="6641">
                  <c:v>161.26560833693551</c:v>
                </c:pt>
                <c:pt idx="6642">
                  <c:v>159.52997934498882</c:v>
                </c:pt>
                <c:pt idx="6643">
                  <c:v>160.47481879622606</c:v>
                </c:pt>
                <c:pt idx="6644">
                  <c:v>161.47922421286739</c:v>
                </c:pt>
                <c:pt idx="6645">
                  <c:v>162.13444983231238</c:v>
                </c:pt>
                <c:pt idx="6646">
                  <c:v>162.13444983231238</c:v>
                </c:pt>
                <c:pt idx="6647">
                  <c:v>162.13444983231238</c:v>
                </c:pt>
                <c:pt idx="6648">
                  <c:v>162.54319559491285</c:v>
                </c:pt>
                <c:pt idx="6649">
                  <c:v>161.26560833693551</c:v>
                </c:pt>
                <c:pt idx="6650">
                  <c:v>161.60657213890374</c:v>
                </c:pt>
                <c:pt idx="6651">
                  <c:v>160.086613021696</c:v>
                </c:pt>
                <c:pt idx="6652">
                  <c:v>161.01912848009101</c:v>
                </c:pt>
                <c:pt idx="6653">
                  <c:v>161.01912848009101</c:v>
                </c:pt>
                <c:pt idx="6654">
                  <c:v>161.01912848009101</c:v>
                </c:pt>
                <c:pt idx="6655">
                  <c:v>159.50327736049735</c:v>
                </c:pt>
                <c:pt idx="6656">
                  <c:v>156.65848901275044</c:v>
                </c:pt>
                <c:pt idx="6657">
                  <c:v>155.55754565217833</c:v>
                </c:pt>
                <c:pt idx="6658">
                  <c:v>157.49035852960063</c:v>
                </c:pt>
                <c:pt idx="6659">
                  <c:v>157.2253926834928</c:v>
                </c:pt>
                <c:pt idx="6660">
                  <c:v>157.2253926834928</c:v>
                </c:pt>
                <c:pt idx="6661">
                  <c:v>157.2253926834928</c:v>
                </c:pt>
                <c:pt idx="6662">
                  <c:v>154.99269598024304</c:v>
                </c:pt>
                <c:pt idx="6663">
                  <c:v>156.68313699843492</c:v>
                </c:pt>
                <c:pt idx="6664">
                  <c:v>156.73448696861084</c:v>
                </c:pt>
                <c:pt idx="6665">
                  <c:v>157.18225870854499</c:v>
                </c:pt>
                <c:pt idx="6666">
                  <c:v>157.18225870854499</c:v>
                </c:pt>
                <c:pt idx="6667">
                  <c:v>157.18225870854499</c:v>
                </c:pt>
                <c:pt idx="6668">
                  <c:v>157.18225870854499</c:v>
                </c:pt>
                <c:pt idx="6669">
                  <c:v>156.39763116425667</c:v>
                </c:pt>
                <c:pt idx="6670">
                  <c:v>156.51265509745079</c:v>
                </c:pt>
                <c:pt idx="6671">
                  <c:v>155.647921599688</c:v>
                </c:pt>
                <c:pt idx="6672">
                  <c:v>155.77526952572433</c:v>
                </c:pt>
                <c:pt idx="6673">
                  <c:v>155.11798990747235</c:v>
                </c:pt>
                <c:pt idx="6674">
                  <c:v>155.11798990747235</c:v>
                </c:pt>
                <c:pt idx="6675">
                  <c:v>155.11798990747235</c:v>
                </c:pt>
                <c:pt idx="6676">
                  <c:v>155.39117174880832</c:v>
                </c:pt>
                <c:pt idx="6677">
                  <c:v>154.3764963381318</c:v>
                </c:pt>
                <c:pt idx="6678">
                  <c:v>155.82661949590027</c:v>
                </c:pt>
                <c:pt idx="6679">
                  <c:v>155.25149982992977</c:v>
                </c:pt>
                <c:pt idx="6680">
                  <c:v>155.55138365575723</c:v>
                </c:pt>
                <c:pt idx="6681">
                  <c:v>155.55138365575723</c:v>
                </c:pt>
                <c:pt idx="6682">
                  <c:v>155.55138365575723</c:v>
                </c:pt>
                <c:pt idx="6683">
                  <c:v>155.60889562235431</c:v>
                </c:pt>
                <c:pt idx="6684">
                  <c:v>154.50795226178221</c:v>
                </c:pt>
                <c:pt idx="6685">
                  <c:v>155.00912797069932</c:v>
                </c:pt>
                <c:pt idx="6686">
                  <c:v>155.45895370944055</c:v>
                </c:pt>
                <c:pt idx="6687">
                  <c:v>156.23125726088665</c:v>
                </c:pt>
                <c:pt idx="6688">
                  <c:v>156.23125726088665</c:v>
                </c:pt>
                <c:pt idx="6689">
                  <c:v>156.23125726088665</c:v>
                </c:pt>
                <c:pt idx="6690">
                  <c:v>157.29933664054616</c:v>
                </c:pt>
                <c:pt idx="6691">
                  <c:v>157.27674265366875</c:v>
                </c:pt>
                <c:pt idx="6692">
                  <c:v>157.60538246279475</c:v>
                </c:pt>
                <c:pt idx="6693">
                  <c:v>156.80637692685715</c:v>
                </c:pt>
                <c:pt idx="6694">
                  <c:v>155.93753543148031</c:v>
                </c:pt>
                <c:pt idx="6695">
                  <c:v>155.93753543148031</c:v>
                </c:pt>
                <c:pt idx="6696">
                  <c:v>155.93753543148031</c:v>
                </c:pt>
                <c:pt idx="6697">
                  <c:v>156.029965377797</c:v>
                </c:pt>
                <c:pt idx="6698">
                  <c:v>155.92521143863809</c:v>
                </c:pt>
                <c:pt idx="6699">
                  <c:v>155.55959965098543</c:v>
                </c:pt>
                <c:pt idx="6700">
                  <c:v>155.15496188599906</c:v>
                </c:pt>
                <c:pt idx="6701">
                  <c:v>155.78759351856664</c:v>
                </c:pt>
                <c:pt idx="6702">
                  <c:v>155.78759351856664</c:v>
                </c:pt>
                <c:pt idx="6703">
                  <c:v>155.78759351856664</c:v>
                </c:pt>
                <c:pt idx="6704">
                  <c:v>155.02966795876978</c:v>
                </c:pt>
                <c:pt idx="6705">
                  <c:v>155.39733374522947</c:v>
                </c:pt>
                <c:pt idx="6706">
                  <c:v>154.22039242879703</c:v>
                </c:pt>
                <c:pt idx="6707">
                  <c:v>154.85097006255754</c:v>
                </c:pt>
                <c:pt idx="6708">
                  <c:v>155.45484571182658</c:v>
                </c:pt>
                <c:pt idx="6709">
                  <c:v>155.45484571182658</c:v>
                </c:pt>
                <c:pt idx="6710">
                  <c:v>155.45484571182658</c:v>
                </c:pt>
                <c:pt idx="6711">
                  <c:v>155.91904944221704</c:v>
                </c:pt>
                <c:pt idx="6712">
                  <c:v>155.81840350067219</c:v>
                </c:pt>
                <c:pt idx="6713">
                  <c:v>155.17550187406945</c:v>
                </c:pt>
                <c:pt idx="6714">
                  <c:v>154.23477042044627</c:v>
                </c:pt>
                <c:pt idx="6715">
                  <c:v>154.31693037272777</c:v>
                </c:pt>
                <c:pt idx="6716">
                  <c:v>154.31693037272777</c:v>
                </c:pt>
                <c:pt idx="6717">
                  <c:v>154.31693037272777</c:v>
                </c:pt>
                <c:pt idx="6718">
                  <c:v>153.74181070675729</c:v>
                </c:pt>
                <c:pt idx="6719">
                  <c:v>152.77643126744965</c:v>
                </c:pt>
                <c:pt idx="6720">
                  <c:v>154.3990903250093</c:v>
                </c:pt>
                <c:pt idx="6721">
                  <c:v>154.96599399575163</c:v>
                </c:pt>
                <c:pt idx="6722">
                  <c:v>154.58395021764264</c:v>
                </c:pt>
                <c:pt idx="6723">
                  <c:v>154.58395021764264</c:v>
                </c:pt>
                <c:pt idx="6724">
                  <c:v>154.58395021764264</c:v>
                </c:pt>
                <c:pt idx="6725">
                  <c:v>154.58395021764264</c:v>
                </c:pt>
                <c:pt idx="6726">
                  <c:v>155.54111366172211</c:v>
                </c:pt>
                <c:pt idx="6727">
                  <c:v>154.92696801841788</c:v>
                </c:pt>
                <c:pt idx="6728">
                  <c:v>154.2881743894292</c:v>
                </c:pt>
                <c:pt idx="6729">
                  <c:v>153.91229260774136</c:v>
                </c:pt>
                <c:pt idx="6730">
                  <c:v>153.91229260774136</c:v>
                </c:pt>
                <c:pt idx="6731">
                  <c:v>153.91229260774136</c:v>
                </c:pt>
                <c:pt idx="6732">
                  <c:v>154.82426807806601</c:v>
                </c:pt>
                <c:pt idx="6733">
                  <c:v>156.81459292208538</c:v>
                </c:pt>
                <c:pt idx="6734">
                  <c:v>156.23536525850079</c:v>
                </c:pt>
                <c:pt idx="6735">
                  <c:v>155.91083344698887</c:v>
                </c:pt>
                <c:pt idx="6736">
                  <c:v>156.6133010389957</c:v>
                </c:pt>
                <c:pt idx="6737">
                  <c:v>156.6133010389957</c:v>
                </c:pt>
                <c:pt idx="6738">
                  <c:v>156.6133010389957</c:v>
                </c:pt>
                <c:pt idx="6739">
                  <c:v>155.82456549709329</c:v>
                </c:pt>
                <c:pt idx="6740">
                  <c:v>155.62738161161769</c:v>
                </c:pt>
                <c:pt idx="6741">
                  <c:v>156.16758329786856</c:v>
                </c:pt>
                <c:pt idx="6742">
                  <c:v>154.85302406136455</c:v>
                </c:pt>
                <c:pt idx="6743">
                  <c:v>154.45660229160632</c:v>
                </c:pt>
                <c:pt idx="6744">
                  <c:v>154.45660229160632</c:v>
                </c:pt>
                <c:pt idx="6745">
                  <c:v>154.45660229160632</c:v>
                </c:pt>
                <c:pt idx="6746">
                  <c:v>154.97215599217273</c:v>
                </c:pt>
                <c:pt idx="6747">
                  <c:v>154.2963903846574</c:v>
                </c:pt>
                <c:pt idx="6748">
                  <c:v>154.51000626058928</c:v>
                </c:pt>
                <c:pt idx="6749">
                  <c:v>154.91669802438273</c:v>
                </c:pt>
                <c:pt idx="6750">
                  <c:v>155.44457571779137</c:v>
                </c:pt>
                <c:pt idx="6751">
                  <c:v>155.44457571779137</c:v>
                </c:pt>
                <c:pt idx="6752">
                  <c:v>155.44457571779137</c:v>
                </c:pt>
                <c:pt idx="6753">
                  <c:v>154.03142453854957</c:v>
                </c:pt>
                <c:pt idx="6754">
                  <c:v>153.32279495012165</c:v>
                </c:pt>
                <c:pt idx="6755">
                  <c:v>153.21393301334865</c:v>
                </c:pt>
                <c:pt idx="6756">
                  <c:v>153.28787697040201</c:v>
                </c:pt>
                <c:pt idx="6757">
                  <c:v>152.16228562414545</c:v>
                </c:pt>
                <c:pt idx="6758">
                  <c:v>152.16228562414545</c:v>
                </c:pt>
                <c:pt idx="6759">
                  <c:v>152.16228562414545</c:v>
                </c:pt>
                <c:pt idx="6760">
                  <c:v>152.16228562414545</c:v>
                </c:pt>
                <c:pt idx="6761">
                  <c:v>151.13528622062671</c:v>
                </c:pt>
                <c:pt idx="6762">
                  <c:v>150.39995464770729</c:v>
                </c:pt>
                <c:pt idx="6763">
                  <c:v>150.34860467753137</c:v>
                </c:pt>
                <c:pt idx="6764">
                  <c:v>151.25441815143489</c:v>
                </c:pt>
                <c:pt idx="6765">
                  <c:v>151.25441815143489</c:v>
                </c:pt>
                <c:pt idx="6766">
                  <c:v>151.25441815143489</c:v>
                </c:pt>
                <c:pt idx="6767">
                  <c:v>150.63616451051661</c:v>
                </c:pt>
                <c:pt idx="6768">
                  <c:v>149.16960936229182</c:v>
                </c:pt>
                <c:pt idx="6769">
                  <c:v>148.13850196115899</c:v>
                </c:pt>
                <c:pt idx="6770">
                  <c:v>147.74208019140076</c:v>
                </c:pt>
                <c:pt idx="6771">
                  <c:v>146.96156064472652</c:v>
                </c:pt>
                <c:pt idx="6772">
                  <c:v>146.96156064472652</c:v>
                </c:pt>
                <c:pt idx="6773">
                  <c:v>146.96156064472652</c:v>
                </c:pt>
                <c:pt idx="6774">
                  <c:v>147.28198445862435</c:v>
                </c:pt>
                <c:pt idx="6775">
                  <c:v>148.49384375477649</c:v>
                </c:pt>
                <c:pt idx="6776">
                  <c:v>148.68897364144505</c:v>
                </c:pt>
                <c:pt idx="6777">
                  <c:v>147.07042258149949</c:v>
                </c:pt>
                <c:pt idx="6778">
                  <c:v>146.97593863637576</c:v>
                </c:pt>
                <c:pt idx="6779">
                  <c:v>146.97593863637576</c:v>
                </c:pt>
                <c:pt idx="6780">
                  <c:v>146.97593863637576</c:v>
                </c:pt>
                <c:pt idx="6781">
                  <c:v>147.01291061490244</c:v>
                </c:pt>
                <c:pt idx="6782">
                  <c:v>146.34741500142229</c:v>
                </c:pt>
                <c:pt idx="6783">
                  <c:v>147.88380610908635</c:v>
                </c:pt>
                <c:pt idx="6784">
                  <c:v>147.64759624627703</c:v>
                </c:pt>
                <c:pt idx="6785">
                  <c:v>147.7769981711204</c:v>
                </c:pt>
                <c:pt idx="6786">
                  <c:v>147.7769981711204</c:v>
                </c:pt>
                <c:pt idx="6787">
                  <c:v>147.7769981711204</c:v>
                </c:pt>
                <c:pt idx="6788">
                  <c:v>147.5798142856448</c:v>
                </c:pt>
                <c:pt idx="6789">
                  <c:v>146.71097279026793</c:v>
                </c:pt>
                <c:pt idx="6790">
                  <c:v>145.93045324359369</c:v>
                </c:pt>
                <c:pt idx="6791">
                  <c:v>146.36179299307156</c:v>
                </c:pt>
                <c:pt idx="6792">
                  <c:v>146.57130087138938</c:v>
                </c:pt>
                <c:pt idx="6793">
                  <c:v>146.57130087138938</c:v>
                </c:pt>
                <c:pt idx="6794">
                  <c:v>146.57130087138938</c:v>
                </c:pt>
                <c:pt idx="6795">
                  <c:v>146.1173671350341</c:v>
                </c:pt>
                <c:pt idx="6796">
                  <c:v>146.22006707538597</c:v>
                </c:pt>
                <c:pt idx="6797">
                  <c:v>146.63497483440753</c:v>
                </c:pt>
                <c:pt idx="6798">
                  <c:v>146.58157086542454</c:v>
                </c:pt>
                <c:pt idx="6799">
                  <c:v>145.8565092865403</c:v>
                </c:pt>
                <c:pt idx="6800">
                  <c:v>145.8565092865403</c:v>
                </c:pt>
                <c:pt idx="6801">
                  <c:v>145.8565092865403</c:v>
                </c:pt>
                <c:pt idx="6802">
                  <c:v>144.68367596772188</c:v>
                </c:pt>
                <c:pt idx="6803">
                  <c:v>144.66929797607264</c:v>
                </c:pt>
                <c:pt idx="6804">
                  <c:v>145.1725276837968</c:v>
                </c:pt>
                <c:pt idx="6805">
                  <c:v>143.78813248785352</c:v>
                </c:pt>
                <c:pt idx="6806">
                  <c:v>144.73297193909076</c:v>
                </c:pt>
                <c:pt idx="6807">
                  <c:v>144.73297193909076</c:v>
                </c:pt>
                <c:pt idx="6808">
                  <c:v>144.73297193909076</c:v>
                </c:pt>
                <c:pt idx="6809">
                  <c:v>144.96096580667194</c:v>
                </c:pt>
                <c:pt idx="6810">
                  <c:v>146.10093514457773</c:v>
                </c:pt>
                <c:pt idx="6811">
                  <c:v>146.4829789226867</c:v>
                </c:pt>
                <c:pt idx="6812">
                  <c:v>146.26114705152668</c:v>
                </c:pt>
                <c:pt idx="6813">
                  <c:v>147.75029618662887</c:v>
                </c:pt>
                <c:pt idx="6814">
                  <c:v>147.75029618662887</c:v>
                </c:pt>
                <c:pt idx="6815">
                  <c:v>147.75029618662887</c:v>
                </c:pt>
                <c:pt idx="6816">
                  <c:v>147.27787646101024</c:v>
                </c:pt>
                <c:pt idx="6817">
                  <c:v>147.66197423792624</c:v>
                </c:pt>
                <c:pt idx="6818">
                  <c:v>148.25352589435306</c:v>
                </c:pt>
                <c:pt idx="6819">
                  <c:v>148.59654369512833</c:v>
                </c:pt>
                <c:pt idx="6820">
                  <c:v>148.23298590628269</c:v>
                </c:pt>
                <c:pt idx="6821">
                  <c:v>148.23298590628269</c:v>
                </c:pt>
                <c:pt idx="6822">
                  <c:v>148.23298590628269</c:v>
                </c:pt>
                <c:pt idx="6823">
                  <c:v>148.23298590628269</c:v>
                </c:pt>
                <c:pt idx="6824">
                  <c:v>147.95364206852562</c:v>
                </c:pt>
                <c:pt idx="6825">
                  <c:v>147.6948382188389</c:v>
                </c:pt>
                <c:pt idx="6826">
                  <c:v>147.87969811147229</c:v>
                </c:pt>
                <c:pt idx="6827">
                  <c:v>147.36209041209884</c:v>
                </c:pt>
                <c:pt idx="6828">
                  <c:v>147.36209041209884</c:v>
                </c:pt>
                <c:pt idx="6829">
                  <c:v>147.36209041209884</c:v>
                </c:pt>
                <c:pt idx="6830">
                  <c:v>147.93310208045526</c:v>
                </c:pt>
                <c:pt idx="6831">
                  <c:v>147.55105830234629</c:v>
                </c:pt>
                <c:pt idx="6832">
                  <c:v>147.42576437511701</c:v>
                </c:pt>
                <c:pt idx="6833">
                  <c:v>147.47916834409997</c:v>
                </c:pt>
                <c:pt idx="6834">
                  <c:v>148.08509799217606</c:v>
                </c:pt>
                <c:pt idx="6835">
                  <c:v>148.08509799217606</c:v>
                </c:pt>
                <c:pt idx="6836">
                  <c:v>148.08509799217606</c:v>
                </c:pt>
                <c:pt idx="6837">
                  <c:v>148.08920598979014</c:v>
                </c:pt>
                <c:pt idx="6838">
                  <c:v>148.21449991701945</c:v>
                </c:pt>
                <c:pt idx="6839">
                  <c:v>148.29460587049391</c:v>
                </c:pt>
                <c:pt idx="6840">
                  <c:v>148.67870364740992</c:v>
                </c:pt>
                <c:pt idx="6841">
                  <c:v>148.69102764025212</c:v>
                </c:pt>
                <c:pt idx="6842">
                  <c:v>148.69102764025212</c:v>
                </c:pt>
                <c:pt idx="6843">
                  <c:v>148.69102764025212</c:v>
                </c:pt>
                <c:pt idx="6844">
                  <c:v>150.18633877177544</c:v>
                </c:pt>
                <c:pt idx="6845">
                  <c:v>150.29725470735548</c:v>
                </c:pt>
                <c:pt idx="6846">
                  <c:v>150.07747683500244</c:v>
                </c:pt>
                <c:pt idx="6847">
                  <c:v>150.28082271689917</c:v>
                </c:pt>
                <c:pt idx="6848">
                  <c:v>151.05723426595935</c:v>
                </c:pt>
                <c:pt idx="6849">
                  <c:v>151.05723426595935</c:v>
                </c:pt>
                <c:pt idx="6850">
                  <c:v>151.05723426595935</c:v>
                </c:pt>
                <c:pt idx="6851">
                  <c:v>151.21950017171531</c:v>
                </c:pt>
                <c:pt idx="6852">
                  <c:v>150.46773660833958</c:v>
                </c:pt>
                <c:pt idx="6853">
                  <c:v>149.78375500559611</c:v>
                </c:pt>
                <c:pt idx="6854">
                  <c:v>150.30341670377661</c:v>
                </c:pt>
                <c:pt idx="6855">
                  <c:v>149.88234694833392</c:v>
                </c:pt>
                <c:pt idx="6856">
                  <c:v>149.88234694833392</c:v>
                </c:pt>
                <c:pt idx="6857">
                  <c:v>149.88234694833392</c:v>
                </c:pt>
                <c:pt idx="6858">
                  <c:v>149.77964700798205</c:v>
                </c:pt>
                <c:pt idx="6859">
                  <c:v>150.4513046178833</c:v>
                </c:pt>
                <c:pt idx="6860">
                  <c:v>150.46157461191848</c:v>
                </c:pt>
                <c:pt idx="6861">
                  <c:v>150.30547070258365</c:v>
                </c:pt>
                <c:pt idx="6862">
                  <c:v>149.05458542909778</c:v>
                </c:pt>
                <c:pt idx="6863">
                  <c:v>149.05458542909778</c:v>
                </c:pt>
                <c:pt idx="6864">
                  <c:v>149.05458542909778</c:v>
                </c:pt>
                <c:pt idx="6865">
                  <c:v>148.65610966053251</c:v>
                </c:pt>
                <c:pt idx="6866">
                  <c:v>148.20217592417723</c:v>
                </c:pt>
                <c:pt idx="6867">
                  <c:v>148.10358398143941</c:v>
                </c:pt>
                <c:pt idx="6868">
                  <c:v>147.90845409477086</c:v>
                </c:pt>
                <c:pt idx="6869">
                  <c:v>147.54489630592522</c:v>
                </c:pt>
                <c:pt idx="6870">
                  <c:v>147.54489630592522</c:v>
                </c:pt>
                <c:pt idx="6871">
                  <c:v>147.54489630592522</c:v>
                </c:pt>
                <c:pt idx="6872">
                  <c:v>147.32511843357221</c:v>
                </c:pt>
                <c:pt idx="6873">
                  <c:v>146.20568908373676</c:v>
                </c:pt>
                <c:pt idx="6874">
                  <c:v>145.49705949530883</c:v>
                </c:pt>
                <c:pt idx="6875">
                  <c:v>145.95099323166414</c:v>
                </c:pt>
                <c:pt idx="6876">
                  <c:v>145.91607525194448</c:v>
                </c:pt>
                <c:pt idx="6877">
                  <c:v>145.91607525194448</c:v>
                </c:pt>
                <c:pt idx="6878">
                  <c:v>145.91607525194448</c:v>
                </c:pt>
                <c:pt idx="6879">
                  <c:v>148.54930172256655</c:v>
                </c:pt>
                <c:pt idx="6880">
                  <c:v>147.81191615084009</c:v>
                </c:pt>
                <c:pt idx="6881">
                  <c:v>149.17577135871298</c:v>
                </c:pt>
                <c:pt idx="6882">
                  <c:v>147.95364206852565</c:v>
                </c:pt>
                <c:pt idx="6883">
                  <c:v>148.84096955316585</c:v>
                </c:pt>
                <c:pt idx="6884">
                  <c:v>148.84096955316585</c:v>
                </c:pt>
                <c:pt idx="6885">
                  <c:v>148.84096955316585</c:v>
                </c:pt>
                <c:pt idx="6886">
                  <c:v>148.14877195519421</c:v>
                </c:pt>
                <c:pt idx="6887">
                  <c:v>148.07072000052679</c:v>
                </c:pt>
                <c:pt idx="6888">
                  <c:v>148.2021759241772</c:v>
                </c:pt>
                <c:pt idx="6889">
                  <c:v>148.55135572137357</c:v>
                </c:pt>
                <c:pt idx="6890">
                  <c:v>147.86942811743711</c:v>
                </c:pt>
                <c:pt idx="6891">
                  <c:v>147.86942811743711</c:v>
                </c:pt>
                <c:pt idx="6892">
                  <c:v>147.86942811743711</c:v>
                </c:pt>
                <c:pt idx="6893">
                  <c:v>147.90023809954266</c:v>
                </c:pt>
                <c:pt idx="6894">
                  <c:v>147.51408632381961</c:v>
                </c:pt>
                <c:pt idx="6895">
                  <c:v>146.72945877953129</c:v>
                </c:pt>
                <c:pt idx="6896">
                  <c:v>145.782565329487</c:v>
                </c:pt>
                <c:pt idx="6897">
                  <c:v>145.48473550246655</c:v>
                </c:pt>
                <c:pt idx="6898">
                  <c:v>145.48473550246655</c:v>
                </c:pt>
                <c:pt idx="6899">
                  <c:v>145.48473550246655</c:v>
                </c:pt>
                <c:pt idx="6900">
                  <c:v>145.52581547860731</c:v>
                </c:pt>
                <c:pt idx="6901">
                  <c:v>144.89112984723272</c:v>
                </c:pt>
                <c:pt idx="6902">
                  <c:v>144.77199791642454</c:v>
                </c:pt>
                <c:pt idx="6903">
                  <c:v>144.77199791642454</c:v>
                </c:pt>
                <c:pt idx="6904">
                  <c:v>143.84769845325766</c:v>
                </c:pt>
                <c:pt idx="6905">
                  <c:v>143.84769845325766</c:v>
                </c:pt>
                <c:pt idx="6906">
                  <c:v>143.84769845325766</c:v>
                </c:pt>
                <c:pt idx="6907">
                  <c:v>142.35649531934843</c:v>
                </c:pt>
                <c:pt idx="6908">
                  <c:v>142.72005310819407</c:v>
                </c:pt>
                <c:pt idx="6909">
                  <c:v>142.08947547443356</c:v>
                </c:pt>
                <c:pt idx="6910">
                  <c:v>143.04253092089894</c:v>
                </c:pt>
                <c:pt idx="6911">
                  <c:v>141.94364155913385</c:v>
                </c:pt>
                <c:pt idx="6912">
                  <c:v>141.94364155913385</c:v>
                </c:pt>
                <c:pt idx="6913">
                  <c:v>141.94364155913385</c:v>
                </c:pt>
                <c:pt idx="6914">
                  <c:v>143.44306068827126</c:v>
                </c:pt>
                <c:pt idx="6915">
                  <c:v>142.6995131201237</c:v>
                </c:pt>
                <c:pt idx="6916">
                  <c:v>143.43484469304315</c:v>
                </c:pt>
                <c:pt idx="6917">
                  <c:v>142.33595533127806</c:v>
                </c:pt>
                <c:pt idx="6918">
                  <c:v>141.27198394923261</c:v>
                </c:pt>
                <c:pt idx="6919">
                  <c:v>141.27198394923261</c:v>
                </c:pt>
                <c:pt idx="6920">
                  <c:v>141.27198394923261</c:v>
                </c:pt>
                <c:pt idx="6921">
                  <c:v>140.96593812698401</c:v>
                </c:pt>
                <c:pt idx="6922">
                  <c:v>141.43219585618155</c:v>
                </c:pt>
                <c:pt idx="6923">
                  <c:v>141.18571599933702</c:v>
                </c:pt>
                <c:pt idx="6924">
                  <c:v>140.11969061848455</c:v>
                </c:pt>
                <c:pt idx="6925">
                  <c:v>142.51259922868326</c:v>
                </c:pt>
                <c:pt idx="6926">
                  <c:v>142.51259922868326</c:v>
                </c:pt>
                <c:pt idx="6927">
                  <c:v>142.51259922868326</c:v>
                </c:pt>
                <c:pt idx="6928">
                  <c:v>141.72591768558789</c:v>
                </c:pt>
                <c:pt idx="6929">
                  <c:v>142.45508726208621</c:v>
                </c:pt>
                <c:pt idx="6930">
                  <c:v>142.51054522987624</c:v>
                </c:pt>
                <c:pt idx="6931">
                  <c:v>142.62762316187735</c:v>
                </c:pt>
                <c:pt idx="6932">
                  <c:v>142.62762316187735</c:v>
                </c:pt>
                <c:pt idx="6933">
                  <c:v>142.62762316187735</c:v>
                </c:pt>
                <c:pt idx="6934">
                  <c:v>142.62762316187735</c:v>
                </c:pt>
                <c:pt idx="6935">
                  <c:v>142.26817337064577</c:v>
                </c:pt>
                <c:pt idx="6936">
                  <c:v>142.23120139211912</c:v>
                </c:pt>
                <c:pt idx="6937">
                  <c:v>142.19422941359241</c:v>
                </c:pt>
                <c:pt idx="6938">
                  <c:v>142.2537953789965</c:v>
                </c:pt>
                <c:pt idx="6939">
                  <c:v>142.0833134780124</c:v>
                </c:pt>
                <c:pt idx="6940">
                  <c:v>142.0833134780124</c:v>
                </c:pt>
                <c:pt idx="6941">
                  <c:v>142.0833134780124</c:v>
                </c:pt>
                <c:pt idx="6942">
                  <c:v>143.37527872763897</c:v>
                </c:pt>
                <c:pt idx="6943">
                  <c:v>143.24998480040969</c:v>
                </c:pt>
                <c:pt idx="6944">
                  <c:v>142.47562725015655</c:v>
                </c:pt>
                <c:pt idx="6945">
                  <c:v>143.03842292328483</c:v>
                </c:pt>
                <c:pt idx="6946">
                  <c:v>142.89464300679222</c:v>
                </c:pt>
                <c:pt idx="6947">
                  <c:v>142.89464300679222</c:v>
                </c:pt>
                <c:pt idx="6948">
                  <c:v>142.89464300679222</c:v>
                </c:pt>
                <c:pt idx="6949">
                  <c:v>142.99939694595113</c:v>
                </c:pt>
                <c:pt idx="6950">
                  <c:v>142.83302304258109</c:v>
                </c:pt>
                <c:pt idx="6951">
                  <c:v>141.76494366292161</c:v>
                </c:pt>
                <c:pt idx="6952">
                  <c:v>142.90902099844149</c:v>
                </c:pt>
                <c:pt idx="6953">
                  <c:v>143.31776676104195</c:v>
                </c:pt>
                <c:pt idx="6954">
                  <c:v>143.31776676104195</c:v>
                </c:pt>
                <c:pt idx="6955">
                  <c:v>143.31776676104195</c:v>
                </c:pt>
                <c:pt idx="6956">
                  <c:v>143.31776676104195</c:v>
                </c:pt>
                <c:pt idx="6957">
                  <c:v>142.56189520005216</c:v>
                </c:pt>
                <c:pt idx="6958">
                  <c:v>142.5701111952803</c:v>
                </c:pt>
                <c:pt idx="6959">
                  <c:v>141.99704552811684</c:v>
                </c:pt>
                <c:pt idx="6960">
                  <c:v>142.00526152334498</c:v>
                </c:pt>
                <c:pt idx="6961">
                  <c:v>142.00526152334498</c:v>
                </c:pt>
                <c:pt idx="6962">
                  <c:v>142.00526152334498</c:v>
                </c:pt>
                <c:pt idx="6963">
                  <c:v>143.74499851290577</c:v>
                </c:pt>
                <c:pt idx="6964">
                  <c:v>142.79194306644038</c:v>
                </c:pt>
                <c:pt idx="6965">
                  <c:v>142.45714126089325</c:v>
                </c:pt>
                <c:pt idx="6966">
                  <c:v>141.53489579653345</c:v>
                </c:pt>
                <c:pt idx="6967">
                  <c:v>141.13025803154707</c:v>
                </c:pt>
                <c:pt idx="6968">
                  <c:v>141.13025803154707</c:v>
                </c:pt>
                <c:pt idx="6969">
                  <c:v>141.13025803154707</c:v>
                </c:pt>
                <c:pt idx="6970">
                  <c:v>141.7998616426413</c:v>
                </c:pt>
                <c:pt idx="6971">
                  <c:v>141.87791359730872</c:v>
                </c:pt>
                <c:pt idx="6972">
                  <c:v>140.14228460536202</c:v>
                </c:pt>
                <c:pt idx="6973">
                  <c:v>140.04163866381717</c:v>
                </c:pt>
                <c:pt idx="6974">
                  <c:v>140.6229203262088</c:v>
                </c:pt>
                <c:pt idx="6975">
                  <c:v>140.6229203262088</c:v>
                </c:pt>
                <c:pt idx="6976">
                  <c:v>140.6229203262088</c:v>
                </c:pt>
                <c:pt idx="6977">
                  <c:v>141.10766404466966</c:v>
                </c:pt>
                <c:pt idx="6978">
                  <c:v>142.32363133843586</c:v>
                </c:pt>
                <c:pt idx="6979">
                  <c:v>142.1613654326799</c:v>
                </c:pt>
                <c:pt idx="6980">
                  <c:v>142.80426705928264</c:v>
                </c:pt>
                <c:pt idx="6981">
                  <c:v>143.65051456778207</c:v>
                </c:pt>
                <c:pt idx="6982">
                  <c:v>143.65051456778207</c:v>
                </c:pt>
                <c:pt idx="6983">
                  <c:v>143.65051456778207</c:v>
                </c:pt>
                <c:pt idx="6984">
                  <c:v>143.76553850097616</c:v>
                </c:pt>
                <c:pt idx="6985">
                  <c:v>144.69805395937121</c:v>
                </c:pt>
                <c:pt idx="6986">
                  <c:v>144.99382978758459</c:v>
                </c:pt>
                <c:pt idx="6987">
                  <c:v>144.33655016933261</c:v>
                </c:pt>
                <c:pt idx="6988">
                  <c:v>144.42487211803521</c:v>
                </c:pt>
                <c:pt idx="6989">
                  <c:v>144.42487211803521</c:v>
                </c:pt>
                <c:pt idx="6990">
                  <c:v>144.42487211803521</c:v>
                </c:pt>
                <c:pt idx="6991">
                  <c:v>144.42487211803521</c:v>
                </c:pt>
                <c:pt idx="6992">
                  <c:v>144.29547019319185</c:v>
                </c:pt>
                <c:pt idx="6993">
                  <c:v>143.9586143888377</c:v>
                </c:pt>
                <c:pt idx="6994">
                  <c:v>144.20714824448925</c:v>
                </c:pt>
                <c:pt idx="6995">
                  <c:v>144.28314620034962</c:v>
                </c:pt>
                <c:pt idx="6996">
                  <c:v>144.28314620034962</c:v>
                </c:pt>
                <c:pt idx="6997">
                  <c:v>144.28314620034962</c:v>
                </c:pt>
                <c:pt idx="6998">
                  <c:v>144.48649208224634</c:v>
                </c:pt>
                <c:pt idx="6999">
                  <c:v>144.25849821466517</c:v>
                </c:pt>
                <c:pt idx="7000">
                  <c:v>144.71859394744158</c:v>
                </c:pt>
                <c:pt idx="7001">
                  <c:v>144.33244217171853</c:v>
                </c:pt>
                <c:pt idx="7002">
                  <c:v>143.25409279802383</c:v>
                </c:pt>
                <c:pt idx="7003">
                  <c:v>143.25409279802383</c:v>
                </c:pt>
                <c:pt idx="7004">
                  <c:v>143.25409279802383</c:v>
                </c:pt>
                <c:pt idx="7005">
                  <c:v>143.48414066441202</c:v>
                </c:pt>
                <c:pt idx="7006">
                  <c:v>144.70216195698526</c:v>
                </c:pt>
                <c:pt idx="7007">
                  <c:v>144.9835597935494</c:v>
                </c:pt>
                <c:pt idx="7008">
                  <c:v>145.28138962056983</c:v>
                </c:pt>
                <c:pt idx="7009">
                  <c:v>145.22387765397278</c:v>
                </c:pt>
                <c:pt idx="7010">
                  <c:v>145.22387765397278</c:v>
                </c:pt>
                <c:pt idx="7011">
                  <c:v>145.22387765397278</c:v>
                </c:pt>
                <c:pt idx="7012">
                  <c:v>144.17839226119071</c:v>
                </c:pt>
                <c:pt idx="7013">
                  <c:v>143.68337854869463</c:v>
                </c:pt>
                <c:pt idx="7014">
                  <c:v>144.03050434708399</c:v>
                </c:pt>
                <c:pt idx="7015">
                  <c:v>143.74910651051985</c:v>
                </c:pt>
                <c:pt idx="7016">
                  <c:v>143.78402449023949</c:v>
                </c:pt>
                <c:pt idx="7017">
                  <c:v>143.78402449023949</c:v>
                </c:pt>
                <c:pt idx="7018">
                  <c:v>143.78402449023949</c:v>
                </c:pt>
                <c:pt idx="7019">
                  <c:v>143.64640657016798</c:v>
                </c:pt>
                <c:pt idx="7020">
                  <c:v>143.5334366357809</c:v>
                </c:pt>
                <c:pt idx="7021">
                  <c:v>143.18425683858453</c:v>
                </c:pt>
                <c:pt idx="7022">
                  <c:v>142.82686104615999</c:v>
                </c:pt>
                <c:pt idx="7023">
                  <c:v>142.8494550330374</c:v>
                </c:pt>
                <c:pt idx="7024">
                  <c:v>142.8494550330374</c:v>
                </c:pt>
                <c:pt idx="7025">
                  <c:v>142.8494550330374</c:v>
                </c:pt>
                <c:pt idx="7026">
                  <c:v>141.84915761401012</c:v>
                </c:pt>
                <c:pt idx="7027">
                  <c:v>142.83302304258106</c:v>
                </c:pt>
                <c:pt idx="7028">
                  <c:v>142.01142351976605</c:v>
                </c:pt>
                <c:pt idx="7029">
                  <c:v>142.7529170891066</c:v>
                </c:pt>
                <c:pt idx="7030">
                  <c:v>143.44716868588529</c:v>
                </c:pt>
                <c:pt idx="7031">
                  <c:v>143.44716868588529</c:v>
                </c:pt>
                <c:pt idx="7032">
                  <c:v>143.44716868588529</c:v>
                </c:pt>
                <c:pt idx="7033">
                  <c:v>142.68513512847437</c:v>
                </c:pt>
                <c:pt idx="7034">
                  <c:v>141.88407559372976</c:v>
                </c:pt>
                <c:pt idx="7035">
                  <c:v>141.3110099265663</c:v>
                </c:pt>
                <c:pt idx="7036">
                  <c:v>140.5387063751202</c:v>
                </c:pt>
                <c:pt idx="7037">
                  <c:v>140.22033656002938</c:v>
                </c:pt>
                <c:pt idx="7038">
                  <c:v>140.22033656002938</c:v>
                </c:pt>
                <c:pt idx="7039">
                  <c:v>140.22033656002938</c:v>
                </c:pt>
                <c:pt idx="7040">
                  <c:v>141.57392177386708</c:v>
                </c:pt>
                <c:pt idx="7041">
                  <c:v>141.88202159492272</c:v>
                </c:pt>
                <c:pt idx="7042">
                  <c:v>142.66664913921105</c:v>
                </c:pt>
                <c:pt idx="7043">
                  <c:v>143.08361089703965</c:v>
                </c:pt>
                <c:pt idx="7044">
                  <c:v>143.08361089703965</c:v>
                </c:pt>
                <c:pt idx="7045">
                  <c:v>143.08361089703965</c:v>
                </c:pt>
                <c:pt idx="7046">
                  <c:v>143.08361089703965</c:v>
                </c:pt>
                <c:pt idx="7047">
                  <c:v>142.80015906166847</c:v>
                </c:pt>
                <c:pt idx="7048">
                  <c:v>143.13701486602261</c:v>
                </c:pt>
                <c:pt idx="7049">
                  <c:v>143.31365876342784</c:v>
                </c:pt>
                <c:pt idx="7050">
                  <c:v>143.14317686244371</c:v>
                </c:pt>
                <c:pt idx="7051">
                  <c:v>143.66694655823829</c:v>
                </c:pt>
                <c:pt idx="7052">
                  <c:v>143.66694655823829</c:v>
                </c:pt>
                <c:pt idx="7053">
                  <c:v>143.66694655823829</c:v>
                </c:pt>
                <c:pt idx="7054">
                  <c:v>144.07569232083875</c:v>
                </c:pt>
                <c:pt idx="7055">
                  <c:v>143.49646465725417</c:v>
                </c:pt>
                <c:pt idx="7056">
                  <c:v>142.84534703542329</c:v>
                </c:pt>
                <c:pt idx="7057">
                  <c:v>142.65021714875473</c:v>
                </c:pt>
                <c:pt idx="7058">
                  <c:v>143.89699442462651</c:v>
                </c:pt>
                <c:pt idx="7059">
                  <c:v>143.89699442462651</c:v>
                </c:pt>
                <c:pt idx="7060">
                  <c:v>143.89699442462651</c:v>
                </c:pt>
                <c:pt idx="7061">
                  <c:v>144.71243195102039</c:v>
                </c:pt>
                <c:pt idx="7062">
                  <c:v>145.24236364323608</c:v>
                </c:pt>
                <c:pt idx="7063">
                  <c:v>144.95274981144379</c:v>
                </c:pt>
                <c:pt idx="7064">
                  <c:v>144.46184409656183</c:v>
                </c:pt>
                <c:pt idx="7065">
                  <c:v>143.41841270258678</c:v>
                </c:pt>
                <c:pt idx="7066">
                  <c:v>143.41841270258678</c:v>
                </c:pt>
                <c:pt idx="7067">
                  <c:v>143.41841270258678</c:v>
                </c:pt>
                <c:pt idx="7068">
                  <c:v>143.6073805928342</c:v>
                </c:pt>
                <c:pt idx="7069">
                  <c:v>142.72621510461511</c:v>
                </c:pt>
                <c:pt idx="7070">
                  <c:v>141.87996759611565</c:v>
                </c:pt>
                <c:pt idx="7071">
                  <c:v>143.13496086721557</c:v>
                </c:pt>
                <c:pt idx="7072">
                  <c:v>143.74705251171275</c:v>
                </c:pt>
                <c:pt idx="7073">
                  <c:v>143.74705251171275</c:v>
                </c:pt>
                <c:pt idx="7074">
                  <c:v>143.74705251171275</c:v>
                </c:pt>
                <c:pt idx="7075">
                  <c:v>144.14142028266394</c:v>
                </c:pt>
                <c:pt idx="7076">
                  <c:v>145.41284554422018</c:v>
                </c:pt>
                <c:pt idx="7077">
                  <c:v>146.14201512071847</c:v>
                </c:pt>
                <c:pt idx="7078">
                  <c:v>146.39260297517706</c:v>
                </c:pt>
                <c:pt idx="7079">
                  <c:v>146.50762690837115</c:v>
                </c:pt>
                <c:pt idx="7080">
                  <c:v>146.50762690837115</c:v>
                </c:pt>
                <c:pt idx="7081">
                  <c:v>146.50762690837115</c:v>
                </c:pt>
                <c:pt idx="7082">
                  <c:v>145.35327957881609</c:v>
                </c:pt>
                <c:pt idx="7083">
                  <c:v>144.30779418603402</c:v>
                </c:pt>
                <c:pt idx="7084">
                  <c:v>145.11501571719975</c:v>
                </c:pt>
                <c:pt idx="7085">
                  <c:v>144.65081198680929</c:v>
                </c:pt>
                <c:pt idx="7086">
                  <c:v>144.36530615263106</c:v>
                </c:pt>
                <c:pt idx="7087">
                  <c:v>144.36530615263106</c:v>
                </c:pt>
                <c:pt idx="7088">
                  <c:v>144.36530615263106</c:v>
                </c:pt>
                <c:pt idx="7089">
                  <c:v>144.36530615263106</c:v>
                </c:pt>
                <c:pt idx="7090">
                  <c:v>144.27698420392844</c:v>
                </c:pt>
                <c:pt idx="7091">
                  <c:v>144.58303002617703</c:v>
                </c:pt>
                <c:pt idx="7092">
                  <c:v>145.19922966828827</c:v>
                </c:pt>
                <c:pt idx="7093">
                  <c:v>145.33479358955276</c:v>
                </c:pt>
                <c:pt idx="7094">
                  <c:v>145.33479358955276</c:v>
                </c:pt>
                <c:pt idx="7095">
                  <c:v>145.33479358955276</c:v>
                </c:pt>
                <c:pt idx="7096">
                  <c:v>145.6716493939069</c:v>
                </c:pt>
                <c:pt idx="7097">
                  <c:v>146.31044302289556</c:v>
                </c:pt>
                <c:pt idx="7098">
                  <c:v>146.1276371290692</c:v>
                </c:pt>
                <c:pt idx="7099">
                  <c:v>146.27552504317592</c:v>
                </c:pt>
                <c:pt idx="7100">
                  <c:v>146.18720309447332</c:v>
                </c:pt>
                <c:pt idx="7101">
                  <c:v>146.18720309447332</c:v>
                </c:pt>
                <c:pt idx="7102">
                  <c:v>146.18720309447332</c:v>
                </c:pt>
                <c:pt idx="7103">
                  <c:v>145.08420573509417</c:v>
                </c:pt>
                <c:pt idx="7104">
                  <c:v>145.35944157523721</c:v>
                </c:pt>
                <c:pt idx="7105">
                  <c:v>146.14406911952554</c:v>
                </c:pt>
                <c:pt idx="7106">
                  <c:v>144.33244217171847</c:v>
                </c:pt>
                <c:pt idx="7107">
                  <c:v>146.02904518633144</c:v>
                </c:pt>
                <c:pt idx="7108">
                  <c:v>146.02904518633144</c:v>
                </c:pt>
                <c:pt idx="7109">
                  <c:v>146.02904518633144</c:v>
                </c:pt>
                <c:pt idx="7110">
                  <c:v>146.02904518633144</c:v>
                </c:pt>
                <c:pt idx="7111">
                  <c:v>144.86442786274117</c:v>
                </c:pt>
                <c:pt idx="7112">
                  <c:v>144.99177578877749</c:v>
                </c:pt>
                <c:pt idx="7113">
                  <c:v>146.04753117559477</c:v>
                </c:pt>
                <c:pt idx="7114">
                  <c:v>146.51789690240636</c:v>
                </c:pt>
                <c:pt idx="7115">
                  <c:v>146.51789690240636</c:v>
                </c:pt>
                <c:pt idx="7116">
                  <c:v>146.51789690240636</c:v>
                </c:pt>
                <c:pt idx="7117">
                  <c:v>146.881454691252</c:v>
                </c:pt>
                <c:pt idx="7118">
                  <c:v>146.73767477475937</c:v>
                </c:pt>
                <c:pt idx="7119">
                  <c:v>146.29811903005336</c:v>
                </c:pt>
                <c:pt idx="7120">
                  <c:v>145.89758926268104</c:v>
                </c:pt>
                <c:pt idx="7121">
                  <c:v>146.30428102647446</c:v>
                </c:pt>
                <c:pt idx="7122">
                  <c:v>146.30428102647446</c:v>
                </c:pt>
                <c:pt idx="7123">
                  <c:v>146.30428102647446</c:v>
                </c:pt>
                <c:pt idx="7124">
                  <c:v>146.30428102647446</c:v>
                </c:pt>
                <c:pt idx="7125">
                  <c:v>147.6599202391192</c:v>
                </c:pt>
                <c:pt idx="7126">
                  <c:v>146.80340273658459</c:v>
                </c:pt>
                <c:pt idx="7127">
                  <c:v>147.78316016754147</c:v>
                </c:pt>
                <c:pt idx="7128">
                  <c:v>147.74618818901476</c:v>
                </c:pt>
                <c:pt idx="7129">
                  <c:v>147.74618818901476</c:v>
                </c:pt>
                <c:pt idx="7130">
                  <c:v>147.74618818901476</c:v>
                </c:pt>
                <c:pt idx="7131">
                  <c:v>146.59594885707378</c:v>
                </c:pt>
                <c:pt idx="7132">
                  <c:v>147.10123256360498</c:v>
                </c:pt>
                <c:pt idx="7133">
                  <c:v>147.15874453020206</c:v>
                </c:pt>
                <c:pt idx="7134">
                  <c:v>146.18309509685923</c:v>
                </c:pt>
                <c:pt idx="7135">
                  <c:v>145.80926731397841</c:v>
                </c:pt>
                <c:pt idx="7136">
                  <c:v>145.80926731397841</c:v>
                </c:pt>
                <c:pt idx="7137">
                  <c:v>145.80926731397841</c:v>
                </c:pt>
                <c:pt idx="7138">
                  <c:v>146.06807116366514</c:v>
                </c:pt>
                <c:pt idx="7139">
                  <c:v>146.21185108015777</c:v>
                </c:pt>
                <c:pt idx="7140">
                  <c:v>147.4401423667662</c:v>
                </c:pt>
                <c:pt idx="7141">
                  <c:v>147.57981428564472</c:v>
                </c:pt>
                <c:pt idx="7142">
                  <c:v>146.60211085349485</c:v>
                </c:pt>
                <c:pt idx="7143">
                  <c:v>146.60211085349485</c:v>
                </c:pt>
                <c:pt idx="7144">
                  <c:v>146.60211085349485</c:v>
                </c:pt>
                <c:pt idx="7145">
                  <c:v>146.57951686661744</c:v>
                </c:pt>
                <c:pt idx="7146">
                  <c:v>146.51789690240633</c:v>
                </c:pt>
                <c:pt idx="7147">
                  <c:v>146.44189894654593</c:v>
                </c:pt>
                <c:pt idx="7148">
                  <c:v>146.33714500738702</c:v>
                </c:pt>
                <c:pt idx="7149">
                  <c:v>146.0249371887173</c:v>
                </c:pt>
                <c:pt idx="7150">
                  <c:v>146.0249371887173</c:v>
                </c:pt>
                <c:pt idx="7151">
                  <c:v>146.0249371887173</c:v>
                </c:pt>
                <c:pt idx="7152">
                  <c:v>146.41725096086148</c:v>
                </c:pt>
                <c:pt idx="7153">
                  <c:v>146.45627693819517</c:v>
                </c:pt>
                <c:pt idx="7154">
                  <c:v>146.80340273658453</c:v>
                </c:pt>
                <c:pt idx="7155">
                  <c:v>145.81748330920652</c:v>
                </c:pt>
                <c:pt idx="7156">
                  <c:v>146.72535078191711</c:v>
                </c:pt>
                <c:pt idx="7157">
                  <c:v>146.72535078191711</c:v>
                </c:pt>
                <c:pt idx="7158">
                  <c:v>146.72535078191711</c:v>
                </c:pt>
                <c:pt idx="7159">
                  <c:v>147.88380610908627</c:v>
                </c:pt>
                <c:pt idx="7160">
                  <c:v>146.54459888689783</c:v>
                </c:pt>
                <c:pt idx="7161">
                  <c:v>147.06015258746424</c:v>
                </c:pt>
                <c:pt idx="7162">
                  <c:v>147.09507056718388</c:v>
                </c:pt>
                <c:pt idx="7163">
                  <c:v>147.1792845182724</c:v>
                </c:pt>
                <c:pt idx="7164">
                  <c:v>147.1792845182724</c:v>
                </c:pt>
                <c:pt idx="7165">
                  <c:v>147.1792845182724</c:v>
                </c:pt>
                <c:pt idx="7166">
                  <c:v>146.96361464353348</c:v>
                </c:pt>
                <c:pt idx="7167">
                  <c:v>147.30663244430875</c:v>
                </c:pt>
                <c:pt idx="7168">
                  <c:v>146.15228511475365</c:v>
                </c:pt>
                <c:pt idx="7169">
                  <c:v>146.45627693819523</c:v>
                </c:pt>
                <c:pt idx="7170">
                  <c:v>145.85240128892622</c:v>
                </c:pt>
                <c:pt idx="7171">
                  <c:v>145.85240128892622</c:v>
                </c:pt>
                <c:pt idx="7172">
                  <c:v>145.85240128892622</c:v>
                </c:pt>
                <c:pt idx="7173">
                  <c:v>145.73737735573212</c:v>
                </c:pt>
                <c:pt idx="7174">
                  <c:v>145.93661524001476</c:v>
                </c:pt>
                <c:pt idx="7175">
                  <c:v>146.40903496563337</c:v>
                </c:pt>
                <c:pt idx="7176">
                  <c:v>146.37822498352782</c:v>
                </c:pt>
                <c:pt idx="7177">
                  <c:v>146.62265084156527</c:v>
                </c:pt>
                <c:pt idx="7178">
                  <c:v>146.62265084156527</c:v>
                </c:pt>
                <c:pt idx="7179">
                  <c:v>146.62265084156527</c:v>
                </c:pt>
                <c:pt idx="7180">
                  <c:v>146.26114705152668</c:v>
                </c:pt>
                <c:pt idx="7181">
                  <c:v>146.23649906584222</c:v>
                </c:pt>
                <c:pt idx="7182">
                  <c:v>146.18104109805222</c:v>
                </c:pt>
                <c:pt idx="7183">
                  <c:v>144.5768680297559</c:v>
                </c:pt>
                <c:pt idx="7184">
                  <c:v>145.03285576491822</c:v>
                </c:pt>
                <c:pt idx="7185">
                  <c:v>145.03285576491822</c:v>
                </c:pt>
                <c:pt idx="7186">
                  <c:v>145.03285576491822</c:v>
                </c:pt>
                <c:pt idx="7187">
                  <c:v>145.03285576491822</c:v>
                </c:pt>
                <c:pt idx="7188">
                  <c:v>144.25233621824395</c:v>
                </c:pt>
                <c:pt idx="7189">
                  <c:v>144.6035700142474</c:v>
                </c:pt>
                <c:pt idx="7190">
                  <c:v>144.7411879343189</c:v>
                </c:pt>
                <c:pt idx="7191">
                  <c:v>145.78461932829396</c:v>
                </c:pt>
                <c:pt idx="7192">
                  <c:v>145.78461932829396</c:v>
                </c:pt>
                <c:pt idx="7193">
                  <c:v>145.78461932829396</c:v>
                </c:pt>
                <c:pt idx="7194">
                  <c:v>146.56103087735414</c:v>
                </c:pt>
                <c:pt idx="7195">
                  <c:v>146.16255510878887</c:v>
                </c:pt>
                <c:pt idx="7196">
                  <c:v>145.81337531159249</c:v>
                </c:pt>
                <c:pt idx="7197">
                  <c:v>146.60827284991601</c:v>
                </c:pt>
                <c:pt idx="7198">
                  <c:v>145.39435955495685</c:v>
                </c:pt>
                <c:pt idx="7199">
                  <c:v>145.39435955495685</c:v>
                </c:pt>
                <c:pt idx="7200">
                  <c:v>145.39435955495685</c:v>
                </c:pt>
                <c:pt idx="7201">
                  <c:v>146.10093514457773</c:v>
                </c:pt>
                <c:pt idx="7202">
                  <c:v>145.81132131278545</c:v>
                </c:pt>
                <c:pt idx="7203">
                  <c:v>146.2036350849296</c:v>
                </c:pt>
                <c:pt idx="7204">
                  <c:v>145.09858372674341</c:v>
                </c:pt>
                <c:pt idx="7205">
                  <c:v>144.57276003214184</c:v>
                </c:pt>
                <c:pt idx="7206">
                  <c:v>144.57276003214184</c:v>
                </c:pt>
                <c:pt idx="7207">
                  <c:v>144.57276003214184</c:v>
                </c:pt>
                <c:pt idx="7208">
                  <c:v>143.91137241627578</c:v>
                </c:pt>
                <c:pt idx="7209">
                  <c:v>144.54195005003632</c:v>
                </c:pt>
                <c:pt idx="7210">
                  <c:v>145.29371361341205</c:v>
                </c:pt>
                <c:pt idx="7211">
                  <c:v>144.92604782695236</c:v>
                </c:pt>
                <c:pt idx="7212">
                  <c:v>145.45597951916801</c:v>
                </c:pt>
                <c:pt idx="7213">
                  <c:v>145.45597951916801</c:v>
                </c:pt>
                <c:pt idx="7214">
                  <c:v>145.45597951916801</c:v>
                </c:pt>
                <c:pt idx="7215">
                  <c:v>145.17047368498979</c:v>
                </c:pt>
                <c:pt idx="7216">
                  <c:v>146.18309509685929</c:v>
                </c:pt>
                <c:pt idx="7217">
                  <c:v>145.64905540702952</c:v>
                </c:pt>
                <c:pt idx="7218">
                  <c:v>146.31249702170263</c:v>
                </c:pt>
                <c:pt idx="7219">
                  <c:v>145.85650928654027</c:v>
                </c:pt>
                <c:pt idx="7220">
                  <c:v>145.85650928654027</c:v>
                </c:pt>
                <c:pt idx="7221">
                  <c:v>145.85650928654027</c:v>
                </c:pt>
                <c:pt idx="7222">
                  <c:v>145.88731926864583</c:v>
                </c:pt>
                <c:pt idx="7223">
                  <c:v>146.65551482247784</c:v>
                </c:pt>
                <c:pt idx="7224">
                  <c:v>146.87940069244493</c:v>
                </c:pt>
                <c:pt idx="7225">
                  <c:v>146.50968090717816</c:v>
                </c:pt>
                <c:pt idx="7226">
                  <c:v>146.92869666381384</c:v>
                </c:pt>
                <c:pt idx="7227">
                  <c:v>146.92869666381384</c:v>
                </c:pt>
                <c:pt idx="7228">
                  <c:v>146.92869666381384</c:v>
                </c:pt>
                <c:pt idx="7229">
                  <c:v>147.36209041209875</c:v>
                </c:pt>
                <c:pt idx="7230">
                  <c:v>147.53257231308285</c:v>
                </c:pt>
                <c:pt idx="7231">
                  <c:v>145.81953730801357</c:v>
                </c:pt>
                <c:pt idx="7232">
                  <c:v>145.6408394118013</c:v>
                </c:pt>
                <c:pt idx="7233">
                  <c:v>145.18690567544601</c:v>
                </c:pt>
                <c:pt idx="7234">
                  <c:v>145.18690567544601</c:v>
                </c:pt>
                <c:pt idx="7235">
                  <c:v>145.18690567544601</c:v>
                </c:pt>
                <c:pt idx="7236">
                  <c:v>144.35503615859579</c:v>
                </c:pt>
                <c:pt idx="7237">
                  <c:v>145.47857350604531</c:v>
                </c:pt>
                <c:pt idx="7238">
                  <c:v>145.11706971600671</c:v>
                </c:pt>
                <c:pt idx="7239">
                  <c:v>145.67370339271389</c:v>
                </c:pt>
                <c:pt idx="7240">
                  <c:v>145.47035751081717</c:v>
                </c:pt>
                <c:pt idx="7241">
                  <c:v>145.47035751081717</c:v>
                </c:pt>
                <c:pt idx="7242">
                  <c:v>145.47035751081717</c:v>
                </c:pt>
                <c:pt idx="7243">
                  <c:v>146.21801307657881</c:v>
                </c:pt>
                <c:pt idx="7244">
                  <c:v>146.34536100261514</c:v>
                </c:pt>
                <c:pt idx="7245">
                  <c:v>145.13760970407708</c:v>
                </c:pt>
                <c:pt idx="7246">
                  <c:v>145.20128366709523</c:v>
                </c:pt>
                <c:pt idx="7247">
                  <c:v>144.42692611684208</c:v>
                </c:pt>
                <c:pt idx="7248">
                  <c:v>144.42692611684208</c:v>
                </c:pt>
                <c:pt idx="7249">
                  <c:v>144.42692611684208</c:v>
                </c:pt>
                <c:pt idx="7250">
                  <c:v>144.36941415024503</c:v>
                </c:pt>
                <c:pt idx="7251">
                  <c:v>143.33419875149815</c:v>
                </c:pt>
                <c:pt idx="7252">
                  <c:v>143.08771889465362</c:v>
                </c:pt>
                <c:pt idx="7253">
                  <c:v>144.12909628982166</c:v>
                </c:pt>
                <c:pt idx="7254">
                  <c:v>144.94658781502255</c:v>
                </c:pt>
                <c:pt idx="7255">
                  <c:v>144.94658781502255</c:v>
                </c:pt>
                <c:pt idx="7256">
                  <c:v>144.94658781502255</c:v>
                </c:pt>
                <c:pt idx="7257">
                  <c:v>144.15785227312017</c:v>
                </c:pt>
                <c:pt idx="7258">
                  <c:v>145.42311553825527</c:v>
                </c:pt>
                <c:pt idx="7259">
                  <c:v>144.26671420989317</c:v>
                </c:pt>
                <c:pt idx="7260">
                  <c:v>143.98737037213607</c:v>
                </c:pt>
                <c:pt idx="7261">
                  <c:v>143.5231666417456</c:v>
                </c:pt>
                <c:pt idx="7262">
                  <c:v>143.5231666417456</c:v>
                </c:pt>
                <c:pt idx="7263">
                  <c:v>143.5231666417456</c:v>
                </c:pt>
                <c:pt idx="7264">
                  <c:v>143.11647487795219</c:v>
                </c:pt>
                <c:pt idx="7265">
                  <c:v>143.47181667156968</c:v>
                </c:pt>
                <c:pt idx="7266">
                  <c:v>143.59094860237786</c:v>
                </c:pt>
                <c:pt idx="7267">
                  <c:v>143.59094860237786</c:v>
                </c:pt>
                <c:pt idx="7268">
                  <c:v>144.01612635543461</c:v>
                </c:pt>
                <c:pt idx="7269">
                  <c:v>144.01612635543461</c:v>
                </c:pt>
                <c:pt idx="7270">
                  <c:v>144.01612635543461</c:v>
                </c:pt>
                <c:pt idx="7271">
                  <c:v>143.95039839360942</c:v>
                </c:pt>
                <c:pt idx="7272">
                  <c:v>144.15990627192724</c:v>
                </c:pt>
                <c:pt idx="7273">
                  <c:v>144.21947223733133</c:v>
                </c:pt>
                <c:pt idx="7274">
                  <c:v>144.78226791045961</c:v>
                </c:pt>
                <c:pt idx="7275">
                  <c:v>145.62440742134498</c:v>
                </c:pt>
                <c:pt idx="7276">
                  <c:v>145.62440742134498</c:v>
                </c:pt>
                <c:pt idx="7277">
                  <c:v>145.62440742134498</c:v>
                </c:pt>
                <c:pt idx="7278">
                  <c:v>144.5131940667377</c:v>
                </c:pt>
                <c:pt idx="7279">
                  <c:v>143.93807440076719</c:v>
                </c:pt>
                <c:pt idx="7280">
                  <c:v>143.39171071809523</c:v>
                </c:pt>
                <c:pt idx="7281">
                  <c:v>144.11471829817242</c:v>
                </c:pt>
                <c:pt idx="7282">
                  <c:v>143.90315642104756</c:v>
                </c:pt>
                <c:pt idx="7283">
                  <c:v>143.90315642104756</c:v>
                </c:pt>
                <c:pt idx="7284">
                  <c:v>143.90315642104756</c:v>
                </c:pt>
                <c:pt idx="7285">
                  <c:v>144.19482425164688</c:v>
                </c:pt>
                <c:pt idx="7286">
                  <c:v>144.18250025880468</c:v>
                </c:pt>
                <c:pt idx="7287">
                  <c:v>144.68572996652884</c:v>
                </c:pt>
                <c:pt idx="7288">
                  <c:v>144.47006009178992</c:v>
                </c:pt>
                <c:pt idx="7289">
                  <c:v>144.9178318317241</c:v>
                </c:pt>
                <c:pt idx="7290">
                  <c:v>144.9178318317241</c:v>
                </c:pt>
                <c:pt idx="7291">
                  <c:v>144.9178318317241</c:v>
                </c:pt>
                <c:pt idx="7292">
                  <c:v>143.74499851290571</c:v>
                </c:pt>
                <c:pt idx="7293">
                  <c:v>144.20509424568212</c:v>
                </c:pt>
                <c:pt idx="7294">
                  <c:v>144.3303881729114</c:v>
                </c:pt>
                <c:pt idx="7295">
                  <c:v>144.38790013950847</c:v>
                </c:pt>
                <c:pt idx="7296">
                  <c:v>144.29341619438475</c:v>
                </c:pt>
                <c:pt idx="7297">
                  <c:v>144.29341619438475</c:v>
                </c:pt>
                <c:pt idx="7298">
                  <c:v>144.29341619438475</c:v>
                </c:pt>
                <c:pt idx="7299">
                  <c:v>144.29341619438475</c:v>
                </c:pt>
                <c:pt idx="7300">
                  <c:v>143.84769845325761</c:v>
                </c:pt>
                <c:pt idx="7301">
                  <c:v>143.24998480040969</c:v>
                </c:pt>
                <c:pt idx="7302">
                  <c:v>144.49060007986037</c:v>
                </c:pt>
                <c:pt idx="7303">
                  <c:v>144.65286598561633</c:v>
                </c:pt>
                <c:pt idx="7304">
                  <c:v>144.65286598561633</c:v>
                </c:pt>
                <c:pt idx="7305">
                  <c:v>144.65286598561633</c:v>
                </c:pt>
                <c:pt idx="7306">
                  <c:v>144.65286598561633</c:v>
                </c:pt>
                <c:pt idx="7307">
                  <c:v>144.07774631964583</c:v>
                </c:pt>
                <c:pt idx="7308">
                  <c:v>144.83361788063561</c:v>
                </c:pt>
                <c:pt idx="7309">
                  <c:v>144.7288639414767</c:v>
                </c:pt>
                <c:pt idx="7310">
                  <c:v>144.45157410252665</c:v>
                </c:pt>
                <c:pt idx="7311">
                  <c:v>144.45157410252665</c:v>
                </c:pt>
                <c:pt idx="7312">
                  <c:v>144.45157410252665</c:v>
                </c:pt>
                <c:pt idx="7313">
                  <c:v>145.0842057350942</c:v>
                </c:pt>
                <c:pt idx="7314">
                  <c:v>145.47241150962429</c:v>
                </c:pt>
                <c:pt idx="7315">
                  <c:v>146.08655715292852</c:v>
                </c:pt>
                <c:pt idx="7316">
                  <c:v>146.72740478072421</c:v>
                </c:pt>
                <c:pt idx="7317">
                  <c:v>146.89377868409423</c:v>
                </c:pt>
                <c:pt idx="7318">
                  <c:v>146.89377868409423</c:v>
                </c:pt>
                <c:pt idx="7319">
                  <c:v>146.89377868409423</c:v>
                </c:pt>
                <c:pt idx="7320">
                  <c:v>146.89377868409423</c:v>
                </c:pt>
                <c:pt idx="7321">
                  <c:v>147.46068235483659</c:v>
                </c:pt>
                <c:pt idx="7322">
                  <c:v>147.65992023911923</c:v>
                </c:pt>
                <c:pt idx="7323">
                  <c:v>147.71948620452332</c:v>
                </c:pt>
                <c:pt idx="7324">
                  <c:v>148.3315778490205</c:v>
                </c:pt>
                <c:pt idx="7325">
                  <c:v>148.3315778490205</c:v>
                </c:pt>
                <c:pt idx="7326">
                  <c:v>148.3315778490205</c:v>
                </c:pt>
                <c:pt idx="7327">
                  <c:v>148.78551158537579</c:v>
                </c:pt>
                <c:pt idx="7328">
                  <c:v>148.04401801603524</c:v>
                </c:pt>
                <c:pt idx="7329">
                  <c:v>148.10152998263229</c:v>
                </c:pt>
                <c:pt idx="7330">
                  <c:v>148.43222379056533</c:v>
                </c:pt>
                <c:pt idx="7331">
                  <c:v>148.43222379056533</c:v>
                </c:pt>
              </c:numCache>
            </c:numRef>
          </c:val>
          <c:smooth val="0"/>
          <c:extLst>
            <c:ext xmlns:c16="http://schemas.microsoft.com/office/drawing/2014/chart" uri="{C3380CC4-5D6E-409C-BE32-E72D297353CC}">
              <c16:uniqueId val="{00000001-5142-4AF7-B46C-44557F067AF8}"/>
            </c:ext>
          </c:extLst>
        </c:ser>
        <c:dLbls>
          <c:showLegendKey val="0"/>
          <c:showVal val="0"/>
          <c:showCatName val="0"/>
          <c:showSerName val="0"/>
          <c:showPercent val="0"/>
          <c:showBubbleSize val="0"/>
        </c:dLbls>
        <c:smooth val="0"/>
        <c:axId val="570765312"/>
        <c:axId val="570766848"/>
      </c:lineChart>
      <c:dateAx>
        <c:axId val="570765312"/>
        <c:scaling>
          <c:orientation val="minMax"/>
        </c:scaling>
        <c:delete val="0"/>
        <c:axPos val="b"/>
        <c:numFmt formatCode="[$-407]mmm/\ yy;@" sourceLinked="0"/>
        <c:majorTickMark val="out"/>
        <c:minorTickMark val="none"/>
        <c:tickLblPos val="low"/>
        <c:spPr>
          <a:ln w="6350">
            <a:solidFill>
              <a:srgbClr val="000000"/>
            </a:solidFill>
          </a:ln>
        </c:spPr>
        <c:txPr>
          <a:bodyPr rot="0" vert="horz"/>
          <a:lstStyle/>
          <a:p>
            <a:pPr>
              <a:defRPr/>
            </a:pPr>
            <a:endParaRPr lang="de-DE"/>
          </a:p>
        </c:txPr>
        <c:crossAx val="570766848"/>
        <c:crosses val="autoZero"/>
        <c:auto val="0"/>
        <c:lblOffset val="100"/>
        <c:baseTimeUnit val="days"/>
        <c:majorUnit val="2"/>
        <c:majorTimeUnit val="years"/>
        <c:minorUnit val="6"/>
        <c:minorTimeUnit val="months"/>
      </c:dateAx>
      <c:valAx>
        <c:axId val="570766848"/>
        <c:scaling>
          <c:orientation val="minMax"/>
          <c:max val="250"/>
          <c:min val="75"/>
        </c:scaling>
        <c:delete val="0"/>
        <c:axPos val="l"/>
        <c:majorGridlines>
          <c:spPr>
            <a:ln w="6350">
              <a:solidFill>
                <a:srgbClr val="BAB7B4"/>
              </a:solidFill>
              <a:prstDash val="solid"/>
            </a:ln>
          </c:spPr>
        </c:majorGridlines>
        <c:numFmt formatCode="General" sourceLinked="1"/>
        <c:majorTickMark val="out"/>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crossAx val="570765312"/>
        <c:crosses val="autoZero"/>
        <c:crossBetween val="between"/>
        <c:majorUnit val="25"/>
      </c:valAx>
      <c:spPr>
        <a:noFill/>
        <a:extLst>
          <a:ext uri="{909E8E84-426E-40DD-AFC4-6F175D3DCCD1}">
            <a14:hiddenFill xmlns:a14="http://schemas.microsoft.com/office/drawing/2010/main">
              <a:solidFill>
                <a:sysClr val="window" lastClr="FFFFFF"/>
              </a:solidFill>
            </a14:hiddenFill>
          </a:ext>
        </a:extLst>
      </c:spPr>
    </c:plotArea>
    <c:legend>
      <c:legendPos val="b"/>
      <c:layout>
        <c:manualLayout>
          <c:xMode val="edge"/>
          <c:yMode val="edge"/>
          <c:x val="0.28376871980676327"/>
          <c:y val="0.95369594017094017"/>
          <c:w val="0.43274703407082699"/>
          <c:h val="4.5930141370466929E-2"/>
        </c:manualLayout>
      </c:layout>
      <c:overlay val="0"/>
    </c:legend>
    <c:plotVisOnly val="1"/>
    <c:dispBlanksAs val="gap"/>
    <c:showDLblsOverMax val="0"/>
  </c:chart>
  <c:spPr>
    <a:solidFill>
      <a:srgbClr val="FFFFFF"/>
    </a:solidFill>
    <a:ln w="9525" cap="flat" cmpd="sng" algn="ctr">
      <a:noFill/>
      <a:prstDash val="solid"/>
      <a:round/>
    </a:ln>
    <a:effectLst/>
    <a:extLs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txPr>
    <a:bodyPr/>
    <a:lstStyle/>
    <a:p>
      <a:pPr>
        <a:defRPr sz="1000">
          <a:latin typeface="Arial"/>
          <a:ea typeface="Arial"/>
          <a:cs typeface="Arial"/>
        </a:defRPr>
      </a:pPr>
      <a:endParaRPr lang="de-DE"/>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CC929-7E8D-4987-AF0C-160EBB2707D5}" type="datetimeFigureOut">
              <a:rPr lang="en-GB" smtClean="0"/>
              <a:t>30/01/2023</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A15768-B624-48C6-BFC5-58B703331C95}" type="slidenum">
              <a:rPr lang="en-GB" smtClean="0"/>
              <a:t>‹Nr.›</a:t>
            </a:fld>
            <a:endParaRPr lang="en-GB"/>
          </a:p>
        </p:txBody>
      </p:sp>
    </p:spTree>
    <p:extLst>
      <p:ext uri="{BB962C8B-B14F-4D97-AF65-F5344CB8AC3E}">
        <p14:creationId xmlns:p14="http://schemas.microsoft.com/office/powerpoint/2010/main" val="2083997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7.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slide" Target="../slides/slide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slideMaster" Target="../slideMasters/slideMaster2.xml"/><Relationship Id="rId5" Type="http://schemas.openxmlformats.org/officeDocument/2006/relationships/tags" Target="../tags/tag1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slide" Target="../slides/slide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slideMaster" Target="../slideMasters/slideMaster2.xml"/><Relationship Id="rId5" Type="http://schemas.openxmlformats.org/officeDocument/2006/relationships/tags" Target="../tags/tag2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slide" Target="../slides/slide14.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slide" Target="../slides/slide4.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slideMaster" Target="../slideMasters/slideMaster2.xml"/><Relationship Id="rId5" Type="http://schemas.openxmlformats.org/officeDocument/2006/relationships/tags" Target="../tags/tag31.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7544" y="2782800"/>
            <a:ext cx="5472000" cy="1008000"/>
          </a:xfrm>
        </p:spPr>
        <p:txBody>
          <a:bodyPr vert="horz" lIns="0" tIns="0" rIns="0" bIns="18000" rtlCol="0" anchor="b" anchorCtr="0">
            <a:noAutofit/>
          </a:bodyPr>
          <a:lstStyle>
            <a:lvl1pPr>
              <a:defRPr lang="en-US" sz="3000" b="0" baseline="0" dirty="0">
                <a:solidFill>
                  <a:schemeClr val="tx2"/>
                </a:solidFill>
              </a:defRPr>
            </a:lvl1pPr>
          </a:lstStyle>
          <a:p>
            <a:pPr lvl="0"/>
            <a:r>
              <a:rPr lang="de-DE" dirty="0"/>
              <a:t>Titel der</a:t>
            </a:r>
            <a:br>
              <a:rPr lang="de-DE" dirty="0"/>
            </a:br>
            <a:r>
              <a:rPr lang="de-DE" dirty="0"/>
              <a:t>Präsentation</a:t>
            </a:r>
          </a:p>
        </p:txBody>
      </p:sp>
      <p:sp>
        <p:nvSpPr>
          <p:cNvPr id="3" name="Subtitle 2"/>
          <p:cNvSpPr>
            <a:spLocks noGrp="1"/>
          </p:cNvSpPr>
          <p:nvPr>
            <p:ph type="subTitle" idx="1" hasCustomPrompt="1"/>
          </p:nvPr>
        </p:nvSpPr>
        <p:spPr>
          <a:xfrm>
            <a:off x="467544" y="4148701"/>
            <a:ext cx="5472000" cy="1188511"/>
          </a:xfrm>
        </p:spPr>
        <p:txBody>
          <a:bodyPr vert="horz" lIns="0" tIns="0" rIns="0" bIns="0" rtlCol="0" anchor="t" anchorCtr="0">
            <a:noAutofit/>
          </a:bodyPr>
          <a:lstStyle>
            <a:lvl1pPr>
              <a:defRPr lang="en-US" sz="1600" b="0" dirty="0"/>
            </a:lvl1pPr>
          </a:lstStyle>
          <a:p>
            <a:pPr lvl="0">
              <a:spcBef>
                <a:spcPts val="0"/>
              </a:spcBef>
              <a:spcAft>
                <a:spcPts val="336"/>
              </a:spcAft>
            </a:pPr>
            <a:r>
              <a:rPr lang="de-DE" dirty="0"/>
              <a:t>Untertitel der Präsentation</a:t>
            </a:r>
            <a:br>
              <a:rPr lang="de-DE" dirty="0"/>
            </a:br>
            <a:r>
              <a:rPr lang="de-DE" dirty="0"/>
              <a:t>Name des Referenten</a:t>
            </a:r>
          </a:p>
        </p:txBody>
      </p:sp>
      <p:sp>
        <p:nvSpPr>
          <p:cNvPr id="7" name="Textplatzhalter 8">
            <a:extLst>
              <a:ext uri="{FF2B5EF4-FFF2-40B4-BE49-F238E27FC236}">
                <a16:creationId xmlns:a16="http://schemas.microsoft.com/office/drawing/2014/main" id="{151D61B1-56B9-4757-9D38-2334A7624339}"/>
              </a:ext>
            </a:extLst>
          </p:cNvPr>
          <p:cNvSpPr>
            <a:spLocks noGrp="1"/>
          </p:cNvSpPr>
          <p:nvPr>
            <p:ph type="body" sz="quarter" idx="13" hasCustomPrompt="1"/>
          </p:nvPr>
        </p:nvSpPr>
        <p:spPr>
          <a:xfrm>
            <a:off x="0" y="2204864"/>
            <a:ext cx="1583668" cy="355276"/>
          </a:xfrm>
          <a:solidFill>
            <a:schemeClr val="tx2"/>
          </a:solidFill>
        </p:spPr>
        <p:txBody>
          <a:bodyPr wrap="none" lIns="468000" tIns="54000" rIns="108000" bIns="54000" anchor="ctr">
            <a:spAutoFit/>
          </a:bodyPr>
          <a:lstStyle>
            <a:lvl1pPr marL="0" indent="0">
              <a:lnSpc>
                <a:spcPct val="100000"/>
              </a:lnSpc>
              <a:spcBef>
                <a:spcPts val="0"/>
              </a:spcBef>
              <a:buFont typeface="Arial" panose="020B0604020202020204" pitchFamily="34" charset="0"/>
              <a:buNone/>
              <a:defRPr sz="1600" baseline="0">
                <a:solidFill>
                  <a:schemeClr val="bg1"/>
                </a:solidFill>
              </a:defRPr>
            </a:lvl1pPr>
            <a:lvl2pPr marL="0" indent="0">
              <a:lnSpc>
                <a:spcPct val="100000"/>
              </a:lnSpc>
              <a:spcBef>
                <a:spcPts val="0"/>
              </a:spcBef>
              <a:buNone/>
              <a:defRPr sz="1600">
                <a:solidFill>
                  <a:schemeClr val="bg1"/>
                </a:solidFill>
              </a:defRPr>
            </a:lvl2pPr>
            <a:lvl3pPr marL="0" indent="0">
              <a:lnSpc>
                <a:spcPct val="100000"/>
              </a:lnSpc>
              <a:spcBef>
                <a:spcPts val="0"/>
              </a:spcBef>
              <a:buNone/>
              <a:defRPr sz="1600">
                <a:solidFill>
                  <a:schemeClr val="bg1"/>
                </a:solidFill>
              </a:defRPr>
            </a:lvl3pPr>
            <a:lvl4pPr marL="0" indent="0">
              <a:lnSpc>
                <a:spcPct val="100000"/>
              </a:lnSpc>
              <a:spcBef>
                <a:spcPts val="0"/>
              </a:spcBef>
              <a:buNone/>
              <a:defRPr sz="1600">
                <a:solidFill>
                  <a:schemeClr val="bg1"/>
                </a:solidFill>
              </a:defRPr>
            </a:lvl4pPr>
            <a:lvl5pPr marL="0" indent="0">
              <a:lnSpc>
                <a:spcPct val="100000"/>
              </a:lnSpc>
              <a:spcBef>
                <a:spcPts val="0"/>
              </a:spcBef>
              <a:buNone/>
              <a:defRPr sz="1600">
                <a:solidFill>
                  <a:schemeClr val="bg1"/>
                </a:solidFill>
              </a:defRPr>
            </a:lvl5pPr>
            <a:lvl6pPr marL="0" indent="0">
              <a:lnSpc>
                <a:spcPct val="100000"/>
              </a:lnSpc>
              <a:spcBef>
                <a:spcPts val="0"/>
              </a:spcBef>
              <a:buNone/>
              <a:defRPr sz="1600">
                <a:solidFill>
                  <a:schemeClr val="bg1"/>
                </a:solidFill>
              </a:defRPr>
            </a:lvl6pPr>
            <a:lvl7pPr marL="0" indent="0">
              <a:lnSpc>
                <a:spcPct val="100000"/>
              </a:lnSpc>
              <a:spcBef>
                <a:spcPts val="0"/>
              </a:spcBef>
              <a:buNone/>
              <a:defRPr sz="1600">
                <a:solidFill>
                  <a:schemeClr val="bg1"/>
                </a:solidFill>
              </a:defRPr>
            </a:lvl7pPr>
            <a:lvl8pPr marL="0" indent="0">
              <a:lnSpc>
                <a:spcPct val="100000"/>
              </a:lnSpc>
              <a:spcBef>
                <a:spcPts val="0"/>
              </a:spcBef>
              <a:buNone/>
              <a:defRPr sz="1600">
                <a:solidFill>
                  <a:schemeClr val="bg1"/>
                </a:solidFill>
              </a:defRPr>
            </a:lvl8pPr>
            <a:lvl9pPr marL="0" indent="0">
              <a:lnSpc>
                <a:spcPct val="100000"/>
              </a:lnSpc>
              <a:spcBef>
                <a:spcPts val="0"/>
              </a:spcBef>
              <a:buNone/>
              <a:defRPr sz="1600">
                <a:solidFill>
                  <a:schemeClr val="bg1"/>
                </a:solidFill>
              </a:defRPr>
            </a:lvl9pPr>
          </a:lstStyle>
          <a:p>
            <a:pPr lvl="0"/>
            <a:r>
              <a:rPr lang="de-DE" noProof="0" dirty="0"/>
              <a:t>Ort, Datum</a:t>
            </a:r>
          </a:p>
        </p:txBody>
      </p:sp>
      <p:sp>
        <p:nvSpPr>
          <p:cNvPr id="9" name="Freeform 5">
            <a:extLst>
              <a:ext uri="{FF2B5EF4-FFF2-40B4-BE49-F238E27FC236}">
                <a16:creationId xmlns:a16="http://schemas.microsoft.com/office/drawing/2014/main" id="{4460D2D1-3004-4C9A-AEDB-9E6BEDD6CB7E}"/>
              </a:ext>
            </a:extLst>
          </p:cNvPr>
          <p:cNvSpPr>
            <a:spLocks noEditPoints="1"/>
          </p:cNvSpPr>
          <p:nvPr userDrawn="1"/>
        </p:nvSpPr>
        <p:spPr bwMode="gray">
          <a:xfrm>
            <a:off x="6804248" y="3587332"/>
            <a:ext cx="2089150" cy="2721990"/>
          </a:xfrm>
          <a:custGeom>
            <a:avLst/>
            <a:gdLst>
              <a:gd name="T0" fmla="*/ 14288 w 41911"/>
              <a:gd name="T1" fmla="*/ 4847 h 54658"/>
              <a:gd name="T2" fmla="*/ 41864 w 41911"/>
              <a:gd name="T3" fmla="*/ 34339 h 54658"/>
              <a:gd name="T4" fmla="*/ 35293 w 41911"/>
              <a:gd name="T5" fmla="*/ 46743 h 54658"/>
              <a:gd name="T6" fmla="*/ 2947 w 41911"/>
              <a:gd name="T7" fmla="*/ 44607 h 54658"/>
              <a:gd name="T8" fmla="*/ 315 w 41911"/>
              <a:gd name="T9" fmla="*/ 22915 h 54658"/>
              <a:gd name="T10" fmla="*/ 9854 w 41911"/>
              <a:gd name="T11" fmla="*/ 10375 h 54658"/>
              <a:gd name="T12" fmla="*/ 28064 w 41911"/>
              <a:gd name="T13" fmla="*/ 9179 h 54658"/>
              <a:gd name="T14" fmla="*/ 30635 w 41911"/>
              <a:gd name="T15" fmla="*/ 8538 h 54658"/>
              <a:gd name="T16" fmla="*/ 41594 w 41911"/>
              <a:gd name="T17" fmla="*/ 22915 h 54658"/>
              <a:gd name="T18" fmla="*/ 36510 w 41911"/>
              <a:gd name="T19" fmla="*/ 21384 h 54658"/>
              <a:gd name="T20" fmla="*/ 39471 w 41911"/>
              <a:gd name="T21" fmla="*/ 28521 h 54658"/>
              <a:gd name="T22" fmla="*/ 30954 w 41911"/>
              <a:gd name="T23" fmla="*/ 19606 h 54658"/>
              <a:gd name="T24" fmla="*/ 15777 w 41911"/>
              <a:gd name="T25" fmla="*/ 17358 h 54658"/>
              <a:gd name="T26" fmla="*/ 16288 w 41911"/>
              <a:gd name="T27" fmla="*/ 16780 h 54658"/>
              <a:gd name="T28" fmla="*/ 24805 w 41911"/>
              <a:gd name="T29" fmla="*/ 10424 h 54658"/>
              <a:gd name="T30" fmla="*/ 20075 w 41911"/>
              <a:gd name="T31" fmla="*/ 9501 h 54658"/>
              <a:gd name="T32" fmla="*/ 38527 w 41911"/>
              <a:gd name="T33" fmla="*/ 13478 h 54658"/>
              <a:gd name="T34" fmla="*/ 31177 w 41911"/>
              <a:gd name="T35" fmla="*/ 16094 h 54658"/>
              <a:gd name="T36" fmla="*/ 31177 w 41911"/>
              <a:gd name="T37" fmla="*/ 16094 h 54658"/>
              <a:gd name="T38" fmla="*/ 27250 w 41911"/>
              <a:gd name="T39" fmla="*/ 9544 h 54658"/>
              <a:gd name="T40" fmla="*/ 3356 w 41911"/>
              <a:gd name="T41" fmla="*/ 13528 h 54658"/>
              <a:gd name="T42" fmla="*/ 10780 w 41911"/>
              <a:gd name="T43" fmla="*/ 18958 h 54658"/>
              <a:gd name="T44" fmla="*/ 963 w 41911"/>
              <a:gd name="T45" fmla="*/ 23209 h 54658"/>
              <a:gd name="T46" fmla="*/ 5290 w 41911"/>
              <a:gd name="T47" fmla="*/ 30407 h 54658"/>
              <a:gd name="T48" fmla="*/ 2469 w 41911"/>
              <a:gd name="T49" fmla="*/ 47978 h 54658"/>
              <a:gd name="T50" fmla="*/ 7399 w 41911"/>
              <a:gd name="T51" fmla="*/ 39409 h 54658"/>
              <a:gd name="T52" fmla="*/ 20705 w 41911"/>
              <a:gd name="T53" fmla="*/ 53333 h 54658"/>
              <a:gd name="T54" fmla="*/ 21365 w 41911"/>
              <a:gd name="T55" fmla="*/ 53330 h 54658"/>
              <a:gd name="T56" fmla="*/ 35307 w 41911"/>
              <a:gd name="T57" fmla="*/ 31359 h 54658"/>
              <a:gd name="T58" fmla="*/ 39497 w 41911"/>
              <a:gd name="T59" fmla="*/ 42224 h 54658"/>
              <a:gd name="T60" fmla="*/ 35532 w 41911"/>
              <a:gd name="T61" fmla="*/ 38794 h 54658"/>
              <a:gd name="T62" fmla="*/ 28436 w 41911"/>
              <a:gd name="T63" fmla="*/ 29129 h 54658"/>
              <a:gd name="T64" fmla="*/ 29444 w 41911"/>
              <a:gd name="T65" fmla="*/ 25659 h 54658"/>
              <a:gd name="T66" fmla="*/ 28412 w 41911"/>
              <a:gd name="T67" fmla="*/ 28104 h 54658"/>
              <a:gd name="T68" fmla="*/ 25373 w 41911"/>
              <a:gd name="T69" fmla="*/ 27098 h 54658"/>
              <a:gd name="T70" fmla="*/ 26315 w 41911"/>
              <a:gd name="T71" fmla="*/ 33478 h 54658"/>
              <a:gd name="T72" fmla="*/ 23574 w 41911"/>
              <a:gd name="T73" fmla="*/ 29101 h 54658"/>
              <a:gd name="T74" fmla="*/ 32313 w 41911"/>
              <a:gd name="T75" fmla="*/ 36209 h 54658"/>
              <a:gd name="T76" fmla="*/ 28921 w 41911"/>
              <a:gd name="T77" fmla="*/ 45500 h 54658"/>
              <a:gd name="T78" fmla="*/ 24592 w 41911"/>
              <a:gd name="T79" fmla="*/ 47474 h 54658"/>
              <a:gd name="T80" fmla="*/ 22982 w 41911"/>
              <a:gd name="T81" fmla="*/ 44787 h 54658"/>
              <a:gd name="T82" fmla="*/ 29222 w 41911"/>
              <a:gd name="T83" fmla="*/ 33238 h 54658"/>
              <a:gd name="T84" fmla="*/ 26755 w 41911"/>
              <a:gd name="T85" fmla="*/ 42816 h 54658"/>
              <a:gd name="T86" fmla="*/ 25418 w 41911"/>
              <a:gd name="T87" fmla="*/ 43876 h 54658"/>
              <a:gd name="T88" fmla="*/ 23569 w 41911"/>
              <a:gd name="T89" fmla="*/ 46967 h 54658"/>
              <a:gd name="T90" fmla="*/ 26258 w 41911"/>
              <a:gd name="T91" fmla="*/ 46035 h 54658"/>
              <a:gd name="T92" fmla="*/ 30784 w 41911"/>
              <a:gd name="T93" fmla="*/ 44776 h 54658"/>
              <a:gd name="T94" fmla="*/ 18882 w 41911"/>
              <a:gd name="T95" fmla="*/ 36505 h 54658"/>
              <a:gd name="T96" fmla="*/ 14853 w 41911"/>
              <a:gd name="T97" fmla="*/ 28625 h 54658"/>
              <a:gd name="T98" fmla="*/ 11355 w 41911"/>
              <a:gd name="T99" fmla="*/ 31418 h 54658"/>
              <a:gd name="T100" fmla="*/ 8969 w 41911"/>
              <a:gd name="T101" fmla="*/ 26539 h 54658"/>
              <a:gd name="T102" fmla="*/ 10126 w 41911"/>
              <a:gd name="T103" fmla="*/ 33880 h 54658"/>
              <a:gd name="T104" fmla="*/ 9809 w 41911"/>
              <a:gd name="T105" fmla="*/ 40089 h 54658"/>
              <a:gd name="T106" fmla="*/ 13102 w 41911"/>
              <a:gd name="T107" fmla="*/ 36505 h 54658"/>
              <a:gd name="T108" fmla="*/ 13570 w 41911"/>
              <a:gd name="T109" fmla="*/ 47720 h 54658"/>
              <a:gd name="T110" fmla="*/ 16515 w 41911"/>
              <a:gd name="T111" fmla="*/ 47720 h 54658"/>
              <a:gd name="T112" fmla="*/ 26810 w 41911"/>
              <a:gd name="T113" fmla="*/ 7709 h 54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11" h="54658">
                <a:moveTo>
                  <a:pt x="20752" y="19"/>
                </a:moveTo>
                <a:cubicBezTo>
                  <a:pt x="20752" y="19"/>
                  <a:pt x="20752" y="19"/>
                  <a:pt x="20752" y="19"/>
                </a:cubicBezTo>
                <a:cubicBezTo>
                  <a:pt x="21192" y="38"/>
                  <a:pt x="27347" y="4012"/>
                  <a:pt x="27347" y="4012"/>
                </a:cubicBezTo>
                <a:cubicBezTo>
                  <a:pt x="14453" y="4028"/>
                  <a:pt x="14453" y="4028"/>
                  <a:pt x="14453" y="4028"/>
                </a:cubicBezTo>
                <a:cubicBezTo>
                  <a:pt x="14453" y="4028"/>
                  <a:pt x="20314" y="0"/>
                  <a:pt x="20752" y="19"/>
                </a:cubicBezTo>
                <a:close/>
                <a:moveTo>
                  <a:pt x="20291" y="4847"/>
                </a:moveTo>
                <a:cubicBezTo>
                  <a:pt x="14288" y="4847"/>
                  <a:pt x="14288" y="4847"/>
                  <a:pt x="14288" y="4847"/>
                </a:cubicBezTo>
                <a:cubicBezTo>
                  <a:pt x="15019" y="7709"/>
                  <a:pt x="15019" y="7709"/>
                  <a:pt x="15019" y="7709"/>
                </a:cubicBezTo>
                <a:cubicBezTo>
                  <a:pt x="20291" y="4847"/>
                  <a:pt x="20291" y="4847"/>
                  <a:pt x="20291" y="4847"/>
                </a:cubicBezTo>
                <a:cubicBezTo>
                  <a:pt x="20291" y="4847"/>
                  <a:pt x="20291" y="4847"/>
                  <a:pt x="20291" y="4847"/>
                </a:cubicBezTo>
                <a:close/>
                <a:moveTo>
                  <a:pt x="41651" y="23095"/>
                </a:moveTo>
                <a:cubicBezTo>
                  <a:pt x="41651" y="23095"/>
                  <a:pt x="41651" y="23095"/>
                  <a:pt x="41651" y="23095"/>
                </a:cubicBezTo>
                <a:cubicBezTo>
                  <a:pt x="41911" y="34256"/>
                  <a:pt x="41911" y="34256"/>
                  <a:pt x="41911" y="34256"/>
                </a:cubicBezTo>
                <a:cubicBezTo>
                  <a:pt x="41864" y="34339"/>
                  <a:pt x="41864" y="34339"/>
                  <a:pt x="41864" y="34339"/>
                </a:cubicBezTo>
                <a:cubicBezTo>
                  <a:pt x="41815" y="34429"/>
                  <a:pt x="40640" y="36524"/>
                  <a:pt x="35615" y="39573"/>
                </a:cubicBezTo>
                <a:cubicBezTo>
                  <a:pt x="36202" y="40110"/>
                  <a:pt x="37672" y="41225"/>
                  <a:pt x="40103" y="41618"/>
                </a:cubicBezTo>
                <a:cubicBezTo>
                  <a:pt x="40605" y="41698"/>
                  <a:pt x="40605" y="41698"/>
                  <a:pt x="40605" y="41698"/>
                </a:cubicBezTo>
                <a:cubicBezTo>
                  <a:pt x="38962" y="44607"/>
                  <a:pt x="38962" y="44607"/>
                  <a:pt x="38962" y="44607"/>
                </a:cubicBezTo>
                <a:cubicBezTo>
                  <a:pt x="40565" y="49001"/>
                  <a:pt x="40565" y="49001"/>
                  <a:pt x="40565" y="49001"/>
                </a:cubicBezTo>
                <a:cubicBezTo>
                  <a:pt x="39930" y="48854"/>
                  <a:pt x="39930" y="48854"/>
                  <a:pt x="39930" y="48854"/>
                </a:cubicBezTo>
                <a:cubicBezTo>
                  <a:pt x="39833" y="48833"/>
                  <a:pt x="37608" y="48310"/>
                  <a:pt x="35293" y="46743"/>
                </a:cubicBezTo>
                <a:cubicBezTo>
                  <a:pt x="34145" y="48149"/>
                  <a:pt x="28438" y="54658"/>
                  <a:pt x="21365" y="54658"/>
                </a:cubicBezTo>
                <a:cubicBezTo>
                  <a:pt x="21230" y="54658"/>
                  <a:pt x="21093" y="54656"/>
                  <a:pt x="20956" y="54651"/>
                </a:cubicBezTo>
                <a:cubicBezTo>
                  <a:pt x="20818" y="54656"/>
                  <a:pt x="20681" y="54658"/>
                  <a:pt x="20544" y="54658"/>
                </a:cubicBezTo>
                <a:cubicBezTo>
                  <a:pt x="13471" y="54658"/>
                  <a:pt x="7766" y="48149"/>
                  <a:pt x="6616" y="46743"/>
                </a:cubicBezTo>
                <a:cubicBezTo>
                  <a:pt x="4301" y="48310"/>
                  <a:pt x="2078" y="48833"/>
                  <a:pt x="1979" y="48854"/>
                </a:cubicBezTo>
                <a:cubicBezTo>
                  <a:pt x="1347" y="49001"/>
                  <a:pt x="1347" y="49001"/>
                  <a:pt x="1347" y="49001"/>
                </a:cubicBezTo>
                <a:cubicBezTo>
                  <a:pt x="2947" y="44607"/>
                  <a:pt x="2947" y="44607"/>
                  <a:pt x="2947" y="44607"/>
                </a:cubicBezTo>
                <a:cubicBezTo>
                  <a:pt x="1307" y="41698"/>
                  <a:pt x="1307" y="41698"/>
                  <a:pt x="1307" y="41698"/>
                </a:cubicBezTo>
                <a:cubicBezTo>
                  <a:pt x="1806" y="41618"/>
                  <a:pt x="1806" y="41618"/>
                  <a:pt x="1806" y="41618"/>
                </a:cubicBezTo>
                <a:cubicBezTo>
                  <a:pt x="4237" y="41225"/>
                  <a:pt x="5707" y="40110"/>
                  <a:pt x="6296" y="39573"/>
                </a:cubicBezTo>
                <a:cubicBezTo>
                  <a:pt x="1271" y="36524"/>
                  <a:pt x="95" y="34429"/>
                  <a:pt x="45" y="34339"/>
                </a:cubicBezTo>
                <a:cubicBezTo>
                  <a:pt x="0" y="34256"/>
                  <a:pt x="0" y="34256"/>
                  <a:pt x="0" y="34256"/>
                </a:cubicBezTo>
                <a:cubicBezTo>
                  <a:pt x="263" y="22998"/>
                  <a:pt x="263" y="22998"/>
                  <a:pt x="263" y="22998"/>
                </a:cubicBezTo>
                <a:cubicBezTo>
                  <a:pt x="315" y="22915"/>
                  <a:pt x="315" y="22915"/>
                  <a:pt x="315" y="22915"/>
                </a:cubicBezTo>
                <a:cubicBezTo>
                  <a:pt x="1723" y="20679"/>
                  <a:pt x="3910" y="19760"/>
                  <a:pt x="5934" y="19436"/>
                </a:cubicBezTo>
                <a:cubicBezTo>
                  <a:pt x="5106" y="19178"/>
                  <a:pt x="1214" y="17836"/>
                  <a:pt x="1214" y="15435"/>
                </a:cubicBezTo>
                <a:cubicBezTo>
                  <a:pt x="1214" y="9863"/>
                  <a:pt x="1214" y="9863"/>
                  <a:pt x="1214" y="9863"/>
                </a:cubicBezTo>
                <a:cubicBezTo>
                  <a:pt x="1290" y="9769"/>
                  <a:pt x="1290" y="9769"/>
                  <a:pt x="1290" y="9769"/>
                </a:cubicBezTo>
                <a:cubicBezTo>
                  <a:pt x="5295" y="4623"/>
                  <a:pt x="11047" y="8100"/>
                  <a:pt x="11104" y="8135"/>
                </a:cubicBezTo>
                <a:cubicBezTo>
                  <a:pt x="11438" y="8341"/>
                  <a:pt x="11438" y="8341"/>
                  <a:pt x="11438" y="8341"/>
                </a:cubicBezTo>
                <a:cubicBezTo>
                  <a:pt x="9854" y="10375"/>
                  <a:pt x="9854" y="10375"/>
                  <a:pt x="9854" y="10375"/>
                </a:cubicBezTo>
                <a:cubicBezTo>
                  <a:pt x="10962" y="13445"/>
                  <a:pt x="10962" y="13445"/>
                  <a:pt x="10962" y="13445"/>
                </a:cubicBezTo>
                <a:cubicBezTo>
                  <a:pt x="10264" y="13206"/>
                  <a:pt x="10264" y="13206"/>
                  <a:pt x="10264" y="13206"/>
                </a:cubicBezTo>
                <a:cubicBezTo>
                  <a:pt x="6481" y="11908"/>
                  <a:pt x="4755" y="13071"/>
                  <a:pt x="4185" y="13634"/>
                </a:cubicBezTo>
                <a:cubicBezTo>
                  <a:pt x="8396" y="16243"/>
                  <a:pt x="13497" y="15248"/>
                  <a:pt x="15081" y="14844"/>
                </a:cubicBezTo>
                <a:cubicBezTo>
                  <a:pt x="13765" y="9518"/>
                  <a:pt x="13765" y="9518"/>
                  <a:pt x="13765" y="9518"/>
                </a:cubicBezTo>
                <a:cubicBezTo>
                  <a:pt x="20949" y="5401"/>
                  <a:pt x="20949" y="5401"/>
                  <a:pt x="20949" y="5401"/>
                </a:cubicBezTo>
                <a:cubicBezTo>
                  <a:pt x="28064" y="9179"/>
                  <a:pt x="28064" y="9179"/>
                  <a:pt x="28064" y="9179"/>
                </a:cubicBezTo>
                <a:cubicBezTo>
                  <a:pt x="27998" y="9444"/>
                  <a:pt x="27998" y="9444"/>
                  <a:pt x="27998" y="9444"/>
                </a:cubicBezTo>
                <a:cubicBezTo>
                  <a:pt x="27607" y="11049"/>
                  <a:pt x="27103" y="13184"/>
                  <a:pt x="26753" y="14796"/>
                </a:cubicBezTo>
                <a:cubicBezTo>
                  <a:pt x="28088" y="15156"/>
                  <a:pt x="33378" y="16328"/>
                  <a:pt x="37738" y="13686"/>
                </a:cubicBezTo>
                <a:cubicBezTo>
                  <a:pt x="37047" y="13094"/>
                  <a:pt x="35319" y="12197"/>
                  <a:pt x="31806" y="13402"/>
                </a:cubicBezTo>
                <a:cubicBezTo>
                  <a:pt x="31113" y="13641"/>
                  <a:pt x="31113" y="13641"/>
                  <a:pt x="31113" y="13641"/>
                </a:cubicBezTo>
                <a:cubicBezTo>
                  <a:pt x="32218" y="10571"/>
                  <a:pt x="32218" y="10571"/>
                  <a:pt x="32218" y="10571"/>
                </a:cubicBezTo>
                <a:cubicBezTo>
                  <a:pt x="30635" y="8538"/>
                  <a:pt x="30635" y="8538"/>
                  <a:pt x="30635" y="8538"/>
                </a:cubicBezTo>
                <a:cubicBezTo>
                  <a:pt x="30971" y="8330"/>
                  <a:pt x="30971" y="8330"/>
                  <a:pt x="30971" y="8330"/>
                </a:cubicBezTo>
                <a:cubicBezTo>
                  <a:pt x="31025" y="8294"/>
                  <a:pt x="36780" y="4819"/>
                  <a:pt x="40782" y="9963"/>
                </a:cubicBezTo>
                <a:cubicBezTo>
                  <a:pt x="40754" y="9986"/>
                  <a:pt x="40754" y="9986"/>
                  <a:pt x="40754" y="9986"/>
                </a:cubicBezTo>
                <a:cubicBezTo>
                  <a:pt x="40797" y="9986"/>
                  <a:pt x="40797" y="9986"/>
                  <a:pt x="40797" y="9986"/>
                </a:cubicBezTo>
                <a:cubicBezTo>
                  <a:pt x="40797" y="15435"/>
                  <a:pt x="40797" y="15435"/>
                  <a:pt x="40797" y="15435"/>
                </a:cubicBezTo>
                <a:cubicBezTo>
                  <a:pt x="40797" y="17874"/>
                  <a:pt x="36782" y="19220"/>
                  <a:pt x="36043" y="19448"/>
                </a:cubicBezTo>
                <a:cubicBezTo>
                  <a:pt x="38046" y="19782"/>
                  <a:pt x="40202" y="20702"/>
                  <a:pt x="41594" y="22915"/>
                </a:cubicBezTo>
                <a:cubicBezTo>
                  <a:pt x="41649" y="22998"/>
                  <a:pt x="41649" y="22998"/>
                  <a:pt x="41649" y="22998"/>
                </a:cubicBezTo>
                <a:cubicBezTo>
                  <a:pt x="41651" y="23095"/>
                  <a:pt x="41651" y="23095"/>
                  <a:pt x="41651" y="23095"/>
                </a:cubicBezTo>
                <a:close/>
                <a:moveTo>
                  <a:pt x="40946" y="23209"/>
                </a:moveTo>
                <a:cubicBezTo>
                  <a:pt x="40946" y="23209"/>
                  <a:pt x="40946" y="23209"/>
                  <a:pt x="40946" y="23209"/>
                </a:cubicBezTo>
                <a:cubicBezTo>
                  <a:pt x="38098" y="18825"/>
                  <a:pt x="31825" y="20129"/>
                  <a:pt x="31212" y="20271"/>
                </a:cubicBezTo>
                <a:cubicBezTo>
                  <a:pt x="30630" y="20622"/>
                  <a:pt x="30071" y="20953"/>
                  <a:pt x="29536" y="21268"/>
                </a:cubicBezTo>
                <a:cubicBezTo>
                  <a:pt x="36510" y="21384"/>
                  <a:pt x="36510" y="21384"/>
                  <a:pt x="36510" y="21384"/>
                </a:cubicBezTo>
                <a:cubicBezTo>
                  <a:pt x="36576" y="26229"/>
                  <a:pt x="36576" y="26229"/>
                  <a:pt x="36576" y="26229"/>
                </a:cubicBezTo>
                <a:cubicBezTo>
                  <a:pt x="37324" y="26180"/>
                  <a:pt x="38529" y="26478"/>
                  <a:pt x="40070" y="28125"/>
                </a:cubicBezTo>
                <a:cubicBezTo>
                  <a:pt x="41045" y="27479"/>
                  <a:pt x="41045" y="27479"/>
                  <a:pt x="41045" y="27479"/>
                </a:cubicBezTo>
                <a:cubicBezTo>
                  <a:pt x="40946" y="23209"/>
                  <a:pt x="40946" y="23209"/>
                  <a:pt x="40946" y="23209"/>
                </a:cubicBezTo>
                <a:close/>
                <a:moveTo>
                  <a:pt x="36631" y="30400"/>
                </a:moveTo>
                <a:cubicBezTo>
                  <a:pt x="36631" y="30400"/>
                  <a:pt x="36631" y="30400"/>
                  <a:pt x="36631" y="30400"/>
                </a:cubicBezTo>
                <a:cubicBezTo>
                  <a:pt x="39471" y="28521"/>
                  <a:pt x="39471" y="28521"/>
                  <a:pt x="39471" y="28521"/>
                </a:cubicBezTo>
                <a:cubicBezTo>
                  <a:pt x="38108" y="27093"/>
                  <a:pt x="37121" y="26894"/>
                  <a:pt x="36583" y="26937"/>
                </a:cubicBezTo>
                <a:cubicBezTo>
                  <a:pt x="36631" y="30400"/>
                  <a:pt x="36631" y="30400"/>
                  <a:pt x="36631" y="30400"/>
                </a:cubicBezTo>
                <a:close/>
                <a:moveTo>
                  <a:pt x="20956" y="24998"/>
                </a:moveTo>
                <a:cubicBezTo>
                  <a:pt x="20956" y="24998"/>
                  <a:pt x="20956" y="24998"/>
                  <a:pt x="20956" y="24998"/>
                </a:cubicBezTo>
                <a:cubicBezTo>
                  <a:pt x="21663" y="24688"/>
                  <a:pt x="25174" y="23098"/>
                  <a:pt x="30893" y="19639"/>
                </a:cubicBezTo>
                <a:cubicBezTo>
                  <a:pt x="30938" y="19611"/>
                  <a:pt x="30938" y="19611"/>
                  <a:pt x="30938" y="19611"/>
                </a:cubicBezTo>
                <a:cubicBezTo>
                  <a:pt x="30954" y="19606"/>
                  <a:pt x="30954" y="19606"/>
                  <a:pt x="30954" y="19606"/>
                </a:cubicBezTo>
                <a:cubicBezTo>
                  <a:pt x="26220" y="17350"/>
                  <a:pt x="26220" y="17350"/>
                  <a:pt x="26220" y="17350"/>
                </a:cubicBezTo>
                <a:cubicBezTo>
                  <a:pt x="26085" y="17391"/>
                  <a:pt x="26085" y="17391"/>
                  <a:pt x="26085" y="17391"/>
                </a:cubicBezTo>
                <a:cubicBezTo>
                  <a:pt x="24137" y="17973"/>
                  <a:pt x="22542" y="19573"/>
                  <a:pt x="21772" y="20468"/>
                </a:cubicBezTo>
                <a:cubicBezTo>
                  <a:pt x="22636" y="21150"/>
                  <a:pt x="22499" y="23181"/>
                  <a:pt x="21031" y="23188"/>
                </a:cubicBezTo>
                <a:cubicBezTo>
                  <a:pt x="19578" y="23192"/>
                  <a:pt x="19441" y="21173"/>
                  <a:pt x="20156" y="20447"/>
                </a:cubicBezTo>
                <a:cubicBezTo>
                  <a:pt x="19353" y="19550"/>
                  <a:pt x="17744" y="17975"/>
                  <a:pt x="15885" y="17391"/>
                </a:cubicBezTo>
                <a:cubicBezTo>
                  <a:pt x="15777" y="17358"/>
                  <a:pt x="15777" y="17358"/>
                  <a:pt x="15777" y="17358"/>
                </a:cubicBezTo>
                <a:cubicBezTo>
                  <a:pt x="11007" y="19632"/>
                  <a:pt x="11007" y="19632"/>
                  <a:pt x="11007" y="19632"/>
                </a:cubicBezTo>
                <a:cubicBezTo>
                  <a:pt x="11016" y="19639"/>
                  <a:pt x="11016" y="19639"/>
                  <a:pt x="11016" y="19639"/>
                </a:cubicBezTo>
                <a:cubicBezTo>
                  <a:pt x="16745" y="23100"/>
                  <a:pt x="20246" y="24688"/>
                  <a:pt x="20956" y="24998"/>
                </a:cubicBezTo>
                <a:close/>
                <a:moveTo>
                  <a:pt x="17128" y="11203"/>
                </a:moveTo>
                <a:cubicBezTo>
                  <a:pt x="17128" y="11203"/>
                  <a:pt x="17128" y="11203"/>
                  <a:pt x="17128" y="11203"/>
                </a:cubicBezTo>
                <a:cubicBezTo>
                  <a:pt x="15074" y="11873"/>
                  <a:pt x="15074" y="11873"/>
                  <a:pt x="15074" y="11873"/>
                </a:cubicBezTo>
                <a:cubicBezTo>
                  <a:pt x="16288" y="16780"/>
                  <a:pt x="16288" y="16780"/>
                  <a:pt x="16288" y="16780"/>
                </a:cubicBezTo>
                <a:cubicBezTo>
                  <a:pt x="18506" y="17554"/>
                  <a:pt x="20298" y="19502"/>
                  <a:pt x="20977" y="20314"/>
                </a:cubicBezTo>
                <a:cubicBezTo>
                  <a:pt x="21635" y="19497"/>
                  <a:pt x="23377" y="17559"/>
                  <a:pt x="25654" y="16787"/>
                </a:cubicBezTo>
                <a:cubicBezTo>
                  <a:pt x="25766" y="15911"/>
                  <a:pt x="26279" y="13634"/>
                  <a:pt x="26710" y="11802"/>
                </a:cubicBezTo>
                <a:cubicBezTo>
                  <a:pt x="24771" y="11170"/>
                  <a:pt x="24771" y="11170"/>
                  <a:pt x="24771" y="11170"/>
                </a:cubicBezTo>
                <a:cubicBezTo>
                  <a:pt x="24620" y="12100"/>
                  <a:pt x="23995" y="13762"/>
                  <a:pt x="21604" y="15388"/>
                </a:cubicBezTo>
                <a:cubicBezTo>
                  <a:pt x="21604" y="9383"/>
                  <a:pt x="21604" y="9383"/>
                  <a:pt x="21604" y="9383"/>
                </a:cubicBezTo>
                <a:cubicBezTo>
                  <a:pt x="24805" y="10424"/>
                  <a:pt x="24805" y="10424"/>
                  <a:pt x="24805" y="10424"/>
                </a:cubicBezTo>
                <a:cubicBezTo>
                  <a:pt x="24805" y="10424"/>
                  <a:pt x="24805" y="10431"/>
                  <a:pt x="24807" y="10439"/>
                </a:cubicBezTo>
                <a:cubicBezTo>
                  <a:pt x="26871" y="11113"/>
                  <a:pt x="26871" y="11113"/>
                  <a:pt x="26871" y="11113"/>
                </a:cubicBezTo>
                <a:cubicBezTo>
                  <a:pt x="26911" y="10947"/>
                  <a:pt x="26949" y="10789"/>
                  <a:pt x="26985" y="10637"/>
                </a:cubicBezTo>
                <a:cubicBezTo>
                  <a:pt x="20986" y="7984"/>
                  <a:pt x="20986" y="7984"/>
                  <a:pt x="20986" y="7984"/>
                </a:cubicBezTo>
                <a:cubicBezTo>
                  <a:pt x="14818" y="10832"/>
                  <a:pt x="14818" y="10832"/>
                  <a:pt x="14818" y="10832"/>
                </a:cubicBezTo>
                <a:cubicBezTo>
                  <a:pt x="14905" y="11184"/>
                  <a:pt x="14905" y="11184"/>
                  <a:pt x="14905" y="11184"/>
                </a:cubicBezTo>
                <a:cubicBezTo>
                  <a:pt x="20075" y="9501"/>
                  <a:pt x="20075" y="9501"/>
                  <a:pt x="20075" y="9501"/>
                </a:cubicBezTo>
                <a:cubicBezTo>
                  <a:pt x="20075" y="9501"/>
                  <a:pt x="20075" y="9501"/>
                  <a:pt x="20075" y="9501"/>
                </a:cubicBezTo>
                <a:cubicBezTo>
                  <a:pt x="20298" y="9430"/>
                  <a:pt x="20298" y="9430"/>
                  <a:pt x="20298" y="9430"/>
                </a:cubicBezTo>
                <a:cubicBezTo>
                  <a:pt x="20298" y="15435"/>
                  <a:pt x="20298" y="15435"/>
                  <a:pt x="20298" y="15435"/>
                </a:cubicBezTo>
                <a:cubicBezTo>
                  <a:pt x="17895" y="13800"/>
                  <a:pt x="17277" y="12129"/>
                  <a:pt x="17128" y="11203"/>
                </a:cubicBezTo>
                <a:close/>
                <a:moveTo>
                  <a:pt x="32268" y="12517"/>
                </a:moveTo>
                <a:cubicBezTo>
                  <a:pt x="32268" y="12517"/>
                  <a:pt x="32268" y="12517"/>
                  <a:pt x="32268" y="12517"/>
                </a:cubicBezTo>
                <a:cubicBezTo>
                  <a:pt x="36214" y="11383"/>
                  <a:pt x="37987" y="12858"/>
                  <a:pt x="38527" y="13478"/>
                </a:cubicBezTo>
                <a:cubicBezTo>
                  <a:pt x="38912" y="13750"/>
                  <a:pt x="39573" y="14240"/>
                  <a:pt x="40091" y="14721"/>
                </a:cubicBezTo>
                <a:cubicBezTo>
                  <a:pt x="40091" y="10235"/>
                  <a:pt x="40091" y="10235"/>
                  <a:pt x="40091" y="10235"/>
                </a:cubicBezTo>
                <a:cubicBezTo>
                  <a:pt x="36983" y="6438"/>
                  <a:pt x="32898" y="8114"/>
                  <a:pt x="31686" y="8739"/>
                </a:cubicBezTo>
                <a:cubicBezTo>
                  <a:pt x="33014" y="10443"/>
                  <a:pt x="33014" y="10443"/>
                  <a:pt x="33014" y="10443"/>
                </a:cubicBezTo>
                <a:cubicBezTo>
                  <a:pt x="32268" y="12517"/>
                  <a:pt x="32268" y="12517"/>
                  <a:pt x="32268" y="12517"/>
                </a:cubicBezTo>
                <a:close/>
                <a:moveTo>
                  <a:pt x="31177" y="16094"/>
                </a:moveTo>
                <a:cubicBezTo>
                  <a:pt x="31177" y="16094"/>
                  <a:pt x="31177" y="16094"/>
                  <a:pt x="31177" y="16094"/>
                </a:cubicBezTo>
                <a:cubicBezTo>
                  <a:pt x="29065" y="16094"/>
                  <a:pt x="27347" y="15696"/>
                  <a:pt x="26604" y="15490"/>
                </a:cubicBezTo>
                <a:cubicBezTo>
                  <a:pt x="26507" y="15963"/>
                  <a:pt x="26431" y="16361"/>
                  <a:pt x="26383" y="16645"/>
                </a:cubicBezTo>
                <a:cubicBezTo>
                  <a:pt x="31234" y="18958"/>
                  <a:pt x="31234" y="18958"/>
                  <a:pt x="31234" y="18958"/>
                </a:cubicBezTo>
                <a:cubicBezTo>
                  <a:pt x="35776" y="18790"/>
                  <a:pt x="35776" y="18790"/>
                  <a:pt x="35776" y="18790"/>
                </a:cubicBezTo>
                <a:cubicBezTo>
                  <a:pt x="36948" y="18446"/>
                  <a:pt x="39755" y="17296"/>
                  <a:pt x="40063" y="15715"/>
                </a:cubicBezTo>
                <a:cubicBezTo>
                  <a:pt x="39741" y="15282"/>
                  <a:pt x="38891" y="14614"/>
                  <a:pt x="38285" y="14174"/>
                </a:cubicBezTo>
                <a:cubicBezTo>
                  <a:pt x="35932" y="15667"/>
                  <a:pt x="33350" y="16094"/>
                  <a:pt x="31177" y="16094"/>
                </a:cubicBezTo>
                <a:close/>
                <a:moveTo>
                  <a:pt x="20963" y="6206"/>
                </a:moveTo>
                <a:cubicBezTo>
                  <a:pt x="20963" y="6206"/>
                  <a:pt x="20963" y="6206"/>
                  <a:pt x="20963" y="6206"/>
                </a:cubicBezTo>
                <a:cubicBezTo>
                  <a:pt x="14579" y="9866"/>
                  <a:pt x="14579" y="9866"/>
                  <a:pt x="14579" y="9866"/>
                </a:cubicBezTo>
                <a:cubicBezTo>
                  <a:pt x="14643" y="10133"/>
                  <a:pt x="14643" y="10133"/>
                  <a:pt x="14643" y="10133"/>
                </a:cubicBezTo>
                <a:cubicBezTo>
                  <a:pt x="20979" y="7208"/>
                  <a:pt x="20979" y="7208"/>
                  <a:pt x="20979" y="7208"/>
                </a:cubicBezTo>
                <a:cubicBezTo>
                  <a:pt x="27153" y="9941"/>
                  <a:pt x="27153" y="9941"/>
                  <a:pt x="27153" y="9941"/>
                </a:cubicBezTo>
                <a:cubicBezTo>
                  <a:pt x="27191" y="9788"/>
                  <a:pt x="27221" y="9653"/>
                  <a:pt x="27250" y="9544"/>
                </a:cubicBezTo>
                <a:cubicBezTo>
                  <a:pt x="20963" y="6206"/>
                  <a:pt x="20963" y="6206"/>
                  <a:pt x="20963" y="6206"/>
                </a:cubicBezTo>
                <a:close/>
                <a:moveTo>
                  <a:pt x="10384" y="8542"/>
                </a:moveTo>
                <a:cubicBezTo>
                  <a:pt x="10384" y="8542"/>
                  <a:pt x="10384" y="8542"/>
                  <a:pt x="10384" y="8542"/>
                </a:cubicBezTo>
                <a:cubicBezTo>
                  <a:pt x="9165" y="7918"/>
                  <a:pt x="5030" y="6228"/>
                  <a:pt x="1922" y="10107"/>
                </a:cubicBezTo>
                <a:cubicBezTo>
                  <a:pt x="1922" y="14721"/>
                  <a:pt x="1922" y="14721"/>
                  <a:pt x="1922" y="14721"/>
                </a:cubicBezTo>
                <a:cubicBezTo>
                  <a:pt x="2369" y="14306"/>
                  <a:pt x="2921" y="13885"/>
                  <a:pt x="3311" y="13601"/>
                </a:cubicBezTo>
                <a:cubicBezTo>
                  <a:pt x="3356" y="13528"/>
                  <a:pt x="3356" y="13528"/>
                  <a:pt x="3356" y="13528"/>
                </a:cubicBezTo>
                <a:cubicBezTo>
                  <a:pt x="3425" y="13416"/>
                  <a:pt x="5013" y="10945"/>
                  <a:pt x="9804" y="12320"/>
                </a:cubicBezTo>
                <a:cubicBezTo>
                  <a:pt x="9059" y="10249"/>
                  <a:pt x="9059" y="10249"/>
                  <a:pt x="9059" y="10249"/>
                </a:cubicBezTo>
                <a:cubicBezTo>
                  <a:pt x="10384" y="8542"/>
                  <a:pt x="10384" y="8542"/>
                  <a:pt x="10384" y="8542"/>
                </a:cubicBezTo>
                <a:close/>
                <a:moveTo>
                  <a:pt x="1950" y="15715"/>
                </a:moveTo>
                <a:cubicBezTo>
                  <a:pt x="1950" y="15715"/>
                  <a:pt x="1950" y="15715"/>
                  <a:pt x="1950" y="15715"/>
                </a:cubicBezTo>
                <a:cubicBezTo>
                  <a:pt x="2256" y="17296"/>
                  <a:pt x="5063" y="18449"/>
                  <a:pt x="6235" y="18790"/>
                </a:cubicBezTo>
                <a:cubicBezTo>
                  <a:pt x="10780" y="18958"/>
                  <a:pt x="10780" y="18958"/>
                  <a:pt x="10780" y="18958"/>
                </a:cubicBezTo>
                <a:cubicBezTo>
                  <a:pt x="15537" y="16690"/>
                  <a:pt x="15537" y="16690"/>
                  <a:pt x="15537" y="16690"/>
                </a:cubicBezTo>
                <a:cubicBezTo>
                  <a:pt x="15253" y="15532"/>
                  <a:pt x="15253" y="15532"/>
                  <a:pt x="15253" y="15532"/>
                </a:cubicBezTo>
                <a:cubicBezTo>
                  <a:pt x="13547" y="15977"/>
                  <a:pt x="8221" y="17021"/>
                  <a:pt x="3726" y="14174"/>
                </a:cubicBezTo>
                <a:cubicBezTo>
                  <a:pt x="3122" y="14614"/>
                  <a:pt x="2270" y="15282"/>
                  <a:pt x="1950" y="15715"/>
                </a:cubicBezTo>
                <a:close/>
                <a:moveTo>
                  <a:pt x="10699" y="20271"/>
                </a:moveTo>
                <a:cubicBezTo>
                  <a:pt x="10699" y="20271"/>
                  <a:pt x="10699" y="20271"/>
                  <a:pt x="10699" y="20271"/>
                </a:cubicBezTo>
                <a:cubicBezTo>
                  <a:pt x="10084" y="20132"/>
                  <a:pt x="3809" y="18830"/>
                  <a:pt x="963" y="23209"/>
                </a:cubicBezTo>
                <a:cubicBezTo>
                  <a:pt x="864" y="27479"/>
                  <a:pt x="864" y="27479"/>
                  <a:pt x="864" y="27479"/>
                </a:cubicBezTo>
                <a:cubicBezTo>
                  <a:pt x="1841" y="28125"/>
                  <a:pt x="1841" y="28125"/>
                  <a:pt x="1841" y="28125"/>
                </a:cubicBezTo>
                <a:cubicBezTo>
                  <a:pt x="3382" y="26473"/>
                  <a:pt x="4590" y="26180"/>
                  <a:pt x="5342" y="26229"/>
                </a:cubicBezTo>
                <a:cubicBezTo>
                  <a:pt x="5402" y="21384"/>
                  <a:pt x="5402" y="21384"/>
                  <a:pt x="5402" y="21384"/>
                </a:cubicBezTo>
                <a:cubicBezTo>
                  <a:pt x="12387" y="21275"/>
                  <a:pt x="12387" y="21275"/>
                  <a:pt x="12387" y="21275"/>
                </a:cubicBezTo>
                <a:cubicBezTo>
                  <a:pt x="11847" y="20960"/>
                  <a:pt x="11286" y="20624"/>
                  <a:pt x="10699" y="20271"/>
                </a:cubicBezTo>
                <a:close/>
                <a:moveTo>
                  <a:pt x="5290" y="30407"/>
                </a:moveTo>
                <a:cubicBezTo>
                  <a:pt x="5290" y="30407"/>
                  <a:pt x="5290" y="30407"/>
                  <a:pt x="5290" y="30407"/>
                </a:cubicBezTo>
                <a:cubicBezTo>
                  <a:pt x="5333" y="26942"/>
                  <a:pt x="5333" y="26942"/>
                  <a:pt x="5333" y="26942"/>
                </a:cubicBezTo>
                <a:cubicBezTo>
                  <a:pt x="4793" y="26897"/>
                  <a:pt x="3804" y="27093"/>
                  <a:pt x="2440" y="28521"/>
                </a:cubicBezTo>
                <a:cubicBezTo>
                  <a:pt x="5290" y="30407"/>
                  <a:pt x="5290" y="30407"/>
                  <a:pt x="5290" y="30407"/>
                </a:cubicBezTo>
                <a:close/>
                <a:moveTo>
                  <a:pt x="3721" y="44544"/>
                </a:moveTo>
                <a:cubicBezTo>
                  <a:pt x="3721" y="44544"/>
                  <a:pt x="3721" y="44544"/>
                  <a:pt x="3721" y="44544"/>
                </a:cubicBezTo>
                <a:cubicBezTo>
                  <a:pt x="2469" y="47978"/>
                  <a:pt x="2469" y="47978"/>
                  <a:pt x="2469" y="47978"/>
                </a:cubicBezTo>
                <a:cubicBezTo>
                  <a:pt x="3354" y="47694"/>
                  <a:pt x="5016" y="47053"/>
                  <a:pt x="6628" y="45871"/>
                </a:cubicBezTo>
                <a:cubicBezTo>
                  <a:pt x="6952" y="44610"/>
                  <a:pt x="9648" y="33600"/>
                  <a:pt x="5335" y="31283"/>
                </a:cubicBezTo>
                <a:cubicBezTo>
                  <a:pt x="5307" y="31266"/>
                  <a:pt x="5307" y="31266"/>
                  <a:pt x="5307" y="31266"/>
                </a:cubicBezTo>
                <a:cubicBezTo>
                  <a:pt x="845" y="28312"/>
                  <a:pt x="845" y="28312"/>
                  <a:pt x="845" y="28312"/>
                </a:cubicBezTo>
                <a:cubicBezTo>
                  <a:pt x="710" y="34074"/>
                  <a:pt x="710" y="34074"/>
                  <a:pt x="710" y="34074"/>
                </a:cubicBezTo>
                <a:cubicBezTo>
                  <a:pt x="970" y="34472"/>
                  <a:pt x="2426" y="36460"/>
                  <a:pt x="7044" y="39199"/>
                </a:cubicBezTo>
                <a:cubicBezTo>
                  <a:pt x="7399" y="39409"/>
                  <a:pt x="7399" y="39409"/>
                  <a:pt x="7399" y="39409"/>
                </a:cubicBezTo>
                <a:cubicBezTo>
                  <a:pt x="7137" y="39727"/>
                  <a:pt x="7137" y="39727"/>
                  <a:pt x="7137" y="39727"/>
                </a:cubicBezTo>
                <a:cubicBezTo>
                  <a:pt x="7070" y="39805"/>
                  <a:pt x="5584" y="41566"/>
                  <a:pt x="2414" y="42224"/>
                </a:cubicBezTo>
                <a:cubicBezTo>
                  <a:pt x="3721" y="44544"/>
                  <a:pt x="3721" y="44544"/>
                  <a:pt x="3721" y="44544"/>
                </a:cubicBezTo>
                <a:close/>
                <a:moveTo>
                  <a:pt x="7691" y="45961"/>
                </a:moveTo>
                <a:cubicBezTo>
                  <a:pt x="7691" y="45961"/>
                  <a:pt x="7691" y="45961"/>
                  <a:pt x="7691" y="45961"/>
                </a:cubicBezTo>
                <a:cubicBezTo>
                  <a:pt x="8841" y="47334"/>
                  <a:pt x="14224" y="53335"/>
                  <a:pt x="20551" y="53335"/>
                </a:cubicBezTo>
                <a:cubicBezTo>
                  <a:pt x="20603" y="53335"/>
                  <a:pt x="20653" y="53333"/>
                  <a:pt x="20705" y="53333"/>
                </a:cubicBezTo>
                <a:cubicBezTo>
                  <a:pt x="20705" y="25659"/>
                  <a:pt x="20705" y="25659"/>
                  <a:pt x="20705" y="25659"/>
                </a:cubicBezTo>
                <a:cubicBezTo>
                  <a:pt x="20210" y="25444"/>
                  <a:pt x="18115" y="24501"/>
                  <a:pt x="14681" y="22586"/>
                </a:cubicBezTo>
                <a:cubicBezTo>
                  <a:pt x="6711" y="22691"/>
                  <a:pt x="6711" y="22691"/>
                  <a:pt x="6711" y="22691"/>
                </a:cubicBezTo>
                <a:cubicBezTo>
                  <a:pt x="6611" y="31366"/>
                  <a:pt x="6611" y="31366"/>
                  <a:pt x="6611" y="31366"/>
                </a:cubicBezTo>
                <a:cubicBezTo>
                  <a:pt x="9823" y="34595"/>
                  <a:pt x="8005" y="43220"/>
                  <a:pt x="7430" y="45585"/>
                </a:cubicBezTo>
                <a:cubicBezTo>
                  <a:pt x="7691" y="45961"/>
                  <a:pt x="7691" y="45961"/>
                  <a:pt x="7691" y="45961"/>
                </a:cubicBezTo>
                <a:close/>
                <a:moveTo>
                  <a:pt x="21365" y="53330"/>
                </a:moveTo>
                <a:cubicBezTo>
                  <a:pt x="21365" y="53330"/>
                  <a:pt x="21365" y="53330"/>
                  <a:pt x="21365" y="53330"/>
                </a:cubicBezTo>
                <a:cubicBezTo>
                  <a:pt x="28474" y="53333"/>
                  <a:pt x="34386" y="45758"/>
                  <a:pt x="34448" y="45680"/>
                </a:cubicBezTo>
                <a:cubicBezTo>
                  <a:pt x="34462" y="45692"/>
                  <a:pt x="34462" y="45692"/>
                  <a:pt x="34462" y="45692"/>
                </a:cubicBezTo>
                <a:cubicBezTo>
                  <a:pt x="34474" y="45673"/>
                  <a:pt x="34486" y="45658"/>
                  <a:pt x="34496" y="45644"/>
                </a:cubicBezTo>
                <a:cubicBezTo>
                  <a:pt x="34313" y="44896"/>
                  <a:pt x="33987" y="43450"/>
                  <a:pt x="33745" y="41729"/>
                </a:cubicBezTo>
                <a:cubicBezTo>
                  <a:pt x="33719" y="41611"/>
                  <a:pt x="33698" y="41480"/>
                  <a:pt x="33693" y="41338"/>
                </a:cubicBezTo>
                <a:cubicBezTo>
                  <a:pt x="33248" y="37871"/>
                  <a:pt x="33203" y="33461"/>
                  <a:pt x="35307" y="31359"/>
                </a:cubicBezTo>
                <a:cubicBezTo>
                  <a:pt x="35201" y="22688"/>
                  <a:pt x="35201" y="22688"/>
                  <a:pt x="35201" y="22688"/>
                </a:cubicBezTo>
                <a:cubicBezTo>
                  <a:pt x="27240" y="22579"/>
                  <a:pt x="27240" y="22579"/>
                  <a:pt x="27240" y="22579"/>
                </a:cubicBezTo>
                <a:cubicBezTo>
                  <a:pt x="24087" y="24338"/>
                  <a:pt x="22064" y="25278"/>
                  <a:pt x="21363" y="25590"/>
                </a:cubicBezTo>
                <a:cubicBezTo>
                  <a:pt x="21363" y="25595"/>
                  <a:pt x="21365" y="25602"/>
                  <a:pt x="21365" y="25609"/>
                </a:cubicBezTo>
                <a:cubicBezTo>
                  <a:pt x="21365" y="53330"/>
                  <a:pt x="21365" y="53330"/>
                  <a:pt x="21365" y="53330"/>
                </a:cubicBezTo>
                <a:close/>
                <a:moveTo>
                  <a:pt x="39497" y="42224"/>
                </a:moveTo>
                <a:cubicBezTo>
                  <a:pt x="39497" y="42224"/>
                  <a:pt x="39497" y="42224"/>
                  <a:pt x="39497" y="42224"/>
                </a:cubicBezTo>
                <a:cubicBezTo>
                  <a:pt x="36931" y="41691"/>
                  <a:pt x="35471" y="40439"/>
                  <a:pt x="34971" y="39937"/>
                </a:cubicBezTo>
                <a:cubicBezTo>
                  <a:pt x="34500" y="40366"/>
                  <a:pt x="34401" y="40867"/>
                  <a:pt x="34398" y="41215"/>
                </a:cubicBezTo>
                <a:cubicBezTo>
                  <a:pt x="34692" y="43502"/>
                  <a:pt x="35158" y="45391"/>
                  <a:pt x="35284" y="45871"/>
                </a:cubicBezTo>
                <a:cubicBezTo>
                  <a:pt x="36898" y="47055"/>
                  <a:pt x="38557" y="47694"/>
                  <a:pt x="39443" y="47980"/>
                </a:cubicBezTo>
                <a:cubicBezTo>
                  <a:pt x="38188" y="44544"/>
                  <a:pt x="38188" y="44544"/>
                  <a:pt x="38188" y="44544"/>
                </a:cubicBezTo>
                <a:cubicBezTo>
                  <a:pt x="39497" y="42224"/>
                  <a:pt x="39497" y="42224"/>
                  <a:pt x="39497" y="42224"/>
                </a:cubicBezTo>
                <a:close/>
                <a:moveTo>
                  <a:pt x="35532" y="38794"/>
                </a:moveTo>
                <a:cubicBezTo>
                  <a:pt x="35532" y="38794"/>
                  <a:pt x="35532" y="38794"/>
                  <a:pt x="35532" y="38794"/>
                </a:cubicBezTo>
                <a:cubicBezTo>
                  <a:pt x="39620" y="36268"/>
                  <a:pt x="40950" y="34453"/>
                  <a:pt x="41199" y="34074"/>
                </a:cubicBezTo>
                <a:cubicBezTo>
                  <a:pt x="41064" y="28312"/>
                  <a:pt x="41064" y="28312"/>
                  <a:pt x="41064" y="28312"/>
                </a:cubicBezTo>
                <a:cubicBezTo>
                  <a:pt x="36576" y="31283"/>
                  <a:pt x="36576" y="31283"/>
                  <a:pt x="36576" y="31283"/>
                </a:cubicBezTo>
                <a:cubicBezTo>
                  <a:pt x="34256" y="32528"/>
                  <a:pt x="33963" y="36285"/>
                  <a:pt x="34237" y="39689"/>
                </a:cubicBezTo>
                <a:cubicBezTo>
                  <a:pt x="34522" y="39341"/>
                  <a:pt x="34938" y="39026"/>
                  <a:pt x="35532" y="38794"/>
                </a:cubicBezTo>
                <a:close/>
                <a:moveTo>
                  <a:pt x="28436" y="29129"/>
                </a:moveTo>
                <a:cubicBezTo>
                  <a:pt x="26301" y="27335"/>
                  <a:pt x="26301" y="27335"/>
                  <a:pt x="26301" y="27335"/>
                </a:cubicBezTo>
                <a:cubicBezTo>
                  <a:pt x="26315" y="29799"/>
                  <a:pt x="26315" y="29799"/>
                  <a:pt x="26315" y="29799"/>
                </a:cubicBezTo>
                <a:cubicBezTo>
                  <a:pt x="28436" y="31567"/>
                  <a:pt x="28436" y="31567"/>
                  <a:pt x="28436" y="31567"/>
                </a:cubicBezTo>
                <a:cubicBezTo>
                  <a:pt x="28436" y="29129"/>
                  <a:pt x="28436" y="29129"/>
                  <a:pt x="28436" y="29129"/>
                </a:cubicBezTo>
                <a:cubicBezTo>
                  <a:pt x="28436" y="29129"/>
                  <a:pt x="28436" y="29129"/>
                  <a:pt x="28436" y="29129"/>
                </a:cubicBezTo>
                <a:close/>
                <a:moveTo>
                  <a:pt x="31577" y="30329"/>
                </a:moveTo>
                <a:cubicBezTo>
                  <a:pt x="31610" y="28637"/>
                  <a:pt x="29444" y="25659"/>
                  <a:pt x="29444" y="25659"/>
                </a:cubicBezTo>
                <a:cubicBezTo>
                  <a:pt x="29458" y="28559"/>
                  <a:pt x="29458" y="28559"/>
                  <a:pt x="29458" y="28559"/>
                </a:cubicBezTo>
                <a:cubicBezTo>
                  <a:pt x="29458" y="28559"/>
                  <a:pt x="30864" y="29614"/>
                  <a:pt x="31577" y="30329"/>
                </a:cubicBezTo>
                <a:cubicBezTo>
                  <a:pt x="31577" y="30329"/>
                  <a:pt x="31577" y="30329"/>
                  <a:pt x="31577" y="30329"/>
                </a:cubicBezTo>
                <a:close/>
                <a:moveTo>
                  <a:pt x="28412" y="28104"/>
                </a:moveTo>
                <a:cubicBezTo>
                  <a:pt x="28412" y="28104"/>
                  <a:pt x="28412" y="25515"/>
                  <a:pt x="28412" y="24423"/>
                </a:cubicBezTo>
                <a:cubicBezTo>
                  <a:pt x="25957" y="25103"/>
                  <a:pt x="26293" y="26334"/>
                  <a:pt x="26293" y="26334"/>
                </a:cubicBezTo>
                <a:cubicBezTo>
                  <a:pt x="28412" y="28104"/>
                  <a:pt x="28412" y="28104"/>
                  <a:pt x="28412" y="28104"/>
                </a:cubicBezTo>
                <a:cubicBezTo>
                  <a:pt x="28412" y="28104"/>
                  <a:pt x="28412" y="28104"/>
                  <a:pt x="28412" y="28104"/>
                </a:cubicBezTo>
                <a:close/>
                <a:moveTo>
                  <a:pt x="25373" y="27098"/>
                </a:moveTo>
                <a:cubicBezTo>
                  <a:pt x="25373" y="27098"/>
                  <a:pt x="25221" y="26890"/>
                  <a:pt x="25051" y="26762"/>
                </a:cubicBezTo>
                <a:cubicBezTo>
                  <a:pt x="24487" y="26329"/>
                  <a:pt x="23271" y="27257"/>
                  <a:pt x="23271" y="27257"/>
                </a:cubicBezTo>
                <a:cubicBezTo>
                  <a:pt x="25389" y="29027"/>
                  <a:pt x="25389" y="29027"/>
                  <a:pt x="25389" y="29027"/>
                </a:cubicBezTo>
                <a:cubicBezTo>
                  <a:pt x="25373" y="27098"/>
                  <a:pt x="25373" y="27098"/>
                  <a:pt x="25373" y="27098"/>
                </a:cubicBezTo>
                <a:cubicBezTo>
                  <a:pt x="25373" y="27098"/>
                  <a:pt x="25373" y="27098"/>
                  <a:pt x="25373" y="27098"/>
                </a:cubicBezTo>
                <a:close/>
                <a:moveTo>
                  <a:pt x="31766" y="31536"/>
                </a:moveTo>
                <a:cubicBezTo>
                  <a:pt x="30190" y="30339"/>
                  <a:pt x="29387" y="29799"/>
                  <a:pt x="29387" y="29799"/>
                </a:cubicBezTo>
                <a:cubicBezTo>
                  <a:pt x="29378" y="31501"/>
                  <a:pt x="29378" y="31501"/>
                  <a:pt x="29378" y="31501"/>
                </a:cubicBezTo>
                <a:cubicBezTo>
                  <a:pt x="29378" y="31501"/>
                  <a:pt x="30658" y="32097"/>
                  <a:pt x="31575" y="32959"/>
                </a:cubicBezTo>
                <a:cubicBezTo>
                  <a:pt x="32105" y="32900"/>
                  <a:pt x="32128" y="32488"/>
                  <a:pt x="31766" y="31536"/>
                </a:cubicBezTo>
                <a:cubicBezTo>
                  <a:pt x="31766" y="31536"/>
                  <a:pt x="31766" y="31536"/>
                  <a:pt x="31766" y="31536"/>
                </a:cubicBezTo>
                <a:close/>
                <a:moveTo>
                  <a:pt x="26315" y="33478"/>
                </a:moveTo>
                <a:cubicBezTo>
                  <a:pt x="26315" y="34235"/>
                  <a:pt x="28275" y="35508"/>
                  <a:pt x="28275" y="35146"/>
                </a:cubicBezTo>
                <a:cubicBezTo>
                  <a:pt x="28275" y="34784"/>
                  <a:pt x="28275" y="32708"/>
                  <a:pt x="28275" y="32708"/>
                </a:cubicBezTo>
                <a:cubicBezTo>
                  <a:pt x="26301" y="31013"/>
                  <a:pt x="26301" y="31013"/>
                  <a:pt x="26301" y="31013"/>
                </a:cubicBezTo>
                <a:cubicBezTo>
                  <a:pt x="26301" y="31013"/>
                  <a:pt x="26315" y="32718"/>
                  <a:pt x="26315" y="33478"/>
                </a:cubicBezTo>
                <a:cubicBezTo>
                  <a:pt x="26315" y="33478"/>
                  <a:pt x="26315" y="33478"/>
                  <a:pt x="26315" y="33478"/>
                </a:cubicBezTo>
                <a:close/>
                <a:moveTo>
                  <a:pt x="25344" y="30597"/>
                </a:moveTo>
                <a:cubicBezTo>
                  <a:pt x="23574" y="29101"/>
                  <a:pt x="23574" y="29101"/>
                  <a:pt x="23574" y="29101"/>
                </a:cubicBezTo>
                <a:cubicBezTo>
                  <a:pt x="25344" y="33035"/>
                  <a:pt x="25344" y="33035"/>
                  <a:pt x="25344" y="33035"/>
                </a:cubicBezTo>
                <a:cubicBezTo>
                  <a:pt x="25344" y="30597"/>
                  <a:pt x="25344" y="30597"/>
                  <a:pt x="25344" y="30597"/>
                </a:cubicBezTo>
                <a:cubicBezTo>
                  <a:pt x="25344" y="30597"/>
                  <a:pt x="25344" y="30597"/>
                  <a:pt x="25344" y="30597"/>
                </a:cubicBezTo>
                <a:close/>
                <a:moveTo>
                  <a:pt x="29690" y="32912"/>
                </a:moveTo>
                <a:cubicBezTo>
                  <a:pt x="29690" y="32912"/>
                  <a:pt x="29690" y="32912"/>
                  <a:pt x="29690" y="32912"/>
                </a:cubicBezTo>
                <a:cubicBezTo>
                  <a:pt x="29825" y="32959"/>
                  <a:pt x="32971" y="34105"/>
                  <a:pt x="32330" y="36171"/>
                </a:cubicBezTo>
                <a:cubicBezTo>
                  <a:pt x="32313" y="36209"/>
                  <a:pt x="32313" y="36209"/>
                  <a:pt x="32313" y="36209"/>
                </a:cubicBezTo>
                <a:cubicBezTo>
                  <a:pt x="29392" y="42825"/>
                  <a:pt x="29392" y="42825"/>
                  <a:pt x="29392" y="42825"/>
                </a:cubicBezTo>
                <a:cubicBezTo>
                  <a:pt x="29387" y="42877"/>
                  <a:pt x="29375" y="43036"/>
                  <a:pt x="29484" y="43178"/>
                </a:cubicBezTo>
                <a:cubicBezTo>
                  <a:pt x="29593" y="43322"/>
                  <a:pt x="29865" y="43502"/>
                  <a:pt x="30521" y="43533"/>
                </a:cubicBezTo>
                <a:cubicBezTo>
                  <a:pt x="30545" y="43530"/>
                  <a:pt x="30568" y="43528"/>
                  <a:pt x="30595" y="43528"/>
                </a:cubicBezTo>
                <a:cubicBezTo>
                  <a:pt x="30954" y="43528"/>
                  <a:pt x="31414" y="43800"/>
                  <a:pt x="31539" y="45093"/>
                </a:cubicBezTo>
                <a:cubicBezTo>
                  <a:pt x="31577" y="45476"/>
                  <a:pt x="31577" y="45476"/>
                  <a:pt x="31577" y="45476"/>
                </a:cubicBezTo>
                <a:cubicBezTo>
                  <a:pt x="28921" y="45500"/>
                  <a:pt x="28921" y="45500"/>
                  <a:pt x="28921" y="45500"/>
                </a:cubicBezTo>
                <a:cubicBezTo>
                  <a:pt x="28788" y="45595"/>
                  <a:pt x="28381" y="45933"/>
                  <a:pt x="28012" y="46828"/>
                </a:cubicBezTo>
                <a:cubicBezTo>
                  <a:pt x="27889" y="47218"/>
                  <a:pt x="27458" y="48416"/>
                  <a:pt x="26760" y="48504"/>
                </a:cubicBezTo>
                <a:cubicBezTo>
                  <a:pt x="26663" y="48516"/>
                  <a:pt x="26613" y="48710"/>
                  <a:pt x="26613" y="48710"/>
                </a:cubicBezTo>
                <a:cubicBezTo>
                  <a:pt x="26407" y="49801"/>
                  <a:pt x="26407" y="49801"/>
                  <a:pt x="26407" y="49801"/>
                </a:cubicBezTo>
                <a:cubicBezTo>
                  <a:pt x="25946" y="48790"/>
                  <a:pt x="25946" y="48790"/>
                  <a:pt x="25946" y="48790"/>
                </a:cubicBezTo>
                <a:cubicBezTo>
                  <a:pt x="25922" y="48743"/>
                  <a:pt x="25553" y="47921"/>
                  <a:pt x="25477" y="46996"/>
                </a:cubicBezTo>
                <a:cubicBezTo>
                  <a:pt x="25193" y="47266"/>
                  <a:pt x="24887" y="47460"/>
                  <a:pt x="24592" y="47474"/>
                </a:cubicBezTo>
                <a:cubicBezTo>
                  <a:pt x="24561" y="47476"/>
                  <a:pt x="24561" y="47476"/>
                  <a:pt x="24561" y="47476"/>
                </a:cubicBezTo>
                <a:cubicBezTo>
                  <a:pt x="24530" y="47474"/>
                  <a:pt x="24530" y="47474"/>
                  <a:pt x="24530" y="47474"/>
                </a:cubicBezTo>
                <a:cubicBezTo>
                  <a:pt x="24343" y="47474"/>
                  <a:pt x="23661" y="47640"/>
                  <a:pt x="23349" y="47822"/>
                </a:cubicBezTo>
                <a:cubicBezTo>
                  <a:pt x="22977" y="48040"/>
                  <a:pt x="22977" y="48040"/>
                  <a:pt x="22977" y="48040"/>
                </a:cubicBezTo>
                <a:cubicBezTo>
                  <a:pt x="22838" y="47633"/>
                  <a:pt x="22838" y="47633"/>
                  <a:pt x="22838" y="47633"/>
                </a:cubicBezTo>
                <a:cubicBezTo>
                  <a:pt x="22660" y="47119"/>
                  <a:pt x="23273" y="45460"/>
                  <a:pt x="23704" y="44712"/>
                </a:cubicBezTo>
                <a:cubicBezTo>
                  <a:pt x="23420" y="44735"/>
                  <a:pt x="23157" y="44761"/>
                  <a:pt x="22982" y="44787"/>
                </a:cubicBezTo>
                <a:cubicBezTo>
                  <a:pt x="22241" y="44896"/>
                  <a:pt x="22241" y="44896"/>
                  <a:pt x="22241" y="44896"/>
                </a:cubicBezTo>
                <a:cubicBezTo>
                  <a:pt x="22629" y="44255"/>
                  <a:pt x="22629" y="44255"/>
                  <a:pt x="22629" y="44255"/>
                </a:cubicBezTo>
                <a:cubicBezTo>
                  <a:pt x="22748" y="44058"/>
                  <a:pt x="23361" y="43064"/>
                  <a:pt x="23815" y="42766"/>
                </a:cubicBezTo>
                <a:cubicBezTo>
                  <a:pt x="24068" y="42600"/>
                  <a:pt x="24518" y="42532"/>
                  <a:pt x="25231" y="42439"/>
                </a:cubicBezTo>
                <a:cubicBezTo>
                  <a:pt x="25657" y="42385"/>
                  <a:pt x="26237" y="42309"/>
                  <a:pt x="26391" y="42212"/>
                </a:cubicBezTo>
                <a:cubicBezTo>
                  <a:pt x="26419" y="42195"/>
                  <a:pt x="26419" y="42195"/>
                  <a:pt x="26419" y="42195"/>
                </a:cubicBezTo>
                <a:cubicBezTo>
                  <a:pt x="26440" y="42183"/>
                  <a:pt x="29110" y="40664"/>
                  <a:pt x="29222" y="33238"/>
                </a:cubicBezTo>
                <a:cubicBezTo>
                  <a:pt x="29229" y="32746"/>
                  <a:pt x="29229" y="32746"/>
                  <a:pt x="29229" y="32746"/>
                </a:cubicBezTo>
                <a:cubicBezTo>
                  <a:pt x="29690" y="32912"/>
                  <a:pt x="29690" y="32912"/>
                  <a:pt x="29690" y="32912"/>
                </a:cubicBezTo>
                <a:close/>
                <a:moveTo>
                  <a:pt x="28732" y="42574"/>
                </a:moveTo>
                <a:cubicBezTo>
                  <a:pt x="28732" y="42574"/>
                  <a:pt x="28732" y="42574"/>
                  <a:pt x="28732" y="42574"/>
                </a:cubicBezTo>
                <a:cubicBezTo>
                  <a:pt x="31473" y="36365"/>
                  <a:pt x="31473" y="36365"/>
                  <a:pt x="31473" y="36365"/>
                </a:cubicBezTo>
                <a:cubicBezTo>
                  <a:pt x="30571" y="36247"/>
                  <a:pt x="30019" y="36308"/>
                  <a:pt x="29702" y="36391"/>
                </a:cubicBezTo>
                <a:cubicBezTo>
                  <a:pt x="29013" y="41445"/>
                  <a:pt x="26978" y="42692"/>
                  <a:pt x="26755" y="42816"/>
                </a:cubicBezTo>
                <a:cubicBezTo>
                  <a:pt x="26488" y="42979"/>
                  <a:pt x="26033" y="43048"/>
                  <a:pt x="25323" y="43140"/>
                </a:cubicBezTo>
                <a:cubicBezTo>
                  <a:pt x="24932" y="43190"/>
                  <a:pt x="24338" y="43268"/>
                  <a:pt x="24203" y="43358"/>
                </a:cubicBezTo>
                <a:cubicBezTo>
                  <a:pt x="24066" y="43447"/>
                  <a:pt x="23846" y="43715"/>
                  <a:pt x="23635" y="44009"/>
                </a:cubicBezTo>
                <a:cubicBezTo>
                  <a:pt x="23971" y="43980"/>
                  <a:pt x="24341" y="43954"/>
                  <a:pt x="24670" y="43931"/>
                </a:cubicBezTo>
                <a:cubicBezTo>
                  <a:pt x="24672" y="43931"/>
                  <a:pt x="24672" y="43931"/>
                  <a:pt x="24672" y="43931"/>
                </a:cubicBezTo>
                <a:cubicBezTo>
                  <a:pt x="24850" y="43895"/>
                  <a:pt x="25056" y="43883"/>
                  <a:pt x="25309" y="43878"/>
                </a:cubicBezTo>
                <a:cubicBezTo>
                  <a:pt x="25358" y="43876"/>
                  <a:pt x="25394" y="43876"/>
                  <a:pt x="25418" y="43876"/>
                </a:cubicBezTo>
                <a:cubicBezTo>
                  <a:pt x="25688" y="43876"/>
                  <a:pt x="25792" y="44082"/>
                  <a:pt x="25796" y="44219"/>
                </a:cubicBezTo>
                <a:cubicBezTo>
                  <a:pt x="25804" y="44466"/>
                  <a:pt x="25697" y="44544"/>
                  <a:pt x="25422" y="44581"/>
                </a:cubicBezTo>
                <a:cubicBezTo>
                  <a:pt x="25415" y="44581"/>
                  <a:pt x="25415" y="44581"/>
                  <a:pt x="25415" y="44581"/>
                </a:cubicBezTo>
                <a:cubicBezTo>
                  <a:pt x="25306" y="44598"/>
                  <a:pt x="25174" y="44605"/>
                  <a:pt x="25013" y="44617"/>
                </a:cubicBezTo>
                <a:cubicBezTo>
                  <a:pt x="24771" y="44631"/>
                  <a:pt x="24771" y="44631"/>
                  <a:pt x="24771" y="44631"/>
                </a:cubicBezTo>
                <a:cubicBezTo>
                  <a:pt x="24646" y="44664"/>
                  <a:pt x="24570" y="44712"/>
                  <a:pt x="24424" y="44894"/>
                </a:cubicBezTo>
                <a:cubicBezTo>
                  <a:pt x="24135" y="45256"/>
                  <a:pt x="23725" y="46324"/>
                  <a:pt x="23569" y="46967"/>
                </a:cubicBezTo>
                <a:cubicBezTo>
                  <a:pt x="23969" y="46837"/>
                  <a:pt x="24386" y="46759"/>
                  <a:pt x="24570" y="46768"/>
                </a:cubicBezTo>
                <a:cubicBezTo>
                  <a:pt x="24726" y="46743"/>
                  <a:pt x="25119" y="46449"/>
                  <a:pt x="25621" y="45715"/>
                </a:cubicBezTo>
                <a:cubicBezTo>
                  <a:pt x="25699" y="45507"/>
                  <a:pt x="25804" y="45320"/>
                  <a:pt x="25936" y="45159"/>
                </a:cubicBezTo>
                <a:cubicBezTo>
                  <a:pt x="25972" y="45112"/>
                  <a:pt x="26069" y="44991"/>
                  <a:pt x="26246" y="44991"/>
                </a:cubicBezTo>
                <a:cubicBezTo>
                  <a:pt x="26459" y="44991"/>
                  <a:pt x="26459" y="44991"/>
                  <a:pt x="26459" y="44991"/>
                </a:cubicBezTo>
                <a:cubicBezTo>
                  <a:pt x="26561" y="45180"/>
                  <a:pt x="26561" y="45180"/>
                  <a:pt x="26561" y="45180"/>
                </a:cubicBezTo>
                <a:cubicBezTo>
                  <a:pt x="26649" y="45346"/>
                  <a:pt x="26644" y="45460"/>
                  <a:pt x="26258" y="46035"/>
                </a:cubicBezTo>
                <a:cubicBezTo>
                  <a:pt x="26078" y="46612"/>
                  <a:pt x="26208" y="47358"/>
                  <a:pt x="26372" y="47905"/>
                </a:cubicBezTo>
                <a:cubicBezTo>
                  <a:pt x="26457" y="47855"/>
                  <a:pt x="26556" y="47817"/>
                  <a:pt x="26672" y="47803"/>
                </a:cubicBezTo>
                <a:cubicBezTo>
                  <a:pt x="26814" y="47775"/>
                  <a:pt x="27148" y="47233"/>
                  <a:pt x="27342" y="46603"/>
                </a:cubicBezTo>
                <a:cubicBezTo>
                  <a:pt x="27352" y="46575"/>
                  <a:pt x="27352" y="46575"/>
                  <a:pt x="27352" y="46575"/>
                </a:cubicBezTo>
                <a:cubicBezTo>
                  <a:pt x="27917" y="45199"/>
                  <a:pt x="28606" y="44861"/>
                  <a:pt x="28682" y="44825"/>
                </a:cubicBezTo>
                <a:cubicBezTo>
                  <a:pt x="28751" y="44797"/>
                  <a:pt x="28751" y="44797"/>
                  <a:pt x="28751" y="44797"/>
                </a:cubicBezTo>
                <a:cubicBezTo>
                  <a:pt x="30784" y="44776"/>
                  <a:pt x="30784" y="44776"/>
                  <a:pt x="30784" y="44776"/>
                </a:cubicBezTo>
                <a:cubicBezTo>
                  <a:pt x="30710" y="44406"/>
                  <a:pt x="30613" y="44278"/>
                  <a:pt x="30576" y="44241"/>
                </a:cubicBezTo>
                <a:cubicBezTo>
                  <a:pt x="30533" y="44241"/>
                  <a:pt x="30533" y="44241"/>
                  <a:pt x="30533" y="44241"/>
                </a:cubicBezTo>
                <a:cubicBezTo>
                  <a:pt x="29752" y="44210"/>
                  <a:pt x="29205" y="43990"/>
                  <a:pt x="28909" y="43587"/>
                </a:cubicBezTo>
                <a:cubicBezTo>
                  <a:pt x="28585" y="43147"/>
                  <a:pt x="28701" y="42676"/>
                  <a:pt x="28713" y="42624"/>
                </a:cubicBezTo>
                <a:cubicBezTo>
                  <a:pt x="28732" y="42574"/>
                  <a:pt x="28732" y="42574"/>
                  <a:pt x="28732" y="42574"/>
                </a:cubicBezTo>
                <a:close/>
                <a:moveTo>
                  <a:pt x="18629" y="42962"/>
                </a:moveTo>
                <a:cubicBezTo>
                  <a:pt x="19713" y="37452"/>
                  <a:pt x="18882" y="36505"/>
                  <a:pt x="18882" y="36505"/>
                </a:cubicBezTo>
                <a:cubicBezTo>
                  <a:pt x="18882" y="36505"/>
                  <a:pt x="19375" y="32999"/>
                  <a:pt x="18882" y="30618"/>
                </a:cubicBezTo>
                <a:cubicBezTo>
                  <a:pt x="18634" y="29408"/>
                  <a:pt x="18882" y="26348"/>
                  <a:pt x="18882" y="26348"/>
                </a:cubicBezTo>
                <a:cubicBezTo>
                  <a:pt x="18882" y="26348"/>
                  <a:pt x="18735" y="26099"/>
                  <a:pt x="18357" y="26523"/>
                </a:cubicBezTo>
                <a:cubicBezTo>
                  <a:pt x="16846" y="26132"/>
                  <a:pt x="15190" y="27051"/>
                  <a:pt x="14572" y="27131"/>
                </a:cubicBezTo>
                <a:cubicBezTo>
                  <a:pt x="14176" y="27181"/>
                  <a:pt x="13750" y="27297"/>
                  <a:pt x="13452" y="27224"/>
                </a:cubicBezTo>
                <a:cubicBezTo>
                  <a:pt x="13383" y="27389"/>
                  <a:pt x="13090" y="27953"/>
                  <a:pt x="13857" y="28232"/>
                </a:cubicBezTo>
                <a:cubicBezTo>
                  <a:pt x="14702" y="28542"/>
                  <a:pt x="14853" y="28625"/>
                  <a:pt x="14853" y="28625"/>
                </a:cubicBezTo>
                <a:cubicBezTo>
                  <a:pt x="14155" y="29501"/>
                  <a:pt x="14155" y="29501"/>
                  <a:pt x="14155" y="29501"/>
                </a:cubicBezTo>
                <a:cubicBezTo>
                  <a:pt x="14155" y="29501"/>
                  <a:pt x="14281" y="29827"/>
                  <a:pt x="14636" y="29849"/>
                </a:cubicBezTo>
                <a:cubicBezTo>
                  <a:pt x="14991" y="29868"/>
                  <a:pt x="15204" y="30081"/>
                  <a:pt x="14789" y="30751"/>
                </a:cubicBezTo>
                <a:cubicBezTo>
                  <a:pt x="14238" y="31640"/>
                  <a:pt x="13151" y="32107"/>
                  <a:pt x="13151" y="32107"/>
                </a:cubicBezTo>
                <a:cubicBezTo>
                  <a:pt x="13151" y="32107"/>
                  <a:pt x="12108" y="32429"/>
                  <a:pt x="11703" y="32303"/>
                </a:cubicBezTo>
                <a:cubicBezTo>
                  <a:pt x="11490" y="32436"/>
                  <a:pt x="11355" y="32308"/>
                  <a:pt x="11355" y="32308"/>
                </a:cubicBezTo>
                <a:cubicBezTo>
                  <a:pt x="11355" y="31418"/>
                  <a:pt x="11355" y="31418"/>
                  <a:pt x="11355" y="31418"/>
                </a:cubicBezTo>
                <a:cubicBezTo>
                  <a:pt x="12794" y="31427"/>
                  <a:pt x="12794" y="31427"/>
                  <a:pt x="12794" y="31427"/>
                </a:cubicBezTo>
                <a:cubicBezTo>
                  <a:pt x="11693" y="28814"/>
                  <a:pt x="11693" y="28814"/>
                  <a:pt x="11693" y="28814"/>
                </a:cubicBezTo>
                <a:cubicBezTo>
                  <a:pt x="12418" y="28814"/>
                  <a:pt x="12418" y="28814"/>
                  <a:pt x="12418" y="28814"/>
                </a:cubicBezTo>
                <a:cubicBezTo>
                  <a:pt x="11471" y="26539"/>
                  <a:pt x="11471" y="26539"/>
                  <a:pt x="11471" y="26539"/>
                </a:cubicBezTo>
                <a:cubicBezTo>
                  <a:pt x="12053" y="26539"/>
                  <a:pt x="12053" y="26539"/>
                  <a:pt x="12053" y="26539"/>
                </a:cubicBezTo>
                <a:cubicBezTo>
                  <a:pt x="10649" y="23694"/>
                  <a:pt x="10649" y="23694"/>
                  <a:pt x="10649" y="23694"/>
                </a:cubicBezTo>
                <a:cubicBezTo>
                  <a:pt x="8969" y="26539"/>
                  <a:pt x="8969" y="26539"/>
                  <a:pt x="8969" y="26539"/>
                </a:cubicBezTo>
                <a:cubicBezTo>
                  <a:pt x="9778" y="26539"/>
                  <a:pt x="9778" y="26539"/>
                  <a:pt x="9778" y="26539"/>
                </a:cubicBezTo>
                <a:cubicBezTo>
                  <a:pt x="8848" y="28814"/>
                  <a:pt x="8848" y="28814"/>
                  <a:pt x="8848" y="28814"/>
                </a:cubicBezTo>
                <a:cubicBezTo>
                  <a:pt x="9594" y="28814"/>
                  <a:pt x="9594" y="28814"/>
                  <a:pt x="9594" y="28814"/>
                </a:cubicBezTo>
                <a:cubicBezTo>
                  <a:pt x="8287" y="31427"/>
                  <a:pt x="8287" y="31427"/>
                  <a:pt x="8287" y="31427"/>
                </a:cubicBezTo>
                <a:cubicBezTo>
                  <a:pt x="10126" y="31427"/>
                  <a:pt x="10126" y="31427"/>
                  <a:pt x="10126" y="31427"/>
                </a:cubicBezTo>
                <a:cubicBezTo>
                  <a:pt x="10391" y="32325"/>
                  <a:pt x="9651" y="32737"/>
                  <a:pt x="9601" y="33004"/>
                </a:cubicBezTo>
                <a:cubicBezTo>
                  <a:pt x="9508" y="33508"/>
                  <a:pt x="10126" y="33880"/>
                  <a:pt x="10126" y="33880"/>
                </a:cubicBezTo>
                <a:cubicBezTo>
                  <a:pt x="10126" y="33880"/>
                  <a:pt x="10197" y="35352"/>
                  <a:pt x="10084" y="35717"/>
                </a:cubicBezTo>
                <a:cubicBezTo>
                  <a:pt x="9970" y="36079"/>
                  <a:pt x="9426" y="36154"/>
                  <a:pt x="9426" y="36154"/>
                </a:cubicBezTo>
                <a:cubicBezTo>
                  <a:pt x="9426" y="36154"/>
                  <a:pt x="9492" y="36888"/>
                  <a:pt x="10126" y="37030"/>
                </a:cubicBezTo>
                <a:cubicBezTo>
                  <a:pt x="10126" y="37547"/>
                  <a:pt x="10105" y="38652"/>
                  <a:pt x="10105" y="38652"/>
                </a:cubicBezTo>
                <a:cubicBezTo>
                  <a:pt x="9584" y="39182"/>
                  <a:pt x="9584" y="39182"/>
                  <a:pt x="9584" y="39182"/>
                </a:cubicBezTo>
                <a:cubicBezTo>
                  <a:pt x="10126" y="39658"/>
                  <a:pt x="10126" y="39658"/>
                  <a:pt x="10126" y="39658"/>
                </a:cubicBezTo>
                <a:cubicBezTo>
                  <a:pt x="9809" y="40089"/>
                  <a:pt x="9809" y="40089"/>
                  <a:pt x="9809" y="40089"/>
                </a:cubicBezTo>
                <a:cubicBezTo>
                  <a:pt x="10562" y="40773"/>
                  <a:pt x="10562" y="40773"/>
                  <a:pt x="10562" y="40773"/>
                </a:cubicBezTo>
                <a:cubicBezTo>
                  <a:pt x="11277" y="40084"/>
                  <a:pt x="11277" y="40084"/>
                  <a:pt x="11277" y="40084"/>
                </a:cubicBezTo>
                <a:cubicBezTo>
                  <a:pt x="11002" y="39658"/>
                  <a:pt x="11002" y="39658"/>
                  <a:pt x="11002" y="39658"/>
                </a:cubicBezTo>
                <a:cubicBezTo>
                  <a:pt x="11516" y="39182"/>
                  <a:pt x="11516" y="39182"/>
                  <a:pt x="11516" y="39182"/>
                </a:cubicBezTo>
                <a:cubicBezTo>
                  <a:pt x="11009" y="38652"/>
                  <a:pt x="11009" y="38652"/>
                  <a:pt x="11009" y="38652"/>
                </a:cubicBezTo>
                <a:cubicBezTo>
                  <a:pt x="11009" y="38652"/>
                  <a:pt x="11002" y="37643"/>
                  <a:pt x="11002" y="37381"/>
                </a:cubicBezTo>
                <a:cubicBezTo>
                  <a:pt x="11002" y="37118"/>
                  <a:pt x="13102" y="36505"/>
                  <a:pt x="13102" y="36505"/>
                </a:cubicBezTo>
                <a:cubicBezTo>
                  <a:pt x="13102" y="36505"/>
                  <a:pt x="14463" y="37658"/>
                  <a:pt x="14068" y="38870"/>
                </a:cubicBezTo>
                <a:cubicBezTo>
                  <a:pt x="13772" y="39774"/>
                  <a:pt x="11947" y="41691"/>
                  <a:pt x="11947" y="41691"/>
                </a:cubicBezTo>
                <a:cubicBezTo>
                  <a:pt x="10578" y="43665"/>
                  <a:pt x="11615" y="44186"/>
                  <a:pt x="11873" y="44936"/>
                </a:cubicBezTo>
                <a:cubicBezTo>
                  <a:pt x="12072" y="45521"/>
                  <a:pt x="11544" y="46061"/>
                  <a:pt x="11045" y="46395"/>
                </a:cubicBezTo>
                <a:cubicBezTo>
                  <a:pt x="10126" y="47012"/>
                  <a:pt x="10126" y="47715"/>
                  <a:pt x="10126" y="47715"/>
                </a:cubicBezTo>
                <a:cubicBezTo>
                  <a:pt x="11667" y="47720"/>
                  <a:pt x="11667" y="47720"/>
                  <a:pt x="11667" y="47720"/>
                </a:cubicBezTo>
                <a:cubicBezTo>
                  <a:pt x="13570" y="47720"/>
                  <a:pt x="13570" y="47720"/>
                  <a:pt x="13570" y="47720"/>
                </a:cubicBezTo>
                <a:cubicBezTo>
                  <a:pt x="13857" y="46664"/>
                  <a:pt x="13575" y="45102"/>
                  <a:pt x="13575" y="45102"/>
                </a:cubicBezTo>
                <a:cubicBezTo>
                  <a:pt x="13596" y="42953"/>
                  <a:pt x="15379" y="42811"/>
                  <a:pt x="15379" y="42811"/>
                </a:cubicBezTo>
                <a:cubicBezTo>
                  <a:pt x="15698" y="43440"/>
                  <a:pt x="15859" y="43755"/>
                  <a:pt x="16179" y="44214"/>
                </a:cubicBezTo>
                <a:cubicBezTo>
                  <a:pt x="16858" y="45194"/>
                  <a:pt x="16955" y="46139"/>
                  <a:pt x="16955" y="46139"/>
                </a:cubicBezTo>
                <a:cubicBezTo>
                  <a:pt x="16697" y="46577"/>
                  <a:pt x="16345" y="46811"/>
                  <a:pt x="16070" y="46908"/>
                </a:cubicBezTo>
                <a:cubicBezTo>
                  <a:pt x="15055" y="47273"/>
                  <a:pt x="15379" y="47715"/>
                  <a:pt x="15379" y="47715"/>
                </a:cubicBezTo>
                <a:cubicBezTo>
                  <a:pt x="15398" y="47706"/>
                  <a:pt x="16515" y="47720"/>
                  <a:pt x="16515" y="47720"/>
                </a:cubicBezTo>
                <a:cubicBezTo>
                  <a:pt x="19940" y="47910"/>
                  <a:pt x="19408" y="46312"/>
                  <a:pt x="19408" y="46312"/>
                </a:cubicBezTo>
                <a:cubicBezTo>
                  <a:pt x="18264" y="44813"/>
                  <a:pt x="18629" y="42962"/>
                  <a:pt x="18629" y="42962"/>
                </a:cubicBezTo>
                <a:cubicBezTo>
                  <a:pt x="18629" y="42962"/>
                  <a:pt x="18629" y="42962"/>
                  <a:pt x="18629" y="42962"/>
                </a:cubicBezTo>
                <a:close/>
                <a:moveTo>
                  <a:pt x="26810" y="7709"/>
                </a:moveTo>
                <a:cubicBezTo>
                  <a:pt x="27541" y="4847"/>
                  <a:pt x="27541" y="4847"/>
                  <a:pt x="27541" y="4847"/>
                </a:cubicBezTo>
                <a:cubicBezTo>
                  <a:pt x="21538" y="4847"/>
                  <a:pt x="21538" y="4847"/>
                  <a:pt x="21538" y="4847"/>
                </a:cubicBezTo>
                <a:cubicBezTo>
                  <a:pt x="26810" y="7709"/>
                  <a:pt x="26810" y="7709"/>
                  <a:pt x="26810" y="7709"/>
                </a:cubicBezTo>
                <a:cubicBezTo>
                  <a:pt x="26810" y="7709"/>
                  <a:pt x="26810" y="7709"/>
                  <a:pt x="26810" y="7709"/>
                </a:cubicBezTo>
                <a:close/>
              </a:path>
            </a:pathLst>
          </a:custGeom>
          <a:solidFill>
            <a:schemeClr val="accent6">
              <a:lumMod val="20000"/>
              <a:lumOff val="80000"/>
            </a:schemeClr>
          </a:solidFill>
          <a:ln>
            <a:noFill/>
          </a:ln>
        </p:spPr>
        <p:txBody>
          <a:bodyPr vert="horz" wrap="square" lIns="91440" tIns="45721" rIns="91440" bIns="45721" numCol="1" anchor="t" anchorCtr="0" compatLnSpc="1">
            <a:prstTxWarp prst="textNoShape">
              <a:avLst/>
            </a:prstTxWarp>
          </a:bodyPr>
          <a:lstStyle/>
          <a:p>
            <a:endParaRPr lang="de-DE" sz="1801" dirty="0"/>
          </a:p>
        </p:txBody>
      </p:sp>
      <p:sp>
        <p:nvSpPr>
          <p:cNvPr id="14" name="Date Placeholder 13">
            <a:extLst>
              <a:ext uri="{FF2B5EF4-FFF2-40B4-BE49-F238E27FC236}">
                <a16:creationId xmlns:a16="http://schemas.microsoft.com/office/drawing/2014/main" id="{0313F112-8986-43FB-8D35-C59EA6BFB13C}"/>
              </a:ext>
            </a:extLst>
          </p:cNvPr>
          <p:cNvSpPr>
            <a:spLocks noGrp="1"/>
          </p:cNvSpPr>
          <p:nvPr>
            <p:ph type="dt" sz="half" idx="14"/>
          </p:nvPr>
        </p:nvSpPr>
        <p:spPr>
          <a:xfrm>
            <a:off x="0" y="0"/>
            <a:ext cx="0" cy="0"/>
          </a:xfrm>
        </p:spPr>
        <p:txBody>
          <a:bodyPr tIns="0"/>
          <a:lstStyle>
            <a:lvl1pPr>
              <a:defRPr sz="100">
                <a:noFill/>
              </a:defRPr>
            </a:lvl1pPr>
          </a:lstStyle>
          <a:p>
            <a:r>
              <a:rPr lang="de-DE"/>
              <a:t>    </a:t>
            </a:r>
            <a:endParaRPr lang="de-DE" dirty="0"/>
          </a:p>
        </p:txBody>
      </p:sp>
      <p:sp>
        <p:nvSpPr>
          <p:cNvPr id="15" name="Footer Placeholder 14">
            <a:extLst>
              <a:ext uri="{FF2B5EF4-FFF2-40B4-BE49-F238E27FC236}">
                <a16:creationId xmlns:a16="http://schemas.microsoft.com/office/drawing/2014/main" id="{3BBC6C4D-EE8F-45FA-A134-AE7B08C86BCE}"/>
              </a:ext>
            </a:extLst>
          </p:cNvPr>
          <p:cNvSpPr>
            <a:spLocks noGrp="1"/>
          </p:cNvSpPr>
          <p:nvPr>
            <p:ph type="ftr" sz="quarter" idx="15"/>
          </p:nvPr>
        </p:nvSpPr>
        <p:spPr/>
        <p:txBody>
          <a:bodyPr/>
          <a:lstStyle/>
          <a:p>
            <a:endParaRPr lang="de-DE" dirty="0"/>
          </a:p>
        </p:txBody>
      </p:sp>
      <p:sp>
        <p:nvSpPr>
          <p:cNvPr id="16" name="Slide Number Placeholder 15">
            <a:extLst>
              <a:ext uri="{FF2B5EF4-FFF2-40B4-BE49-F238E27FC236}">
                <a16:creationId xmlns:a16="http://schemas.microsoft.com/office/drawing/2014/main" id="{9572FF9A-A071-4844-80ED-2DF88E2E8CD4}"/>
              </a:ext>
            </a:extLst>
          </p:cNvPr>
          <p:cNvSpPr>
            <a:spLocks noGrp="1"/>
          </p:cNvSpPr>
          <p:nvPr>
            <p:ph type="sldNum" sz="quarter" idx="16"/>
          </p:nvPr>
        </p:nvSpPr>
        <p:spPr>
          <a:xfrm>
            <a:off x="0" y="0"/>
            <a:ext cx="0" cy="0"/>
          </a:xfrm>
        </p:spPr>
        <p:txBody>
          <a:bodyPr bIns="0"/>
          <a:lstStyle>
            <a:lvl1pPr>
              <a:defRPr sz="100">
                <a:noFill/>
              </a:defRPr>
            </a:lvl1pPr>
          </a:lstStyle>
          <a:p>
            <a:pPr fontAlgn="base">
              <a:spcBef>
                <a:spcPct val="0"/>
              </a:spcBef>
              <a:spcAft>
                <a:spcPct val="0"/>
              </a:spcAft>
            </a:pPr>
            <a:r>
              <a:rPr lang="de-DE"/>
              <a:t>   </a:t>
            </a:r>
            <a:endParaRPr lang="de-DE" dirty="0"/>
          </a:p>
        </p:txBody>
      </p:sp>
      <p:sp>
        <p:nvSpPr>
          <p:cNvPr id="10" name="Text Placeholder 4">
            <a:extLst>
              <a:ext uri="{FF2B5EF4-FFF2-40B4-BE49-F238E27FC236}">
                <a16:creationId xmlns:a16="http://schemas.microsoft.com/office/drawing/2014/main" id="{AEF371E3-22E6-483A-A691-4AF40FE98757}"/>
              </a:ext>
            </a:extLst>
          </p:cNvPr>
          <p:cNvSpPr>
            <a:spLocks noGrp="1"/>
          </p:cNvSpPr>
          <p:nvPr>
            <p:ph type="body" sz="quarter" idx="17" hasCustomPrompt="1"/>
            <p:custDataLst>
              <p:tags r:id="rId1"/>
            </p:custDataLst>
          </p:nvPr>
        </p:nvSpPr>
        <p:spPr>
          <a:xfrm>
            <a:off x="466837" y="5553076"/>
            <a:ext cx="4249625" cy="755650"/>
          </a:xfrm>
        </p:spPr>
        <p:txBody>
          <a:bodyPr/>
          <a:lstStyle>
            <a:lvl1pPr>
              <a:defRPr/>
            </a:lvl1pPr>
          </a:lstStyle>
          <a:p>
            <a:r>
              <a:rPr lang="de-DE" noProof="0" dirty="0"/>
              <a:t>Feld für zusätzlichen Hinweis in der Fußzeile</a:t>
            </a:r>
          </a:p>
        </p:txBody>
      </p:sp>
      <p:sp>
        <p:nvSpPr>
          <p:cNvPr id="11" name="Rechteck 4">
            <a:extLst>
              <a:ext uri="{FF2B5EF4-FFF2-40B4-BE49-F238E27FC236}">
                <a16:creationId xmlns:a16="http://schemas.microsoft.com/office/drawing/2014/main" id="{BDC12D78-B97E-4EA7-9940-645AF8B72CAE}"/>
              </a:ext>
            </a:extLst>
          </p:cNvPr>
          <p:cNvSpPr/>
          <p:nvPr userDrawn="1"/>
        </p:nvSpPr>
        <p:spPr bwMode="gray">
          <a:xfrm>
            <a:off x="0" y="6750000"/>
            <a:ext cx="9144000" cy="10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err="1">
              <a:solidFill>
                <a:sysClr val="windowText" lastClr="000000"/>
              </a:solidFill>
            </a:endParaRPr>
          </a:p>
        </p:txBody>
      </p:sp>
      <p:pic>
        <p:nvPicPr>
          <p:cNvPr id="13" name="Picture 2">
            <a:extLst>
              <a:ext uri="{FF2B5EF4-FFF2-40B4-BE49-F238E27FC236}">
                <a16:creationId xmlns:a16="http://schemas.microsoft.com/office/drawing/2014/main" id="{7A178A70-E79B-4169-8968-F01A91104D6D}"/>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6948264" y="343999"/>
            <a:ext cx="1944216" cy="733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4080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Titel 2"/>
          <p:cNvSpPr>
            <a:spLocks noGrp="1"/>
          </p:cNvSpPr>
          <p:nvPr>
            <p:ph type="title" hasCustomPrompt="1"/>
          </p:nvPr>
        </p:nvSpPr>
        <p:spPr>
          <a:xfrm>
            <a:off x="252000" y="298800"/>
            <a:ext cx="5975763" cy="609250"/>
          </a:xfrm>
        </p:spPr>
        <p:txBody>
          <a:bodyPr/>
          <a:lstStyle>
            <a:lvl1pPr>
              <a:defRPr baseline="0"/>
            </a:lvl1pPr>
          </a:lstStyle>
          <a:p>
            <a:r>
              <a:rPr lang="de-DE" noProof="0" dirty="0"/>
              <a:t>Titelmasterformat durch </a:t>
            </a:r>
            <a:br>
              <a:rPr lang="de-DE" noProof="0" dirty="0"/>
            </a:br>
            <a:r>
              <a:rPr lang="de-DE" noProof="0" dirty="0"/>
              <a:t>Klicken bearbeiten</a:t>
            </a:r>
            <a:endParaRPr lang="de-DE" dirty="0"/>
          </a:p>
        </p:txBody>
      </p:sp>
      <p:sp>
        <p:nvSpPr>
          <p:cNvPr id="2" name="Date Placeholder 1">
            <a:extLst>
              <a:ext uri="{FF2B5EF4-FFF2-40B4-BE49-F238E27FC236}">
                <a16:creationId xmlns:a16="http://schemas.microsoft.com/office/drawing/2014/main" id="{ED675438-A9C5-4879-ADB6-BD783363B405}"/>
              </a:ext>
            </a:extLst>
          </p:cNvPr>
          <p:cNvSpPr>
            <a:spLocks noGrp="1"/>
          </p:cNvSpPr>
          <p:nvPr>
            <p:ph type="dt" sz="half" idx="10"/>
          </p:nvPr>
        </p:nvSpPr>
        <p:spPr/>
        <p:txBody>
          <a:bodyPr/>
          <a:lstStyle/>
          <a:p>
            <a:r>
              <a:rPr lang="en-US"/>
              <a:t> |  | </a:t>
            </a:r>
            <a:endParaRPr lang="de-DE" dirty="0"/>
          </a:p>
        </p:txBody>
      </p:sp>
      <p:sp>
        <p:nvSpPr>
          <p:cNvPr id="4" name="Footer Placeholder 3">
            <a:extLst>
              <a:ext uri="{FF2B5EF4-FFF2-40B4-BE49-F238E27FC236}">
                <a16:creationId xmlns:a16="http://schemas.microsoft.com/office/drawing/2014/main" id="{992A3ED5-62D7-43D2-BCAD-079F7260AC6B}"/>
              </a:ext>
            </a:extLst>
          </p:cNvPr>
          <p:cNvSpPr>
            <a:spLocks noGrp="1"/>
          </p:cNvSpPr>
          <p:nvPr>
            <p:ph type="ftr" sz="quarter" idx="11"/>
          </p:nvPr>
        </p:nvSpPr>
        <p:spPr/>
        <p:txBody>
          <a:bodyPr/>
          <a:lstStyle/>
          <a:p>
            <a:endParaRPr lang="de-DE" dirty="0"/>
          </a:p>
        </p:txBody>
      </p:sp>
      <p:sp>
        <p:nvSpPr>
          <p:cNvPr id="5" name="Slide Number Placeholder 4">
            <a:extLst>
              <a:ext uri="{FF2B5EF4-FFF2-40B4-BE49-F238E27FC236}">
                <a16:creationId xmlns:a16="http://schemas.microsoft.com/office/drawing/2014/main" id="{C74708BD-65B1-4A07-A512-222992C34094}"/>
              </a:ext>
            </a:extLst>
          </p:cNvPr>
          <p:cNvSpPr>
            <a:spLocks noGrp="1"/>
          </p:cNvSpPr>
          <p:nvPr>
            <p:ph type="sldNum" sz="quarter" idx="12"/>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1573922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D32476D6-C471-4324-A430-609CFA87D8DF}"/>
              </a:ext>
            </a:extLst>
          </p:cNvPr>
          <p:cNvSpPr>
            <a:spLocks noGrp="1"/>
          </p:cNvSpPr>
          <p:nvPr>
            <p:ph type="dt" sz="half" idx="10"/>
          </p:nvPr>
        </p:nvSpPr>
        <p:spPr/>
        <p:txBody>
          <a:bodyPr/>
          <a:lstStyle/>
          <a:p>
            <a:r>
              <a:rPr lang="en-US"/>
              <a:t> |  | </a:t>
            </a:r>
            <a:endParaRPr lang="de-DE" dirty="0"/>
          </a:p>
        </p:txBody>
      </p:sp>
      <p:sp>
        <p:nvSpPr>
          <p:cNvPr id="6" name="Footer Placeholder 5">
            <a:extLst>
              <a:ext uri="{FF2B5EF4-FFF2-40B4-BE49-F238E27FC236}">
                <a16:creationId xmlns:a16="http://schemas.microsoft.com/office/drawing/2014/main" id="{55FB8F60-B306-4CE3-93DD-5C87E1ECA7D2}"/>
              </a:ext>
            </a:extLst>
          </p:cNvPr>
          <p:cNvSpPr>
            <a:spLocks noGrp="1"/>
          </p:cNvSpPr>
          <p:nvPr>
            <p:ph type="ftr" sz="quarter" idx="11"/>
          </p:nvPr>
        </p:nvSpPr>
        <p:spPr/>
        <p:txBody>
          <a:bodyPr/>
          <a:lstStyle/>
          <a:p>
            <a:endParaRPr lang="de-DE" dirty="0"/>
          </a:p>
        </p:txBody>
      </p:sp>
      <p:sp>
        <p:nvSpPr>
          <p:cNvPr id="7" name="Slide Number Placeholder 6">
            <a:extLst>
              <a:ext uri="{FF2B5EF4-FFF2-40B4-BE49-F238E27FC236}">
                <a16:creationId xmlns:a16="http://schemas.microsoft.com/office/drawing/2014/main" id="{FA5CD321-6D0C-4751-A326-661BA4317084}"/>
              </a:ext>
            </a:extLst>
          </p:cNvPr>
          <p:cNvSpPr>
            <a:spLocks noGrp="1"/>
          </p:cNvSpPr>
          <p:nvPr>
            <p:ph type="sldNum" sz="quarter" idx="12"/>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37029200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Kontakt Bild">
    <p:spTree>
      <p:nvGrpSpPr>
        <p:cNvPr id="1" name=""/>
        <p:cNvGrpSpPr/>
        <p:nvPr/>
      </p:nvGrpSpPr>
      <p:grpSpPr>
        <a:xfrm>
          <a:off x="0" y="0"/>
          <a:ext cx="0" cy="0"/>
          <a:chOff x="0" y="0"/>
          <a:chExt cx="0" cy="0"/>
        </a:xfrm>
      </p:grpSpPr>
      <p:sp>
        <p:nvSpPr>
          <p:cNvPr id="10" name="Bildplatzhalter 7"/>
          <p:cNvSpPr>
            <a:spLocks noGrp="1"/>
          </p:cNvSpPr>
          <p:nvPr>
            <p:ph type="pic" sz="quarter" idx="13" hasCustomPrompt="1"/>
          </p:nvPr>
        </p:nvSpPr>
        <p:spPr bwMode="gray">
          <a:xfrm>
            <a:off x="251425" y="1269342"/>
            <a:ext cx="2664813" cy="2450712"/>
          </a:xfrm>
        </p:spPr>
        <p:txBody>
          <a:bodyPr anchor="ctr"/>
          <a:lstStyle>
            <a:lvl1pPr algn="ctr">
              <a:defRPr sz="1100" baseline="0"/>
            </a:lvl1pPr>
          </a:lstStyle>
          <a:p>
            <a:r>
              <a:rPr lang="de-DE" dirty="0"/>
              <a:t>Bildplatzhalter</a:t>
            </a:r>
          </a:p>
        </p:txBody>
      </p:sp>
      <p:sp>
        <p:nvSpPr>
          <p:cNvPr id="11" name="Textplatzhalter 10"/>
          <p:cNvSpPr>
            <a:spLocks noGrp="1"/>
          </p:cNvSpPr>
          <p:nvPr>
            <p:ph type="body" sz="quarter" idx="15" hasCustomPrompt="1"/>
          </p:nvPr>
        </p:nvSpPr>
        <p:spPr bwMode="gray">
          <a:xfrm>
            <a:off x="5940426" y="1268414"/>
            <a:ext cx="2952750" cy="1439861"/>
          </a:xfrm>
        </p:spPr>
        <p:txBody>
          <a:bodyPr tIns="108000"/>
          <a:lstStyle>
            <a:lvl1pPr>
              <a:lnSpc>
                <a:spcPct val="110000"/>
              </a:lnSpc>
              <a:spcBef>
                <a:spcPts val="0"/>
              </a:spcBef>
              <a:spcAft>
                <a:spcPts val="0"/>
              </a:spcAft>
              <a:defRPr b="1" baseline="0">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cxnSp>
        <p:nvCxnSpPr>
          <p:cNvPr id="14" name="Gerade Verbindung 13"/>
          <p:cNvCxnSpPr/>
          <p:nvPr userDrawn="1"/>
        </p:nvCxnSpPr>
        <p:spPr>
          <a:xfrm>
            <a:off x="5940152" y="1268413"/>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platzhalter 10"/>
          <p:cNvSpPr>
            <a:spLocks noGrp="1"/>
          </p:cNvSpPr>
          <p:nvPr>
            <p:ph type="body" sz="quarter" idx="20" hasCustomPrompt="1"/>
          </p:nvPr>
        </p:nvSpPr>
        <p:spPr bwMode="gray">
          <a:xfrm>
            <a:off x="250825" y="3933070"/>
            <a:ext cx="2665413" cy="2376330"/>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Unternehmen</a:t>
            </a:r>
          </a:p>
          <a:p>
            <a:pPr lvl="2"/>
            <a:r>
              <a:rPr lang="de-DE" dirty="0"/>
              <a:t>Adresse</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p:txBody>
      </p:sp>
      <p:sp>
        <p:nvSpPr>
          <p:cNvPr id="16" name="Rechteck 15"/>
          <p:cNvSpPr/>
          <p:nvPr userDrawn="1"/>
        </p:nvSpPr>
        <p:spPr bwMode="gray">
          <a:xfrm>
            <a:off x="250825" y="3721802"/>
            <a:ext cx="2665413"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2" name="Titel 1"/>
          <p:cNvSpPr>
            <a:spLocks noGrp="1"/>
          </p:cNvSpPr>
          <p:nvPr>
            <p:ph type="title" hasCustomPrompt="1"/>
          </p:nvPr>
        </p:nvSpPr>
        <p:spPr/>
        <p:txBody>
          <a:bodyPr/>
          <a:lstStyle/>
          <a:p>
            <a:r>
              <a:rPr lang="de-DE" noProof="0" dirty="0"/>
              <a:t>Titelmasterformat durch </a:t>
            </a:r>
            <a:br>
              <a:rPr lang="de-DE" noProof="0" dirty="0"/>
            </a:br>
            <a:r>
              <a:rPr lang="de-DE" noProof="0" dirty="0"/>
              <a:t>Klicken bearbeiten</a:t>
            </a:r>
            <a:endParaRPr lang="de-DE" dirty="0"/>
          </a:p>
        </p:txBody>
      </p:sp>
      <p:sp>
        <p:nvSpPr>
          <p:cNvPr id="17" name="Rechteck 12">
            <a:extLst>
              <a:ext uri="{FF2B5EF4-FFF2-40B4-BE49-F238E27FC236}">
                <a16:creationId xmlns:a16="http://schemas.microsoft.com/office/drawing/2014/main" id="{74DB853C-03DC-4289-9ECE-2E5811D17ADF}"/>
              </a:ext>
            </a:extLst>
          </p:cNvPr>
          <p:cNvSpPr/>
          <p:nvPr userDrawn="1"/>
        </p:nvSpPr>
        <p:spPr bwMode="gray">
          <a:xfrm>
            <a:off x="4716020" y="2702781"/>
            <a:ext cx="1044000"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5" name="Date Placeholder 4">
            <a:extLst>
              <a:ext uri="{FF2B5EF4-FFF2-40B4-BE49-F238E27FC236}">
                <a16:creationId xmlns:a16="http://schemas.microsoft.com/office/drawing/2014/main" id="{AA47764B-E3A3-479B-80BA-D387F79214F4}"/>
              </a:ext>
            </a:extLst>
          </p:cNvPr>
          <p:cNvSpPr>
            <a:spLocks noGrp="1"/>
          </p:cNvSpPr>
          <p:nvPr>
            <p:ph type="dt" sz="half" idx="21"/>
          </p:nvPr>
        </p:nvSpPr>
        <p:spPr/>
        <p:txBody>
          <a:bodyPr/>
          <a:lstStyle/>
          <a:p>
            <a:r>
              <a:rPr lang="en-US"/>
              <a:t> |  | </a:t>
            </a:r>
            <a:endParaRPr lang="de-DE" dirty="0"/>
          </a:p>
        </p:txBody>
      </p:sp>
      <p:sp>
        <p:nvSpPr>
          <p:cNvPr id="6" name="Footer Placeholder 5">
            <a:extLst>
              <a:ext uri="{FF2B5EF4-FFF2-40B4-BE49-F238E27FC236}">
                <a16:creationId xmlns:a16="http://schemas.microsoft.com/office/drawing/2014/main" id="{DFB86865-D02A-45A6-82EB-5A91460543FF}"/>
              </a:ext>
            </a:extLst>
          </p:cNvPr>
          <p:cNvSpPr>
            <a:spLocks noGrp="1"/>
          </p:cNvSpPr>
          <p:nvPr>
            <p:ph type="ftr" sz="quarter" idx="22"/>
          </p:nvPr>
        </p:nvSpPr>
        <p:spPr/>
        <p:txBody>
          <a:bodyPr/>
          <a:lstStyle/>
          <a:p>
            <a:endParaRPr lang="de-DE" dirty="0"/>
          </a:p>
        </p:txBody>
      </p:sp>
      <p:sp>
        <p:nvSpPr>
          <p:cNvPr id="7" name="Slide Number Placeholder 6">
            <a:extLst>
              <a:ext uri="{FF2B5EF4-FFF2-40B4-BE49-F238E27FC236}">
                <a16:creationId xmlns:a16="http://schemas.microsoft.com/office/drawing/2014/main" id="{13F34108-B994-4D17-A713-ABBFBD2E2FCC}"/>
              </a:ext>
            </a:extLst>
          </p:cNvPr>
          <p:cNvSpPr>
            <a:spLocks noGrp="1"/>
          </p:cNvSpPr>
          <p:nvPr>
            <p:ph type="sldNum" sz="quarter" idx="23"/>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
        <p:nvSpPr>
          <p:cNvPr id="13" name="Bildplatzhalter 11">
            <a:extLst>
              <a:ext uri="{FF2B5EF4-FFF2-40B4-BE49-F238E27FC236}">
                <a16:creationId xmlns:a16="http://schemas.microsoft.com/office/drawing/2014/main" id="{AC6D4F4E-B708-40FF-8F0D-ADABC13FC26D}"/>
              </a:ext>
            </a:extLst>
          </p:cNvPr>
          <p:cNvSpPr>
            <a:spLocks noGrp="1"/>
          </p:cNvSpPr>
          <p:nvPr>
            <p:ph type="pic" sz="quarter" idx="16" hasCustomPrompt="1"/>
          </p:nvPr>
        </p:nvSpPr>
        <p:spPr bwMode="gray">
          <a:xfrm>
            <a:off x="4716462" y="1269342"/>
            <a:ext cx="1043557" cy="1439861"/>
          </a:xfrm>
        </p:spPr>
        <p:txBody>
          <a:bodyPr anchor="ctr"/>
          <a:lstStyle>
            <a:lvl1pPr algn="ctr">
              <a:defRPr sz="1100"/>
            </a:lvl1pPr>
          </a:lstStyle>
          <a:p>
            <a:r>
              <a:rPr lang="de-DE" dirty="0"/>
              <a:t>Bildplatzhalter</a:t>
            </a:r>
          </a:p>
        </p:txBody>
      </p:sp>
    </p:spTree>
    <p:extLst>
      <p:ext uri="{BB962C8B-B14F-4D97-AF65-F5344CB8AC3E}">
        <p14:creationId xmlns:p14="http://schemas.microsoft.com/office/powerpoint/2010/main" val="19140948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628" userDrawn="1">
          <p15:clr>
            <a:srgbClr val="FBAE40"/>
          </p15:clr>
        </p15:guide>
        <p15:guide id="2" orient="horz" pos="2478" userDrawn="1">
          <p15:clr>
            <a:srgbClr val="FBAE40"/>
          </p15:clr>
        </p15:guide>
        <p15:guide id="3" orient="horz" pos="2341" userDrawn="1">
          <p15:clr>
            <a:srgbClr val="FBAE40"/>
          </p15:clr>
        </p15:guide>
        <p15:guide id="4" orient="horz" pos="170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Kontakte Bild">
    <p:spTree>
      <p:nvGrpSpPr>
        <p:cNvPr id="1" name=""/>
        <p:cNvGrpSpPr/>
        <p:nvPr/>
      </p:nvGrpSpPr>
      <p:grpSpPr>
        <a:xfrm>
          <a:off x="0" y="0"/>
          <a:ext cx="0" cy="0"/>
          <a:chOff x="0" y="0"/>
          <a:chExt cx="0" cy="0"/>
        </a:xfrm>
      </p:grpSpPr>
      <p:sp>
        <p:nvSpPr>
          <p:cNvPr id="10" name="Bildplatzhalter 7"/>
          <p:cNvSpPr>
            <a:spLocks noGrp="1"/>
          </p:cNvSpPr>
          <p:nvPr>
            <p:ph type="pic" sz="quarter" idx="13" hasCustomPrompt="1"/>
          </p:nvPr>
        </p:nvSpPr>
        <p:spPr bwMode="gray">
          <a:xfrm>
            <a:off x="251425" y="1269342"/>
            <a:ext cx="2664813" cy="2450712"/>
          </a:xfrm>
        </p:spPr>
        <p:txBody>
          <a:bodyPr anchor="ctr"/>
          <a:lstStyle>
            <a:lvl1pPr algn="ctr">
              <a:defRPr sz="1100" baseline="0"/>
            </a:lvl1pPr>
          </a:lstStyle>
          <a:p>
            <a:r>
              <a:rPr lang="de-DE" dirty="0"/>
              <a:t>Bildplatzhalter</a:t>
            </a:r>
          </a:p>
        </p:txBody>
      </p:sp>
      <p:sp>
        <p:nvSpPr>
          <p:cNvPr id="11" name="Textplatzhalter 10"/>
          <p:cNvSpPr>
            <a:spLocks noGrp="1"/>
          </p:cNvSpPr>
          <p:nvPr>
            <p:ph type="body" sz="quarter" idx="15" hasCustomPrompt="1"/>
          </p:nvPr>
        </p:nvSpPr>
        <p:spPr bwMode="gray">
          <a:xfrm>
            <a:off x="5940426" y="1268414"/>
            <a:ext cx="2952750" cy="1439861"/>
          </a:xfrm>
        </p:spPr>
        <p:txBody>
          <a:bodyPr tIns="108000"/>
          <a:lstStyle>
            <a:lvl1pPr>
              <a:lnSpc>
                <a:spcPct val="110000"/>
              </a:lnSpc>
              <a:spcBef>
                <a:spcPts val="0"/>
              </a:spcBef>
              <a:spcAft>
                <a:spcPts val="0"/>
              </a:spcAft>
              <a:defRPr b="1" baseline="0">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sp>
        <p:nvSpPr>
          <p:cNvPr id="12" name="Bildplatzhalter 11"/>
          <p:cNvSpPr>
            <a:spLocks noGrp="1"/>
          </p:cNvSpPr>
          <p:nvPr>
            <p:ph type="pic" sz="quarter" idx="16" hasCustomPrompt="1"/>
          </p:nvPr>
        </p:nvSpPr>
        <p:spPr bwMode="gray">
          <a:xfrm>
            <a:off x="4716462" y="1269342"/>
            <a:ext cx="1043557" cy="1439861"/>
          </a:xfrm>
        </p:spPr>
        <p:txBody>
          <a:bodyPr anchor="ctr"/>
          <a:lstStyle>
            <a:lvl1pPr algn="ctr">
              <a:defRPr sz="1100"/>
            </a:lvl1pPr>
          </a:lstStyle>
          <a:p>
            <a:r>
              <a:rPr lang="de-DE" dirty="0"/>
              <a:t>Bildplatzhalter</a:t>
            </a:r>
          </a:p>
        </p:txBody>
      </p:sp>
      <p:sp>
        <p:nvSpPr>
          <p:cNvPr id="15" name="Textplatzhalter 10"/>
          <p:cNvSpPr>
            <a:spLocks noGrp="1"/>
          </p:cNvSpPr>
          <p:nvPr>
            <p:ph type="body" sz="quarter" idx="20" hasCustomPrompt="1"/>
          </p:nvPr>
        </p:nvSpPr>
        <p:spPr bwMode="gray">
          <a:xfrm>
            <a:off x="250825" y="3933070"/>
            <a:ext cx="2665413" cy="2376330"/>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Unternehmen</a:t>
            </a:r>
          </a:p>
          <a:p>
            <a:pPr lvl="2"/>
            <a:r>
              <a:rPr lang="de-DE" dirty="0"/>
              <a:t>Adresse</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p:txBody>
      </p:sp>
      <p:sp>
        <p:nvSpPr>
          <p:cNvPr id="16" name="Rechteck 15"/>
          <p:cNvSpPr/>
          <p:nvPr userDrawn="1"/>
        </p:nvSpPr>
        <p:spPr bwMode="gray">
          <a:xfrm>
            <a:off x="250825" y="3721802"/>
            <a:ext cx="2665413"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2" name="Titel 1"/>
          <p:cNvSpPr>
            <a:spLocks noGrp="1"/>
          </p:cNvSpPr>
          <p:nvPr>
            <p:ph type="title" hasCustomPrompt="1"/>
          </p:nvPr>
        </p:nvSpPr>
        <p:spPr/>
        <p:txBody>
          <a:bodyPr/>
          <a:lstStyle/>
          <a:p>
            <a:r>
              <a:rPr lang="de-DE" noProof="0" dirty="0"/>
              <a:t>Titelmasterformat durch </a:t>
            </a:r>
            <a:br>
              <a:rPr lang="de-DE" noProof="0" dirty="0"/>
            </a:br>
            <a:r>
              <a:rPr lang="de-DE" noProof="0" dirty="0"/>
              <a:t>Klicken bearbeiten</a:t>
            </a:r>
            <a:endParaRPr lang="de-DE" dirty="0"/>
          </a:p>
        </p:txBody>
      </p:sp>
      <p:sp>
        <p:nvSpPr>
          <p:cNvPr id="13" name="Rechteck 12">
            <a:extLst>
              <a:ext uri="{FF2B5EF4-FFF2-40B4-BE49-F238E27FC236}">
                <a16:creationId xmlns:a16="http://schemas.microsoft.com/office/drawing/2014/main" id="{744D0F47-F328-4207-9A2A-AA484C39360D}"/>
              </a:ext>
            </a:extLst>
          </p:cNvPr>
          <p:cNvSpPr/>
          <p:nvPr userDrawn="1"/>
        </p:nvSpPr>
        <p:spPr bwMode="gray">
          <a:xfrm>
            <a:off x="4716020" y="2702781"/>
            <a:ext cx="1044000"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21" name="Textplatzhalter 10">
            <a:extLst>
              <a:ext uri="{FF2B5EF4-FFF2-40B4-BE49-F238E27FC236}">
                <a16:creationId xmlns:a16="http://schemas.microsoft.com/office/drawing/2014/main" id="{FE3761A1-6656-4B02-8426-6CA40BEE415F}"/>
              </a:ext>
            </a:extLst>
          </p:cNvPr>
          <p:cNvSpPr>
            <a:spLocks noGrp="1"/>
          </p:cNvSpPr>
          <p:nvPr>
            <p:ph type="body" sz="quarter" idx="21" hasCustomPrompt="1"/>
          </p:nvPr>
        </p:nvSpPr>
        <p:spPr bwMode="gray">
          <a:xfrm>
            <a:off x="5940426" y="3068960"/>
            <a:ext cx="2952749" cy="1440160"/>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sp>
        <p:nvSpPr>
          <p:cNvPr id="22" name="Bildplatzhalter 11">
            <a:extLst>
              <a:ext uri="{FF2B5EF4-FFF2-40B4-BE49-F238E27FC236}">
                <a16:creationId xmlns:a16="http://schemas.microsoft.com/office/drawing/2014/main" id="{B051EF20-7DF5-451B-AE49-9DA111C79249}"/>
              </a:ext>
            </a:extLst>
          </p:cNvPr>
          <p:cNvSpPr>
            <a:spLocks noGrp="1"/>
          </p:cNvSpPr>
          <p:nvPr>
            <p:ph type="pic" sz="quarter" idx="29" hasCustomPrompt="1"/>
          </p:nvPr>
        </p:nvSpPr>
        <p:spPr bwMode="gray">
          <a:xfrm>
            <a:off x="4716462" y="3068638"/>
            <a:ext cx="1042981" cy="1440171"/>
          </a:xfrm>
        </p:spPr>
        <p:txBody>
          <a:bodyPr anchor="ctr"/>
          <a:lstStyle>
            <a:lvl1pPr algn="ctr">
              <a:defRPr sz="1100"/>
            </a:lvl1pPr>
          </a:lstStyle>
          <a:p>
            <a:r>
              <a:rPr lang="de-DE" dirty="0"/>
              <a:t>Bildplatzhalter</a:t>
            </a:r>
          </a:p>
        </p:txBody>
      </p:sp>
      <p:cxnSp>
        <p:nvCxnSpPr>
          <p:cNvPr id="23" name="Gerade Verbindung 38">
            <a:extLst>
              <a:ext uri="{FF2B5EF4-FFF2-40B4-BE49-F238E27FC236}">
                <a16:creationId xmlns:a16="http://schemas.microsoft.com/office/drawing/2014/main" id="{AABD89E7-9BFF-4005-91CE-23634876512F}"/>
              </a:ext>
            </a:extLst>
          </p:cNvPr>
          <p:cNvCxnSpPr/>
          <p:nvPr userDrawn="1"/>
        </p:nvCxnSpPr>
        <p:spPr>
          <a:xfrm>
            <a:off x="5940152" y="3068960"/>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Rechteck 19">
            <a:extLst>
              <a:ext uri="{FF2B5EF4-FFF2-40B4-BE49-F238E27FC236}">
                <a16:creationId xmlns:a16="http://schemas.microsoft.com/office/drawing/2014/main" id="{5A017A03-FF37-4553-A611-B555867C18FA}"/>
              </a:ext>
            </a:extLst>
          </p:cNvPr>
          <p:cNvSpPr/>
          <p:nvPr userDrawn="1"/>
        </p:nvSpPr>
        <p:spPr bwMode="gray">
          <a:xfrm>
            <a:off x="4715443" y="4508809"/>
            <a:ext cx="1044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cxnSp>
        <p:nvCxnSpPr>
          <p:cNvPr id="25" name="Gerade Verbindung 13">
            <a:extLst>
              <a:ext uri="{FF2B5EF4-FFF2-40B4-BE49-F238E27FC236}">
                <a16:creationId xmlns:a16="http://schemas.microsoft.com/office/drawing/2014/main" id="{0E86EE19-6BA6-49D0-9998-5587452DFEA8}"/>
              </a:ext>
            </a:extLst>
          </p:cNvPr>
          <p:cNvCxnSpPr/>
          <p:nvPr userDrawn="1"/>
        </p:nvCxnSpPr>
        <p:spPr>
          <a:xfrm>
            <a:off x="5940152" y="1268413"/>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F6E77706-8CB0-4F08-83EE-AE5D3EC75D23}"/>
              </a:ext>
            </a:extLst>
          </p:cNvPr>
          <p:cNvSpPr>
            <a:spLocks noGrp="1"/>
          </p:cNvSpPr>
          <p:nvPr>
            <p:ph type="dt" sz="half" idx="30"/>
          </p:nvPr>
        </p:nvSpPr>
        <p:spPr/>
        <p:txBody>
          <a:bodyPr/>
          <a:lstStyle/>
          <a:p>
            <a:r>
              <a:rPr lang="en-US"/>
              <a:t> |  | </a:t>
            </a:r>
            <a:endParaRPr lang="de-DE" dirty="0"/>
          </a:p>
        </p:txBody>
      </p:sp>
      <p:sp>
        <p:nvSpPr>
          <p:cNvPr id="6" name="Footer Placeholder 5">
            <a:extLst>
              <a:ext uri="{FF2B5EF4-FFF2-40B4-BE49-F238E27FC236}">
                <a16:creationId xmlns:a16="http://schemas.microsoft.com/office/drawing/2014/main" id="{27AD8953-E834-4169-9499-7B0A20B72752}"/>
              </a:ext>
            </a:extLst>
          </p:cNvPr>
          <p:cNvSpPr>
            <a:spLocks noGrp="1"/>
          </p:cNvSpPr>
          <p:nvPr>
            <p:ph type="ftr" sz="quarter" idx="31"/>
          </p:nvPr>
        </p:nvSpPr>
        <p:spPr/>
        <p:txBody>
          <a:bodyPr/>
          <a:lstStyle/>
          <a:p>
            <a:endParaRPr lang="de-DE" dirty="0"/>
          </a:p>
        </p:txBody>
      </p:sp>
      <p:sp>
        <p:nvSpPr>
          <p:cNvPr id="7" name="Slide Number Placeholder 6">
            <a:extLst>
              <a:ext uri="{FF2B5EF4-FFF2-40B4-BE49-F238E27FC236}">
                <a16:creationId xmlns:a16="http://schemas.microsoft.com/office/drawing/2014/main" id="{78B331F2-CE91-4B73-9553-9A103F690118}"/>
              </a:ext>
            </a:extLst>
          </p:cNvPr>
          <p:cNvSpPr>
            <a:spLocks noGrp="1"/>
          </p:cNvSpPr>
          <p:nvPr>
            <p:ph type="sldNum" sz="quarter" idx="32"/>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2224023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628" userDrawn="1">
          <p15:clr>
            <a:srgbClr val="FBAE40"/>
          </p15:clr>
        </p15:guide>
        <p15:guide id="2" orient="horz" pos="2478" userDrawn="1">
          <p15:clr>
            <a:srgbClr val="FBAE40"/>
          </p15:clr>
        </p15:guide>
        <p15:guide id="3" orient="horz" pos="2341" userDrawn="1">
          <p15:clr>
            <a:srgbClr val="FBAE40"/>
          </p15:clr>
        </p15:guide>
        <p15:guide id="4" orient="horz" pos="1706" userDrawn="1">
          <p15:clr>
            <a:srgbClr val="FBAE40"/>
          </p15:clr>
        </p15:guide>
        <p15:guide id="5" orient="horz" pos="1933" userDrawn="1">
          <p15:clr>
            <a:srgbClr val="FBAE40"/>
          </p15:clr>
        </p15:guide>
        <p15:guide id="6" orient="horz" pos="2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Kontakte Bild">
    <p:spTree>
      <p:nvGrpSpPr>
        <p:cNvPr id="1" name=""/>
        <p:cNvGrpSpPr/>
        <p:nvPr/>
      </p:nvGrpSpPr>
      <p:grpSpPr>
        <a:xfrm>
          <a:off x="0" y="0"/>
          <a:ext cx="0" cy="0"/>
          <a:chOff x="0" y="0"/>
          <a:chExt cx="0" cy="0"/>
        </a:xfrm>
      </p:grpSpPr>
      <p:sp>
        <p:nvSpPr>
          <p:cNvPr id="10" name="Bildplatzhalter 7"/>
          <p:cNvSpPr>
            <a:spLocks noGrp="1"/>
          </p:cNvSpPr>
          <p:nvPr>
            <p:ph type="pic" sz="quarter" idx="13" hasCustomPrompt="1"/>
          </p:nvPr>
        </p:nvSpPr>
        <p:spPr bwMode="gray">
          <a:xfrm>
            <a:off x="251425" y="1269342"/>
            <a:ext cx="2664813" cy="2450712"/>
          </a:xfrm>
        </p:spPr>
        <p:txBody>
          <a:bodyPr anchor="ctr"/>
          <a:lstStyle>
            <a:lvl1pPr algn="ctr">
              <a:defRPr sz="1100" baseline="0"/>
            </a:lvl1pPr>
          </a:lstStyle>
          <a:p>
            <a:r>
              <a:rPr lang="de-DE" dirty="0"/>
              <a:t>Bildplatzhalter</a:t>
            </a:r>
          </a:p>
        </p:txBody>
      </p:sp>
      <p:sp>
        <p:nvSpPr>
          <p:cNvPr id="11" name="Textplatzhalter 10"/>
          <p:cNvSpPr>
            <a:spLocks noGrp="1"/>
          </p:cNvSpPr>
          <p:nvPr>
            <p:ph type="body" sz="quarter" idx="15" hasCustomPrompt="1"/>
          </p:nvPr>
        </p:nvSpPr>
        <p:spPr bwMode="gray">
          <a:xfrm>
            <a:off x="5940426" y="1268414"/>
            <a:ext cx="2952750" cy="1439861"/>
          </a:xfrm>
        </p:spPr>
        <p:txBody>
          <a:bodyPr tIns="108000"/>
          <a:lstStyle>
            <a:lvl1pPr>
              <a:lnSpc>
                <a:spcPct val="110000"/>
              </a:lnSpc>
              <a:spcBef>
                <a:spcPts val="0"/>
              </a:spcBef>
              <a:spcAft>
                <a:spcPts val="0"/>
              </a:spcAft>
              <a:defRPr b="1" baseline="0">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sp>
        <p:nvSpPr>
          <p:cNvPr id="12" name="Bildplatzhalter 11"/>
          <p:cNvSpPr>
            <a:spLocks noGrp="1"/>
          </p:cNvSpPr>
          <p:nvPr>
            <p:ph type="pic" sz="quarter" idx="16" hasCustomPrompt="1"/>
          </p:nvPr>
        </p:nvSpPr>
        <p:spPr bwMode="gray">
          <a:xfrm>
            <a:off x="4716462" y="1269341"/>
            <a:ext cx="1043557" cy="1439857"/>
          </a:xfrm>
        </p:spPr>
        <p:txBody>
          <a:bodyPr anchor="ctr"/>
          <a:lstStyle>
            <a:lvl1pPr algn="ctr">
              <a:defRPr sz="1100"/>
            </a:lvl1pPr>
          </a:lstStyle>
          <a:p>
            <a:r>
              <a:rPr lang="de-DE" dirty="0"/>
              <a:t>Bildplatzhalter</a:t>
            </a:r>
          </a:p>
        </p:txBody>
      </p:sp>
      <p:cxnSp>
        <p:nvCxnSpPr>
          <p:cNvPr id="14" name="Gerade Verbindung 13"/>
          <p:cNvCxnSpPr/>
          <p:nvPr userDrawn="1"/>
        </p:nvCxnSpPr>
        <p:spPr>
          <a:xfrm>
            <a:off x="5940152" y="1268413"/>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platzhalter 10"/>
          <p:cNvSpPr>
            <a:spLocks noGrp="1"/>
          </p:cNvSpPr>
          <p:nvPr>
            <p:ph type="body" sz="quarter" idx="20" hasCustomPrompt="1"/>
          </p:nvPr>
        </p:nvSpPr>
        <p:spPr bwMode="gray">
          <a:xfrm>
            <a:off x="250825" y="3933070"/>
            <a:ext cx="2665413" cy="2376330"/>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Unternehmen</a:t>
            </a:r>
          </a:p>
          <a:p>
            <a:pPr lvl="2"/>
            <a:r>
              <a:rPr lang="de-DE" dirty="0"/>
              <a:t>Adresse</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p:txBody>
      </p:sp>
      <p:sp>
        <p:nvSpPr>
          <p:cNvPr id="16" name="Rechteck 15"/>
          <p:cNvSpPr/>
          <p:nvPr userDrawn="1"/>
        </p:nvSpPr>
        <p:spPr bwMode="gray">
          <a:xfrm>
            <a:off x="250825" y="3721802"/>
            <a:ext cx="2665413"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2" name="Titel 1"/>
          <p:cNvSpPr>
            <a:spLocks noGrp="1"/>
          </p:cNvSpPr>
          <p:nvPr>
            <p:ph type="title" hasCustomPrompt="1"/>
          </p:nvPr>
        </p:nvSpPr>
        <p:spPr/>
        <p:txBody>
          <a:bodyPr/>
          <a:lstStyle/>
          <a:p>
            <a:r>
              <a:rPr lang="de-DE" noProof="0" dirty="0"/>
              <a:t>Titelmasterformat durch </a:t>
            </a:r>
            <a:br>
              <a:rPr lang="de-DE" noProof="0" dirty="0"/>
            </a:br>
            <a:r>
              <a:rPr lang="de-DE" noProof="0" dirty="0"/>
              <a:t>Klicken bearbeiten</a:t>
            </a:r>
            <a:endParaRPr lang="de-DE" dirty="0"/>
          </a:p>
        </p:txBody>
      </p:sp>
      <p:sp>
        <p:nvSpPr>
          <p:cNvPr id="17" name="Textplatzhalter 10">
            <a:extLst>
              <a:ext uri="{FF2B5EF4-FFF2-40B4-BE49-F238E27FC236}">
                <a16:creationId xmlns:a16="http://schemas.microsoft.com/office/drawing/2014/main" id="{98B0C166-A353-462C-BD97-26CB3D869E25}"/>
              </a:ext>
            </a:extLst>
          </p:cNvPr>
          <p:cNvSpPr>
            <a:spLocks noGrp="1"/>
          </p:cNvSpPr>
          <p:nvPr>
            <p:ph type="body" sz="quarter" idx="21" hasCustomPrompt="1"/>
          </p:nvPr>
        </p:nvSpPr>
        <p:spPr bwMode="gray">
          <a:xfrm>
            <a:off x="5940426" y="3068960"/>
            <a:ext cx="2952749" cy="1440160"/>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sp>
        <p:nvSpPr>
          <p:cNvPr id="18" name="Bildplatzhalter 11">
            <a:extLst>
              <a:ext uri="{FF2B5EF4-FFF2-40B4-BE49-F238E27FC236}">
                <a16:creationId xmlns:a16="http://schemas.microsoft.com/office/drawing/2014/main" id="{F66BF838-24F3-4232-AA4B-96CEAD28A82D}"/>
              </a:ext>
            </a:extLst>
          </p:cNvPr>
          <p:cNvSpPr>
            <a:spLocks noGrp="1"/>
          </p:cNvSpPr>
          <p:nvPr>
            <p:ph type="pic" sz="quarter" idx="29" hasCustomPrompt="1"/>
          </p:nvPr>
        </p:nvSpPr>
        <p:spPr bwMode="gray">
          <a:xfrm>
            <a:off x="4716462" y="3069120"/>
            <a:ext cx="1042981" cy="1439689"/>
          </a:xfrm>
        </p:spPr>
        <p:txBody>
          <a:bodyPr anchor="ctr"/>
          <a:lstStyle>
            <a:lvl1pPr algn="ctr">
              <a:defRPr sz="1100"/>
            </a:lvl1pPr>
          </a:lstStyle>
          <a:p>
            <a:r>
              <a:rPr lang="de-DE" dirty="0"/>
              <a:t>Bildplatzhalter</a:t>
            </a:r>
          </a:p>
        </p:txBody>
      </p:sp>
      <p:sp>
        <p:nvSpPr>
          <p:cNvPr id="20" name="Rechteck 19">
            <a:extLst>
              <a:ext uri="{FF2B5EF4-FFF2-40B4-BE49-F238E27FC236}">
                <a16:creationId xmlns:a16="http://schemas.microsoft.com/office/drawing/2014/main" id="{266BE77F-49C2-454F-862A-03C00F381B38}"/>
              </a:ext>
            </a:extLst>
          </p:cNvPr>
          <p:cNvSpPr/>
          <p:nvPr userDrawn="1"/>
        </p:nvSpPr>
        <p:spPr bwMode="gray">
          <a:xfrm>
            <a:off x="4715443" y="4508809"/>
            <a:ext cx="1044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21" name="Textplatzhalter 10">
            <a:extLst>
              <a:ext uri="{FF2B5EF4-FFF2-40B4-BE49-F238E27FC236}">
                <a16:creationId xmlns:a16="http://schemas.microsoft.com/office/drawing/2014/main" id="{9B20FB39-F222-4E17-B841-3BE92FBAAAE9}"/>
              </a:ext>
            </a:extLst>
          </p:cNvPr>
          <p:cNvSpPr>
            <a:spLocks noGrp="1"/>
          </p:cNvSpPr>
          <p:nvPr>
            <p:ph type="body" sz="quarter" idx="30" hasCustomPrompt="1"/>
          </p:nvPr>
        </p:nvSpPr>
        <p:spPr bwMode="gray">
          <a:xfrm>
            <a:off x="5940425" y="4868558"/>
            <a:ext cx="2952751" cy="1440160"/>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sp>
        <p:nvSpPr>
          <p:cNvPr id="22" name="Bildplatzhalter 11">
            <a:extLst>
              <a:ext uri="{FF2B5EF4-FFF2-40B4-BE49-F238E27FC236}">
                <a16:creationId xmlns:a16="http://schemas.microsoft.com/office/drawing/2014/main" id="{FCF09909-1978-4751-8BE4-512040AF7162}"/>
              </a:ext>
            </a:extLst>
          </p:cNvPr>
          <p:cNvSpPr>
            <a:spLocks noGrp="1"/>
          </p:cNvSpPr>
          <p:nvPr>
            <p:ph type="pic" sz="quarter" idx="31" hasCustomPrompt="1"/>
          </p:nvPr>
        </p:nvSpPr>
        <p:spPr bwMode="gray">
          <a:xfrm>
            <a:off x="4716462" y="4868862"/>
            <a:ext cx="1043557" cy="1439863"/>
          </a:xfrm>
        </p:spPr>
        <p:txBody>
          <a:bodyPr anchor="ctr"/>
          <a:lstStyle>
            <a:lvl1pPr algn="ctr">
              <a:defRPr sz="1100"/>
            </a:lvl1pPr>
          </a:lstStyle>
          <a:p>
            <a:r>
              <a:rPr lang="de-DE" dirty="0"/>
              <a:t>Bildplatzhalter</a:t>
            </a:r>
          </a:p>
        </p:txBody>
      </p:sp>
      <p:cxnSp>
        <p:nvCxnSpPr>
          <p:cNvPr id="23" name="Gerade Verbindung 41">
            <a:extLst>
              <a:ext uri="{FF2B5EF4-FFF2-40B4-BE49-F238E27FC236}">
                <a16:creationId xmlns:a16="http://schemas.microsoft.com/office/drawing/2014/main" id="{0B0FEA45-C288-4065-933D-AAA97688A411}"/>
              </a:ext>
            </a:extLst>
          </p:cNvPr>
          <p:cNvCxnSpPr>
            <a:cxnSpLocks/>
          </p:cNvCxnSpPr>
          <p:nvPr userDrawn="1"/>
        </p:nvCxnSpPr>
        <p:spPr>
          <a:xfrm>
            <a:off x="5940425" y="4868558"/>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Rechteck 21">
            <a:extLst>
              <a:ext uri="{FF2B5EF4-FFF2-40B4-BE49-F238E27FC236}">
                <a16:creationId xmlns:a16="http://schemas.microsoft.com/office/drawing/2014/main" id="{04BFDD1D-8966-4FBA-8A6D-BC08C583B872}"/>
              </a:ext>
            </a:extLst>
          </p:cNvPr>
          <p:cNvSpPr/>
          <p:nvPr userDrawn="1"/>
        </p:nvSpPr>
        <p:spPr bwMode="gray">
          <a:xfrm>
            <a:off x="4715443" y="6308718"/>
            <a:ext cx="1044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25" name="Rechteck 12">
            <a:extLst>
              <a:ext uri="{FF2B5EF4-FFF2-40B4-BE49-F238E27FC236}">
                <a16:creationId xmlns:a16="http://schemas.microsoft.com/office/drawing/2014/main" id="{53D620A3-C05E-4A37-8D21-4F171882878F}"/>
              </a:ext>
            </a:extLst>
          </p:cNvPr>
          <p:cNvSpPr/>
          <p:nvPr userDrawn="1"/>
        </p:nvSpPr>
        <p:spPr bwMode="gray">
          <a:xfrm>
            <a:off x="4716020" y="2702781"/>
            <a:ext cx="1044000"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cxnSp>
        <p:nvCxnSpPr>
          <p:cNvPr id="26" name="Gerade Verbindung 38">
            <a:extLst>
              <a:ext uri="{FF2B5EF4-FFF2-40B4-BE49-F238E27FC236}">
                <a16:creationId xmlns:a16="http://schemas.microsoft.com/office/drawing/2014/main" id="{E2A717D6-C474-4103-AE83-266BF45B65CF}"/>
              </a:ext>
            </a:extLst>
          </p:cNvPr>
          <p:cNvCxnSpPr/>
          <p:nvPr userDrawn="1"/>
        </p:nvCxnSpPr>
        <p:spPr>
          <a:xfrm>
            <a:off x="5940152" y="3068960"/>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E996E1DD-CC11-4132-A3A7-E91D80542647}"/>
              </a:ext>
            </a:extLst>
          </p:cNvPr>
          <p:cNvSpPr>
            <a:spLocks noGrp="1"/>
          </p:cNvSpPr>
          <p:nvPr>
            <p:ph type="dt" sz="half" idx="32"/>
          </p:nvPr>
        </p:nvSpPr>
        <p:spPr/>
        <p:txBody>
          <a:bodyPr/>
          <a:lstStyle/>
          <a:p>
            <a:r>
              <a:rPr lang="en-US"/>
              <a:t> |  | </a:t>
            </a:r>
            <a:endParaRPr lang="de-DE" dirty="0"/>
          </a:p>
        </p:txBody>
      </p:sp>
      <p:sp>
        <p:nvSpPr>
          <p:cNvPr id="6" name="Footer Placeholder 5">
            <a:extLst>
              <a:ext uri="{FF2B5EF4-FFF2-40B4-BE49-F238E27FC236}">
                <a16:creationId xmlns:a16="http://schemas.microsoft.com/office/drawing/2014/main" id="{20F7B085-F513-4729-9B8D-704E66AC86C3}"/>
              </a:ext>
            </a:extLst>
          </p:cNvPr>
          <p:cNvSpPr>
            <a:spLocks noGrp="1"/>
          </p:cNvSpPr>
          <p:nvPr>
            <p:ph type="ftr" sz="quarter" idx="33"/>
          </p:nvPr>
        </p:nvSpPr>
        <p:spPr/>
        <p:txBody>
          <a:bodyPr/>
          <a:lstStyle/>
          <a:p>
            <a:endParaRPr lang="de-DE" dirty="0"/>
          </a:p>
        </p:txBody>
      </p:sp>
      <p:sp>
        <p:nvSpPr>
          <p:cNvPr id="7" name="Slide Number Placeholder 6">
            <a:extLst>
              <a:ext uri="{FF2B5EF4-FFF2-40B4-BE49-F238E27FC236}">
                <a16:creationId xmlns:a16="http://schemas.microsoft.com/office/drawing/2014/main" id="{C5967E40-C00B-4274-B551-8A36FE6FC1D6}"/>
              </a:ext>
            </a:extLst>
          </p:cNvPr>
          <p:cNvSpPr>
            <a:spLocks noGrp="1"/>
          </p:cNvSpPr>
          <p:nvPr>
            <p:ph type="sldNum" sz="quarter" idx="34"/>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37929445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628" userDrawn="1">
          <p15:clr>
            <a:srgbClr val="FBAE40"/>
          </p15:clr>
        </p15:guide>
        <p15:guide id="2" orient="horz" pos="2478" userDrawn="1">
          <p15:clr>
            <a:srgbClr val="FBAE40"/>
          </p15:clr>
        </p15:guide>
        <p15:guide id="3" orient="horz" pos="2341" userDrawn="1">
          <p15:clr>
            <a:srgbClr val="FBAE40"/>
          </p15:clr>
        </p15:guide>
        <p15:guide id="4" orient="horz" pos="1706" userDrawn="1">
          <p15:clr>
            <a:srgbClr val="FBAE40"/>
          </p15:clr>
        </p15:guide>
        <p15:guide id="5" orient="horz" pos="1933" userDrawn="1">
          <p15:clr>
            <a:srgbClr val="FBAE40"/>
          </p15:clr>
        </p15:guide>
        <p15:guide id="6" orient="horz" pos="2840" userDrawn="1">
          <p15:clr>
            <a:srgbClr val="FBAE40"/>
          </p15:clr>
        </p15:guide>
        <p15:guide id="7" orient="horz" pos="306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Ansprechpartner">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de-DE" noProof="0" dirty="0"/>
              <a:t>Titelmasterformat durch </a:t>
            </a:r>
            <a:br>
              <a:rPr lang="de-DE" noProof="0" dirty="0"/>
            </a:br>
            <a:r>
              <a:rPr lang="de-DE" noProof="0" dirty="0"/>
              <a:t>Klicken bearbeiten</a:t>
            </a:r>
            <a:endParaRPr lang="de-DE" dirty="0"/>
          </a:p>
        </p:txBody>
      </p:sp>
      <p:sp>
        <p:nvSpPr>
          <p:cNvPr id="21" name="Textplatzhalter 10"/>
          <p:cNvSpPr>
            <a:spLocks noGrp="1"/>
          </p:cNvSpPr>
          <p:nvPr>
            <p:ph type="body" sz="quarter" idx="15" hasCustomPrompt="1"/>
          </p:nvPr>
        </p:nvSpPr>
        <p:spPr bwMode="gray">
          <a:xfrm>
            <a:off x="1043609" y="1268413"/>
            <a:ext cx="1872630"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0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000">
                <a:solidFill>
                  <a:schemeClr val="tx1"/>
                </a:solidFill>
              </a:defRPr>
            </a:lvl3pPr>
            <a:lvl4pPr marL="0" indent="0">
              <a:lnSpc>
                <a:spcPct val="110000"/>
              </a:lnSpc>
              <a:spcBef>
                <a:spcPts val="0"/>
              </a:spcBef>
              <a:spcAft>
                <a:spcPts val="0"/>
              </a:spcAft>
              <a:buFontTx/>
              <a:buNone/>
              <a:defRPr sz="1000">
                <a:solidFill>
                  <a:schemeClr val="tx1"/>
                </a:solidFill>
              </a:defRPr>
            </a:lvl4pPr>
            <a:lvl5pPr marL="0" indent="0">
              <a:lnSpc>
                <a:spcPct val="110000"/>
              </a:lnSpc>
              <a:spcBef>
                <a:spcPts val="0"/>
              </a:spcBef>
              <a:spcAft>
                <a:spcPts val="0"/>
              </a:spcAft>
              <a:buFontTx/>
              <a:buNone/>
              <a:defRPr sz="1000">
                <a:solidFill>
                  <a:schemeClr val="tx1"/>
                </a:solidFill>
              </a:defRPr>
            </a:lvl5pPr>
            <a:lvl6pPr marL="0" indent="0">
              <a:lnSpc>
                <a:spcPct val="110000"/>
              </a:lnSpc>
              <a:spcBef>
                <a:spcPts val="0"/>
              </a:spcBef>
              <a:spcAft>
                <a:spcPts val="0"/>
              </a:spcAft>
              <a:buFontTx/>
              <a:buNone/>
              <a:defRPr sz="1000">
                <a:solidFill>
                  <a:schemeClr val="tx1"/>
                </a:solidFill>
              </a:defRPr>
            </a:lvl6pPr>
            <a:lvl7pPr marL="0" indent="0">
              <a:lnSpc>
                <a:spcPct val="110000"/>
              </a:lnSpc>
              <a:spcBef>
                <a:spcPts val="0"/>
              </a:spcBef>
              <a:spcAft>
                <a:spcPts val="0"/>
              </a:spcAft>
              <a:buFontTx/>
              <a:buNone/>
              <a:defRPr sz="1000">
                <a:solidFill>
                  <a:schemeClr val="tx1"/>
                </a:solidFill>
              </a:defRPr>
            </a:lvl7pPr>
            <a:lvl8pPr marL="0" indent="0">
              <a:lnSpc>
                <a:spcPct val="110000"/>
              </a:lnSpc>
              <a:spcBef>
                <a:spcPts val="0"/>
              </a:spcBef>
              <a:spcAft>
                <a:spcPts val="0"/>
              </a:spcAft>
              <a:buFontTx/>
              <a:buNone/>
              <a:defRPr sz="1000">
                <a:solidFill>
                  <a:schemeClr val="tx1"/>
                </a:solidFill>
              </a:defRPr>
            </a:lvl8pPr>
            <a:lvl9pPr marL="0" indent="0">
              <a:lnSpc>
                <a:spcPct val="110000"/>
              </a:lnSpc>
              <a:spcBef>
                <a:spcPts val="0"/>
              </a:spcBef>
              <a:spcAft>
                <a:spcPts val="0"/>
              </a:spcAft>
              <a:buFontTx/>
              <a:buNone/>
              <a:defRPr sz="1000">
                <a:solidFill>
                  <a:schemeClr val="tx1"/>
                </a:solidFill>
              </a:defRPr>
            </a:lvl9pPr>
          </a:lstStyle>
          <a:p>
            <a:pPr lvl="0"/>
            <a:r>
              <a:rPr lang="de-DE" dirty="0"/>
              <a:t>Vorname Nachname</a:t>
            </a:r>
          </a:p>
          <a:p>
            <a:pPr lvl="2"/>
            <a:r>
              <a:rPr lang="de-DE" dirty="0"/>
              <a:t>Funktion</a:t>
            </a:r>
          </a:p>
        </p:txBody>
      </p:sp>
      <p:sp>
        <p:nvSpPr>
          <p:cNvPr id="24" name="Bildplatzhalter 11"/>
          <p:cNvSpPr>
            <a:spLocks noGrp="1"/>
          </p:cNvSpPr>
          <p:nvPr>
            <p:ph type="pic" sz="quarter" idx="16" hasCustomPrompt="1"/>
          </p:nvPr>
        </p:nvSpPr>
        <p:spPr bwMode="gray">
          <a:xfrm>
            <a:off x="250825" y="1268413"/>
            <a:ext cx="720775" cy="936451"/>
          </a:xfrm>
          <a:solidFill>
            <a:srgbClr val="EDECEB"/>
          </a:solidFill>
        </p:spPr>
        <p:txBody>
          <a:bodyPr anchor="ctr"/>
          <a:lstStyle>
            <a:lvl1pPr algn="ctr">
              <a:defRPr sz="1100"/>
            </a:lvl1pPr>
          </a:lstStyle>
          <a:p>
            <a:r>
              <a:rPr lang="de-DE" dirty="0"/>
              <a:t>Bild</a:t>
            </a:r>
          </a:p>
        </p:txBody>
      </p:sp>
      <p:sp>
        <p:nvSpPr>
          <p:cNvPr id="35" name="Textplatzhalter 10"/>
          <p:cNvSpPr>
            <a:spLocks noGrp="1"/>
          </p:cNvSpPr>
          <p:nvPr>
            <p:ph type="body" sz="quarter" idx="20" hasCustomPrompt="1"/>
          </p:nvPr>
        </p:nvSpPr>
        <p:spPr bwMode="gray">
          <a:xfrm>
            <a:off x="3995936" y="1268413"/>
            <a:ext cx="1944489"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0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000">
                <a:solidFill>
                  <a:schemeClr val="tx1"/>
                </a:solidFill>
              </a:defRPr>
            </a:lvl3pPr>
            <a:lvl4pPr marL="0" indent="0">
              <a:lnSpc>
                <a:spcPct val="110000"/>
              </a:lnSpc>
              <a:spcBef>
                <a:spcPts val="0"/>
              </a:spcBef>
              <a:spcAft>
                <a:spcPts val="0"/>
              </a:spcAft>
              <a:buFontTx/>
              <a:buNone/>
              <a:defRPr sz="1000">
                <a:solidFill>
                  <a:schemeClr val="tx1"/>
                </a:solidFill>
              </a:defRPr>
            </a:lvl4pPr>
            <a:lvl5pPr marL="0" indent="0">
              <a:lnSpc>
                <a:spcPct val="110000"/>
              </a:lnSpc>
              <a:spcBef>
                <a:spcPts val="0"/>
              </a:spcBef>
              <a:spcAft>
                <a:spcPts val="0"/>
              </a:spcAft>
              <a:buFontTx/>
              <a:buNone/>
              <a:defRPr sz="1000">
                <a:solidFill>
                  <a:schemeClr val="tx1"/>
                </a:solidFill>
              </a:defRPr>
            </a:lvl5pPr>
            <a:lvl6pPr marL="0" indent="0">
              <a:lnSpc>
                <a:spcPct val="110000"/>
              </a:lnSpc>
              <a:spcBef>
                <a:spcPts val="0"/>
              </a:spcBef>
              <a:spcAft>
                <a:spcPts val="0"/>
              </a:spcAft>
              <a:buFontTx/>
              <a:buNone/>
              <a:defRPr sz="1000">
                <a:solidFill>
                  <a:schemeClr val="tx1"/>
                </a:solidFill>
              </a:defRPr>
            </a:lvl6pPr>
            <a:lvl7pPr marL="0" indent="0">
              <a:lnSpc>
                <a:spcPct val="110000"/>
              </a:lnSpc>
              <a:spcBef>
                <a:spcPts val="0"/>
              </a:spcBef>
              <a:spcAft>
                <a:spcPts val="0"/>
              </a:spcAft>
              <a:buFontTx/>
              <a:buNone/>
              <a:defRPr sz="1000">
                <a:solidFill>
                  <a:schemeClr val="tx1"/>
                </a:solidFill>
              </a:defRPr>
            </a:lvl7pPr>
            <a:lvl8pPr marL="0" indent="0">
              <a:lnSpc>
                <a:spcPct val="110000"/>
              </a:lnSpc>
              <a:spcBef>
                <a:spcPts val="0"/>
              </a:spcBef>
              <a:spcAft>
                <a:spcPts val="0"/>
              </a:spcAft>
              <a:buFontTx/>
              <a:buNone/>
              <a:defRPr sz="1000">
                <a:solidFill>
                  <a:schemeClr val="tx1"/>
                </a:solidFill>
              </a:defRPr>
            </a:lvl8pPr>
            <a:lvl9pPr marL="0" indent="0">
              <a:lnSpc>
                <a:spcPct val="110000"/>
              </a:lnSpc>
              <a:spcBef>
                <a:spcPts val="0"/>
              </a:spcBef>
              <a:spcAft>
                <a:spcPts val="0"/>
              </a:spcAft>
              <a:buFontTx/>
              <a:buNone/>
              <a:defRPr sz="1000">
                <a:solidFill>
                  <a:schemeClr val="tx1"/>
                </a:solidFill>
              </a:defRPr>
            </a:lvl9pPr>
          </a:lstStyle>
          <a:p>
            <a:pPr lvl="0"/>
            <a:r>
              <a:rPr lang="de-DE" dirty="0"/>
              <a:t>Vorname Nachname</a:t>
            </a:r>
          </a:p>
          <a:p>
            <a:pPr lvl="2"/>
            <a:r>
              <a:rPr lang="de-DE" dirty="0"/>
              <a:t>Funktion</a:t>
            </a:r>
          </a:p>
        </p:txBody>
      </p:sp>
      <p:sp>
        <p:nvSpPr>
          <p:cNvPr id="38" name="Bildplatzhalter 11"/>
          <p:cNvSpPr>
            <a:spLocks noGrp="1"/>
          </p:cNvSpPr>
          <p:nvPr>
            <p:ph type="pic" sz="quarter" idx="29" hasCustomPrompt="1"/>
          </p:nvPr>
        </p:nvSpPr>
        <p:spPr bwMode="gray">
          <a:xfrm>
            <a:off x="3203848" y="1267272"/>
            <a:ext cx="720080" cy="937592"/>
          </a:xfrm>
          <a:solidFill>
            <a:srgbClr val="EDECEB"/>
          </a:solidFill>
        </p:spPr>
        <p:txBody>
          <a:bodyPr anchor="ctr"/>
          <a:lstStyle>
            <a:lvl1pPr algn="ctr">
              <a:defRPr sz="1100"/>
            </a:lvl1pPr>
          </a:lstStyle>
          <a:p>
            <a:r>
              <a:rPr lang="de-DE" dirty="0"/>
              <a:t>Bild</a:t>
            </a:r>
          </a:p>
        </p:txBody>
      </p:sp>
      <p:sp>
        <p:nvSpPr>
          <p:cNvPr id="40" name="Textplatzhalter 10"/>
          <p:cNvSpPr>
            <a:spLocks noGrp="1"/>
          </p:cNvSpPr>
          <p:nvPr>
            <p:ph type="body" sz="quarter" idx="30" hasCustomPrompt="1"/>
          </p:nvPr>
        </p:nvSpPr>
        <p:spPr bwMode="gray">
          <a:xfrm>
            <a:off x="7020272" y="1268413"/>
            <a:ext cx="1872903"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0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000">
                <a:solidFill>
                  <a:schemeClr val="tx1"/>
                </a:solidFill>
              </a:defRPr>
            </a:lvl3pPr>
            <a:lvl4pPr marL="0" indent="0">
              <a:lnSpc>
                <a:spcPct val="110000"/>
              </a:lnSpc>
              <a:spcBef>
                <a:spcPts val="0"/>
              </a:spcBef>
              <a:spcAft>
                <a:spcPts val="0"/>
              </a:spcAft>
              <a:buFontTx/>
              <a:buNone/>
              <a:defRPr sz="1000">
                <a:solidFill>
                  <a:schemeClr val="tx1"/>
                </a:solidFill>
              </a:defRPr>
            </a:lvl4pPr>
            <a:lvl5pPr marL="0" indent="0">
              <a:lnSpc>
                <a:spcPct val="110000"/>
              </a:lnSpc>
              <a:spcBef>
                <a:spcPts val="0"/>
              </a:spcBef>
              <a:spcAft>
                <a:spcPts val="0"/>
              </a:spcAft>
              <a:buFontTx/>
              <a:buNone/>
              <a:defRPr sz="1000">
                <a:solidFill>
                  <a:schemeClr val="tx1"/>
                </a:solidFill>
              </a:defRPr>
            </a:lvl5pPr>
            <a:lvl6pPr marL="0" indent="0">
              <a:lnSpc>
                <a:spcPct val="110000"/>
              </a:lnSpc>
              <a:spcBef>
                <a:spcPts val="0"/>
              </a:spcBef>
              <a:spcAft>
                <a:spcPts val="0"/>
              </a:spcAft>
              <a:buFontTx/>
              <a:buNone/>
              <a:defRPr sz="1000">
                <a:solidFill>
                  <a:schemeClr val="tx1"/>
                </a:solidFill>
              </a:defRPr>
            </a:lvl6pPr>
            <a:lvl7pPr marL="0" indent="0">
              <a:lnSpc>
                <a:spcPct val="110000"/>
              </a:lnSpc>
              <a:spcBef>
                <a:spcPts val="0"/>
              </a:spcBef>
              <a:spcAft>
                <a:spcPts val="0"/>
              </a:spcAft>
              <a:buFontTx/>
              <a:buNone/>
              <a:defRPr sz="1000">
                <a:solidFill>
                  <a:schemeClr val="tx1"/>
                </a:solidFill>
              </a:defRPr>
            </a:lvl7pPr>
            <a:lvl8pPr marL="0" indent="0">
              <a:lnSpc>
                <a:spcPct val="110000"/>
              </a:lnSpc>
              <a:spcBef>
                <a:spcPts val="0"/>
              </a:spcBef>
              <a:spcAft>
                <a:spcPts val="0"/>
              </a:spcAft>
              <a:buFontTx/>
              <a:buNone/>
              <a:defRPr sz="1000">
                <a:solidFill>
                  <a:schemeClr val="tx1"/>
                </a:solidFill>
              </a:defRPr>
            </a:lvl8pPr>
            <a:lvl9pPr marL="0" indent="0">
              <a:lnSpc>
                <a:spcPct val="110000"/>
              </a:lnSpc>
              <a:spcBef>
                <a:spcPts val="0"/>
              </a:spcBef>
              <a:spcAft>
                <a:spcPts val="0"/>
              </a:spcAft>
              <a:buFontTx/>
              <a:buNone/>
              <a:defRPr sz="1000">
                <a:solidFill>
                  <a:schemeClr val="tx1"/>
                </a:solidFill>
              </a:defRPr>
            </a:lvl9pPr>
          </a:lstStyle>
          <a:p>
            <a:pPr lvl="0"/>
            <a:r>
              <a:rPr lang="de-DE" dirty="0"/>
              <a:t>Vorname Nachname</a:t>
            </a:r>
          </a:p>
          <a:p>
            <a:pPr lvl="2"/>
            <a:r>
              <a:rPr lang="de-DE" dirty="0"/>
              <a:t>Funktion</a:t>
            </a:r>
          </a:p>
        </p:txBody>
      </p:sp>
      <p:sp>
        <p:nvSpPr>
          <p:cNvPr id="41" name="Bildplatzhalter 11"/>
          <p:cNvSpPr>
            <a:spLocks noGrp="1"/>
          </p:cNvSpPr>
          <p:nvPr>
            <p:ph type="pic" sz="quarter" idx="31" hasCustomPrompt="1"/>
          </p:nvPr>
        </p:nvSpPr>
        <p:spPr bwMode="gray">
          <a:xfrm>
            <a:off x="6227763" y="1268413"/>
            <a:ext cx="720501" cy="936451"/>
          </a:xfrm>
          <a:solidFill>
            <a:srgbClr val="EDECEB"/>
          </a:solidFill>
        </p:spPr>
        <p:txBody>
          <a:bodyPr anchor="ctr"/>
          <a:lstStyle>
            <a:lvl1pPr algn="ctr">
              <a:defRPr sz="1100"/>
            </a:lvl1pPr>
          </a:lstStyle>
          <a:p>
            <a:r>
              <a:rPr lang="de-DE" dirty="0"/>
              <a:t>Bild</a:t>
            </a:r>
          </a:p>
        </p:txBody>
      </p:sp>
      <p:sp>
        <p:nvSpPr>
          <p:cNvPr id="18" name="Rechteck 17">
            <a:extLst>
              <a:ext uri="{FF2B5EF4-FFF2-40B4-BE49-F238E27FC236}">
                <a16:creationId xmlns:a16="http://schemas.microsoft.com/office/drawing/2014/main" id="{744D0F47-F328-4207-9A2A-AA484C39360D}"/>
              </a:ext>
            </a:extLst>
          </p:cNvPr>
          <p:cNvSpPr/>
          <p:nvPr userDrawn="1"/>
        </p:nvSpPr>
        <p:spPr bwMode="gray">
          <a:xfrm>
            <a:off x="250825" y="22048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cxnSp>
        <p:nvCxnSpPr>
          <p:cNvPr id="23" name="Gerade Verbindung 22"/>
          <p:cNvCxnSpPr/>
          <p:nvPr userDrawn="1"/>
        </p:nvCxnSpPr>
        <p:spPr bwMode="gray">
          <a:xfrm>
            <a:off x="251520" y="2349417"/>
            <a:ext cx="2664718" cy="1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custDataLst>
              <p:tags r:id="rId1"/>
            </p:custDataLst>
          </p:nvPr>
        </p:nvCxnSpPr>
        <p:spPr bwMode="gray">
          <a:xfrm>
            <a:off x="251520" y="2853486"/>
            <a:ext cx="2664718"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1043608"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3995937"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7020000"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a:off x="3204539" y="2349417"/>
            <a:ext cx="2735886"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3204539" y="2853486"/>
            <a:ext cx="2735867"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6228875" y="2349417"/>
            <a:ext cx="2664718" cy="1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6228875" y="2853486"/>
            <a:ext cx="2664718"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54" name="Rechteck 53">
            <a:extLst>
              <a:ext uri="{FF2B5EF4-FFF2-40B4-BE49-F238E27FC236}">
                <a16:creationId xmlns:a16="http://schemas.microsoft.com/office/drawing/2014/main" id="{744D0F47-F328-4207-9A2A-AA484C39360D}"/>
              </a:ext>
            </a:extLst>
          </p:cNvPr>
          <p:cNvSpPr/>
          <p:nvPr userDrawn="1"/>
        </p:nvSpPr>
        <p:spPr bwMode="gray">
          <a:xfrm>
            <a:off x="3203848" y="22048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55" name="Rechteck 54">
            <a:extLst>
              <a:ext uri="{FF2B5EF4-FFF2-40B4-BE49-F238E27FC236}">
                <a16:creationId xmlns:a16="http://schemas.microsoft.com/office/drawing/2014/main" id="{744D0F47-F328-4207-9A2A-AA484C39360D}"/>
              </a:ext>
            </a:extLst>
          </p:cNvPr>
          <p:cNvSpPr/>
          <p:nvPr userDrawn="1"/>
        </p:nvSpPr>
        <p:spPr bwMode="gray">
          <a:xfrm>
            <a:off x="6227763" y="22048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4" name="Textplatzhalter 3"/>
          <p:cNvSpPr>
            <a:spLocks noGrp="1"/>
          </p:cNvSpPr>
          <p:nvPr>
            <p:ph type="body" sz="quarter" idx="32" hasCustomPrompt="1"/>
          </p:nvPr>
        </p:nvSpPr>
        <p:spPr>
          <a:xfrm>
            <a:off x="250825" y="2348577"/>
            <a:ext cx="2665413" cy="503238"/>
          </a:xfrm>
        </p:spPr>
        <p:txBody>
          <a:bodyPr anchor="ctr"/>
          <a:lstStyle>
            <a:lvl1pPr marL="0" indent="0">
              <a:spcBef>
                <a:spcPts val="0"/>
              </a:spcBef>
              <a:buFont typeface="Arial" panose="020B0604020202020204" pitchFamily="34" charset="0"/>
              <a:buNone/>
              <a:defRPr sz="1000"/>
            </a:lvl1pPr>
            <a:lvl2pPr marL="0" indent="0">
              <a:spcBef>
                <a:spcPts val="0"/>
              </a:spcBef>
              <a:buNone/>
              <a:defRPr sz="1000"/>
            </a:lvl2pPr>
            <a:lvl3pPr marL="0" indent="0">
              <a:spcBef>
                <a:spcPts val="0"/>
              </a:spcBef>
              <a:buNone/>
              <a:defRPr sz="1000"/>
            </a:lvl3pPr>
            <a:lvl4pPr marL="0" indent="0">
              <a:spcBef>
                <a:spcPts val="0"/>
              </a:spcBef>
              <a:buNone/>
              <a:defRPr sz="1000"/>
            </a:lvl4pPr>
            <a:lvl5pPr marL="0" indent="0">
              <a:spcBef>
                <a:spcPts val="0"/>
              </a:spcBef>
              <a:buNone/>
              <a:defRPr sz="1000"/>
            </a:lvl5pPr>
            <a:lvl6pPr marL="0" indent="0">
              <a:spcBef>
                <a:spcPts val="0"/>
              </a:spcBef>
              <a:buNone/>
              <a:defRPr sz="1000"/>
            </a:lvl6pPr>
            <a:lvl7pPr marL="0" indent="0">
              <a:spcBef>
                <a:spcPts val="0"/>
              </a:spcBef>
              <a:buNone/>
              <a:defRPr sz="1000"/>
            </a:lvl7pPr>
            <a:lvl8pPr marL="0" indent="0">
              <a:spcBef>
                <a:spcPts val="0"/>
              </a:spcBef>
              <a:buNone/>
              <a:defRPr sz="1000"/>
            </a:lvl8pPr>
            <a:lvl9pPr marL="0" indent="0">
              <a:spcBef>
                <a:spcPts val="0"/>
              </a:spcBef>
              <a:buNone/>
              <a:defRPr sz="1000"/>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de-DE" noProof="0" dirty="0"/>
              <a:t>+xx </a:t>
            </a:r>
            <a:r>
              <a:rPr lang="de-DE" noProof="0" dirty="0" err="1"/>
              <a:t>xx</a:t>
            </a:r>
            <a:r>
              <a:rPr lang="de-DE" noProof="0" dirty="0"/>
              <a:t> </a:t>
            </a:r>
            <a:r>
              <a:rPr lang="de-DE" noProof="0" dirty="0" err="1"/>
              <a:t>xxxx</a:t>
            </a:r>
            <a:r>
              <a:rPr lang="de-DE" noProof="0" dirty="0"/>
              <a:t> </a:t>
            </a:r>
            <a:r>
              <a:rPr lang="de-DE" noProof="0" dirty="0" err="1"/>
              <a:t>xxxx</a:t>
            </a:r>
            <a:br>
              <a:rPr lang="de-DE" noProof="0" dirty="0"/>
            </a:br>
            <a:r>
              <a:rPr lang="de-DE" dirty="0"/>
              <a:t>vorname.nachname@berenberg.de</a:t>
            </a:r>
          </a:p>
        </p:txBody>
      </p:sp>
      <p:sp>
        <p:nvSpPr>
          <p:cNvPr id="56" name="Textplatzhalter 3"/>
          <p:cNvSpPr>
            <a:spLocks noGrp="1"/>
          </p:cNvSpPr>
          <p:nvPr>
            <p:ph type="body" sz="quarter" idx="33" hasCustomPrompt="1"/>
          </p:nvPr>
        </p:nvSpPr>
        <p:spPr>
          <a:xfrm>
            <a:off x="3203848" y="2349500"/>
            <a:ext cx="2736577" cy="503238"/>
          </a:xfrm>
        </p:spPr>
        <p:txBody>
          <a:bodyPr anchor="ctr"/>
          <a:lstStyle>
            <a:lvl1pPr marL="0" indent="0">
              <a:spcBef>
                <a:spcPts val="0"/>
              </a:spcBef>
              <a:buFont typeface="Arial" panose="020B0604020202020204" pitchFamily="34" charset="0"/>
              <a:buNone/>
              <a:defRPr sz="1000"/>
            </a:lvl1pPr>
            <a:lvl2pPr marL="0" indent="0">
              <a:spcBef>
                <a:spcPts val="0"/>
              </a:spcBef>
              <a:buNone/>
              <a:defRPr sz="1000"/>
            </a:lvl2pPr>
            <a:lvl3pPr marL="0" indent="0">
              <a:spcBef>
                <a:spcPts val="0"/>
              </a:spcBef>
              <a:buNone/>
              <a:defRPr sz="1000"/>
            </a:lvl3pPr>
            <a:lvl4pPr marL="0" indent="0">
              <a:spcBef>
                <a:spcPts val="0"/>
              </a:spcBef>
              <a:buNone/>
              <a:defRPr sz="1000"/>
            </a:lvl4pPr>
            <a:lvl5pPr marL="0" indent="0">
              <a:spcBef>
                <a:spcPts val="0"/>
              </a:spcBef>
              <a:buNone/>
              <a:defRPr sz="1000"/>
            </a:lvl5pPr>
            <a:lvl6pPr marL="0" indent="0">
              <a:spcBef>
                <a:spcPts val="0"/>
              </a:spcBef>
              <a:buNone/>
              <a:defRPr sz="1000"/>
            </a:lvl6pPr>
            <a:lvl7pPr marL="0" indent="0">
              <a:spcBef>
                <a:spcPts val="0"/>
              </a:spcBef>
              <a:buNone/>
              <a:defRPr sz="1000"/>
            </a:lvl7pPr>
            <a:lvl8pPr marL="0" indent="0">
              <a:spcBef>
                <a:spcPts val="0"/>
              </a:spcBef>
              <a:buNone/>
              <a:defRPr sz="1000"/>
            </a:lvl8pPr>
            <a:lvl9pPr marL="0" indent="0">
              <a:spcBef>
                <a:spcPts val="0"/>
              </a:spcBef>
              <a:buNone/>
              <a:defRPr sz="1000"/>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de-DE" noProof="0" dirty="0"/>
              <a:t>+xx </a:t>
            </a:r>
            <a:r>
              <a:rPr lang="de-DE" noProof="0" dirty="0" err="1"/>
              <a:t>xx</a:t>
            </a:r>
            <a:r>
              <a:rPr lang="de-DE" noProof="0" dirty="0"/>
              <a:t> </a:t>
            </a:r>
            <a:r>
              <a:rPr lang="de-DE" noProof="0" dirty="0" err="1"/>
              <a:t>xxxx</a:t>
            </a:r>
            <a:r>
              <a:rPr lang="de-DE" noProof="0" dirty="0"/>
              <a:t> </a:t>
            </a:r>
            <a:r>
              <a:rPr lang="de-DE" noProof="0" dirty="0" err="1"/>
              <a:t>xxxx</a:t>
            </a:r>
            <a:br>
              <a:rPr lang="de-DE" noProof="0" dirty="0"/>
            </a:br>
            <a:r>
              <a:rPr lang="de-DE" dirty="0"/>
              <a:t>vorname.nachname@berenberg.de</a:t>
            </a:r>
          </a:p>
        </p:txBody>
      </p:sp>
      <p:sp>
        <p:nvSpPr>
          <p:cNvPr id="57" name="Textplatzhalter 3"/>
          <p:cNvSpPr>
            <a:spLocks noGrp="1"/>
          </p:cNvSpPr>
          <p:nvPr>
            <p:ph type="body" sz="quarter" idx="34" hasCustomPrompt="1"/>
          </p:nvPr>
        </p:nvSpPr>
        <p:spPr>
          <a:xfrm>
            <a:off x="6227763" y="2349500"/>
            <a:ext cx="2665413" cy="503238"/>
          </a:xfrm>
        </p:spPr>
        <p:txBody>
          <a:bodyPr anchor="ctr"/>
          <a:lstStyle>
            <a:lvl1pPr marL="0" indent="0">
              <a:spcBef>
                <a:spcPts val="0"/>
              </a:spcBef>
              <a:buFont typeface="Arial" panose="020B0604020202020204" pitchFamily="34" charset="0"/>
              <a:buNone/>
              <a:defRPr sz="1000"/>
            </a:lvl1pPr>
            <a:lvl2pPr marL="0" indent="0">
              <a:spcBef>
                <a:spcPts val="0"/>
              </a:spcBef>
              <a:buNone/>
              <a:defRPr sz="1000"/>
            </a:lvl2pPr>
            <a:lvl3pPr marL="0" indent="0">
              <a:spcBef>
                <a:spcPts val="0"/>
              </a:spcBef>
              <a:buNone/>
              <a:defRPr sz="1000"/>
            </a:lvl3pPr>
            <a:lvl4pPr marL="0" indent="0">
              <a:spcBef>
                <a:spcPts val="0"/>
              </a:spcBef>
              <a:buNone/>
              <a:defRPr sz="1000"/>
            </a:lvl4pPr>
            <a:lvl5pPr marL="0" indent="0">
              <a:spcBef>
                <a:spcPts val="0"/>
              </a:spcBef>
              <a:buNone/>
              <a:defRPr sz="1000"/>
            </a:lvl5pPr>
            <a:lvl6pPr marL="0" indent="0">
              <a:spcBef>
                <a:spcPts val="0"/>
              </a:spcBef>
              <a:buNone/>
              <a:defRPr sz="1000"/>
            </a:lvl6pPr>
            <a:lvl7pPr marL="0" indent="0">
              <a:spcBef>
                <a:spcPts val="0"/>
              </a:spcBef>
              <a:buNone/>
              <a:defRPr sz="1000"/>
            </a:lvl7pPr>
            <a:lvl8pPr marL="0" indent="0">
              <a:spcBef>
                <a:spcPts val="0"/>
              </a:spcBef>
              <a:buNone/>
              <a:defRPr sz="1000"/>
            </a:lvl8pPr>
            <a:lvl9pPr marL="0" indent="0">
              <a:spcBef>
                <a:spcPts val="0"/>
              </a:spcBef>
              <a:buNone/>
              <a:defRPr sz="1000"/>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de-DE" noProof="0" dirty="0"/>
              <a:t>+xx </a:t>
            </a:r>
            <a:r>
              <a:rPr lang="de-DE" noProof="0" dirty="0" err="1"/>
              <a:t>xx</a:t>
            </a:r>
            <a:r>
              <a:rPr lang="de-DE" noProof="0" dirty="0"/>
              <a:t> </a:t>
            </a:r>
            <a:r>
              <a:rPr lang="de-DE" noProof="0" dirty="0" err="1"/>
              <a:t>xxxx</a:t>
            </a:r>
            <a:r>
              <a:rPr lang="de-DE" noProof="0" dirty="0"/>
              <a:t> </a:t>
            </a:r>
            <a:r>
              <a:rPr lang="de-DE" noProof="0" dirty="0" err="1"/>
              <a:t>xxxx</a:t>
            </a:r>
            <a:br>
              <a:rPr lang="de-DE" noProof="0" dirty="0"/>
            </a:br>
            <a:r>
              <a:rPr lang="de-DE" dirty="0"/>
              <a:t>vorname.nachname@berenberg.de</a:t>
            </a:r>
          </a:p>
        </p:txBody>
      </p:sp>
      <p:sp>
        <p:nvSpPr>
          <p:cNvPr id="9" name="Textplatzhalter 8"/>
          <p:cNvSpPr>
            <a:spLocks noGrp="1"/>
          </p:cNvSpPr>
          <p:nvPr>
            <p:ph type="body" sz="quarter" idx="35" hasCustomPrompt="1"/>
          </p:nvPr>
        </p:nvSpPr>
        <p:spPr>
          <a:xfrm>
            <a:off x="250825" y="2997200"/>
            <a:ext cx="2665413" cy="3311525"/>
          </a:xfrm>
        </p:spPr>
        <p:txBody>
          <a:bodyPr/>
          <a:lstStyle>
            <a:lvl1pPr>
              <a:defRPr sz="1000"/>
            </a:lvl1pPr>
            <a:lvl2pPr marL="92075" indent="-92075">
              <a:defRPr sz="1000"/>
            </a:lvl2pPr>
            <a:lvl3pPr marL="176213" indent="-84138">
              <a:defRPr sz="1000"/>
            </a:lvl3pPr>
            <a:lvl4pPr marL="268288" indent="-92075">
              <a:defRPr sz="1000"/>
            </a:lvl4pPr>
            <a:lvl5pPr marL="360363" indent="-92075">
              <a:defRPr sz="1000"/>
            </a:lvl5pPr>
            <a:lvl6pPr marL="360363" indent="-92075">
              <a:defRPr sz="1000"/>
            </a:lvl6pPr>
            <a:lvl7pPr marL="360363" indent="-92075">
              <a:defRPr sz="1000"/>
            </a:lvl7pPr>
            <a:lvl8pPr marL="360363" indent="-92075">
              <a:defRPr sz="1000"/>
            </a:lvl8pPr>
            <a:lvl9pPr marL="360363" indent="-92075">
              <a:defRPr sz="1000"/>
            </a:lvl9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58" name="Textplatzhalter 8"/>
          <p:cNvSpPr>
            <a:spLocks noGrp="1"/>
          </p:cNvSpPr>
          <p:nvPr>
            <p:ph type="body" sz="quarter" idx="36" hasCustomPrompt="1"/>
          </p:nvPr>
        </p:nvSpPr>
        <p:spPr>
          <a:xfrm>
            <a:off x="3203848" y="2997200"/>
            <a:ext cx="2736577" cy="3311525"/>
          </a:xfrm>
        </p:spPr>
        <p:txBody>
          <a:bodyPr/>
          <a:lstStyle>
            <a:lvl1pPr>
              <a:defRPr sz="1000"/>
            </a:lvl1pPr>
            <a:lvl2pPr marL="92075" indent="-92075">
              <a:defRPr sz="1000"/>
            </a:lvl2pPr>
            <a:lvl3pPr marL="176213" indent="-84138">
              <a:defRPr sz="1000"/>
            </a:lvl3pPr>
            <a:lvl4pPr marL="268288" indent="-92075">
              <a:defRPr sz="1000"/>
            </a:lvl4pPr>
            <a:lvl5pPr marL="360363" indent="-92075">
              <a:defRPr sz="1000"/>
            </a:lvl5pPr>
            <a:lvl6pPr marL="360363" indent="-92075">
              <a:defRPr sz="1000"/>
            </a:lvl6pPr>
            <a:lvl7pPr marL="360363" indent="-92075">
              <a:defRPr sz="1000"/>
            </a:lvl7pPr>
            <a:lvl8pPr marL="360363" indent="-92075">
              <a:defRPr sz="1000"/>
            </a:lvl8pPr>
            <a:lvl9pPr marL="360363" indent="-92075">
              <a:defRPr sz="1000"/>
            </a:lvl9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59" name="Textplatzhalter 8"/>
          <p:cNvSpPr>
            <a:spLocks noGrp="1"/>
          </p:cNvSpPr>
          <p:nvPr>
            <p:ph type="body" sz="quarter" idx="37" hasCustomPrompt="1"/>
          </p:nvPr>
        </p:nvSpPr>
        <p:spPr>
          <a:xfrm>
            <a:off x="6227764" y="2997200"/>
            <a:ext cx="2665412" cy="3311525"/>
          </a:xfrm>
        </p:spPr>
        <p:txBody>
          <a:bodyPr/>
          <a:lstStyle>
            <a:lvl1pPr>
              <a:defRPr sz="1000"/>
            </a:lvl1pPr>
            <a:lvl2pPr marL="92075" indent="-92075">
              <a:defRPr sz="1000"/>
            </a:lvl2pPr>
            <a:lvl3pPr marL="176213" indent="-84138">
              <a:defRPr sz="1000"/>
            </a:lvl3pPr>
            <a:lvl4pPr marL="268288" indent="-92075">
              <a:defRPr sz="1000"/>
            </a:lvl4pPr>
            <a:lvl5pPr marL="360363" indent="-92075">
              <a:defRPr sz="1000"/>
            </a:lvl5pPr>
            <a:lvl6pPr marL="360363" indent="-92075">
              <a:defRPr sz="1000"/>
            </a:lvl6pPr>
            <a:lvl7pPr marL="360363" indent="-92075">
              <a:defRPr sz="1000"/>
            </a:lvl7pPr>
            <a:lvl8pPr marL="360363" indent="-92075">
              <a:defRPr sz="1000"/>
            </a:lvl8pPr>
            <a:lvl9pPr marL="360363" indent="-92075">
              <a:defRPr sz="1000"/>
            </a:lvl9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5" name="Date Placeholder 4">
            <a:extLst>
              <a:ext uri="{FF2B5EF4-FFF2-40B4-BE49-F238E27FC236}">
                <a16:creationId xmlns:a16="http://schemas.microsoft.com/office/drawing/2014/main" id="{9880E01F-0625-4F4A-859C-3AD65C8BF04B}"/>
              </a:ext>
            </a:extLst>
          </p:cNvPr>
          <p:cNvSpPr>
            <a:spLocks noGrp="1"/>
          </p:cNvSpPr>
          <p:nvPr>
            <p:ph type="dt" sz="half" idx="38"/>
          </p:nvPr>
        </p:nvSpPr>
        <p:spPr/>
        <p:txBody>
          <a:bodyPr/>
          <a:lstStyle/>
          <a:p>
            <a:r>
              <a:rPr lang="en-US"/>
              <a:t> |  | </a:t>
            </a:r>
            <a:endParaRPr lang="de-DE" dirty="0"/>
          </a:p>
        </p:txBody>
      </p:sp>
      <p:sp>
        <p:nvSpPr>
          <p:cNvPr id="6" name="Footer Placeholder 5">
            <a:extLst>
              <a:ext uri="{FF2B5EF4-FFF2-40B4-BE49-F238E27FC236}">
                <a16:creationId xmlns:a16="http://schemas.microsoft.com/office/drawing/2014/main" id="{A7C2E61F-17B8-4564-A294-3230D02CCF92}"/>
              </a:ext>
            </a:extLst>
          </p:cNvPr>
          <p:cNvSpPr>
            <a:spLocks noGrp="1"/>
          </p:cNvSpPr>
          <p:nvPr>
            <p:ph type="ftr" sz="quarter" idx="39"/>
          </p:nvPr>
        </p:nvSpPr>
        <p:spPr/>
        <p:txBody>
          <a:bodyPr/>
          <a:lstStyle/>
          <a:p>
            <a:endParaRPr lang="de-DE" dirty="0"/>
          </a:p>
        </p:txBody>
      </p:sp>
      <p:sp>
        <p:nvSpPr>
          <p:cNvPr id="7" name="Slide Number Placeholder 6">
            <a:extLst>
              <a:ext uri="{FF2B5EF4-FFF2-40B4-BE49-F238E27FC236}">
                <a16:creationId xmlns:a16="http://schemas.microsoft.com/office/drawing/2014/main" id="{5D6C97E5-C419-49FD-ADB1-1F7E88B939CA}"/>
              </a:ext>
            </a:extLst>
          </p:cNvPr>
          <p:cNvSpPr>
            <a:spLocks noGrp="1"/>
          </p:cNvSpPr>
          <p:nvPr>
            <p:ph type="sldNum" sz="quarter" idx="40"/>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10040432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797" userDrawn="1">
          <p15:clr>
            <a:srgbClr val="FBAE40"/>
          </p15:clr>
        </p15:guide>
        <p15:guide id="2" orient="horz" pos="1888" userDrawn="1">
          <p15:clr>
            <a:srgbClr val="FBAE40"/>
          </p15:clr>
        </p15:guide>
        <p15:guide id="3" orient="horz" pos="1389" userDrawn="1">
          <p15:clr>
            <a:srgbClr val="FBAE40"/>
          </p15:clr>
        </p15:guide>
        <p15:guide id="4" orient="horz" pos="1480" userDrawn="1">
          <p15:clr>
            <a:srgbClr val="FBAE40"/>
          </p15:clr>
        </p15:guide>
        <p15:guide id="5" pos="612" userDrawn="1">
          <p15:clr>
            <a:srgbClr val="FBAE40"/>
          </p15:clr>
        </p15:guide>
        <p15:guide id="6" pos="657" userDrawn="1">
          <p15:clr>
            <a:srgbClr val="FBAE40"/>
          </p15:clr>
        </p15:guide>
        <p15:guide id="7" pos="2472" userDrawn="1">
          <p15:clr>
            <a:srgbClr val="FBAE40"/>
          </p15:clr>
        </p15:guide>
        <p15:guide id="8" pos="2517" userDrawn="1">
          <p15:clr>
            <a:srgbClr val="FBAE40"/>
          </p15:clr>
        </p15:guide>
        <p15:guide id="9" pos="4377" userDrawn="1">
          <p15:clr>
            <a:srgbClr val="FBAE40"/>
          </p15:clr>
        </p15:guide>
        <p15:guide id="10" pos="442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 Ansprechpartner">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de-DE" noProof="0" dirty="0"/>
              <a:t>Titelmasterformat durch </a:t>
            </a:r>
            <a:br>
              <a:rPr lang="de-DE" noProof="0" dirty="0"/>
            </a:br>
            <a:r>
              <a:rPr lang="de-DE" noProof="0" dirty="0"/>
              <a:t>Klicken bearbeiten</a:t>
            </a:r>
            <a:endParaRPr lang="de-DE" dirty="0"/>
          </a:p>
        </p:txBody>
      </p:sp>
      <p:sp>
        <p:nvSpPr>
          <p:cNvPr id="21" name="Textplatzhalter 10"/>
          <p:cNvSpPr>
            <a:spLocks noGrp="1"/>
          </p:cNvSpPr>
          <p:nvPr>
            <p:ph type="body" sz="quarter" idx="15" hasCustomPrompt="1"/>
          </p:nvPr>
        </p:nvSpPr>
        <p:spPr bwMode="gray">
          <a:xfrm>
            <a:off x="1259843" y="1268413"/>
            <a:ext cx="3167695"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0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000">
                <a:solidFill>
                  <a:schemeClr val="tx1"/>
                </a:solidFill>
              </a:defRPr>
            </a:lvl4pPr>
            <a:lvl5pPr marL="0" indent="0">
              <a:lnSpc>
                <a:spcPct val="110000"/>
              </a:lnSpc>
              <a:spcBef>
                <a:spcPts val="0"/>
              </a:spcBef>
              <a:spcAft>
                <a:spcPts val="0"/>
              </a:spcAft>
              <a:buFontTx/>
              <a:buNone/>
              <a:defRPr sz="1000">
                <a:solidFill>
                  <a:schemeClr val="tx1"/>
                </a:solidFill>
              </a:defRPr>
            </a:lvl5pPr>
            <a:lvl6pPr marL="0" indent="0">
              <a:lnSpc>
                <a:spcPct val="110000"/>
              </a:lnSpc>
              <a:spcBef>
                <a:spcPts val="0"/>
              </a:spcBef>
              <a:spcAft>
                <a:spcPts val="0"/>
              </a:spcAft>
              <a:buFontTx/>
              <a:buNone/>
              <a:defRPr sz="1000">
                <a:solidFill>
                  <a:schemeClr val="tx1"/>
                </a:solidFill>
              </a:defRPr>
            </a:lvl6pPr>
            <a:lvl7pPr marL="0" indent="0">
              <a:lnSpc>
                <a:spcPct val="110000"/>
              </a:lnSpc>
              <a:spcBef>
                <a:spcPts val="0"/>
              </a:spcBef>
              <a:spcAft>
                <a:spcPts val="0"/>
              </a:spcAft>
              <a:buFontTx/>
              <a:buNone/>
              <a:defRPr sz="1000">
                <a:solidFill>
                  <a:schemeClr val="tx1"/>
                </a:solidFill>
              </a:defRPr>
            </a:lvl7pPr>
            <a:lvl8pPr marL="0" indent="0">
              <a:lnSpc>
                <a:spcPct val="110000"/>
              </a:lnSpc>
              <a:spcBef>
                <a:spcPts val="0"/>
              </a:spcBef>
              <a:spcAft>
                <a:spcPts val="0"/>
              </a:spcAft>
              <a:buFontTx/>
              <a:buNone/>
              <a:defRPr sz="1000">
                <a:solidFill>
                  <a:schemeClr val="tx1"/>
                </a:solidFill>
              </a:defRPr>
            </a:lvl8pPr>
            <a:lvl9pPr marL="0" indent="0">
              <a:lnSpc>
                <a:spcPct val="110000"/>
              </a:lnSpc>
              <a:spcBef>
                <a:spcPts val="0"/>
              </a:spcBef>
              <a:spcAft>
                <a:spcPts val="0"/>
              </a:spcAft>
              <a:buFontTx/>
              <a:buNone/>
              <a:defRPr sz="1000">
                <a:solidFill>
                  <a:schemeClr val="tx1"/>
                </a:solidFill>
              </a:defRPr>
            </a:lvl9pPr>
          </a:lstStyle>
          <a:p>
            <a:pPr lvl="0"/>
            <a:r>
              <a:rPr lang="de-DE" dirty="0"/>
              <a:t>Vorname Nachname</a:t>
            </a:r>
          </a:p>
          <a:p>
            <a:pPr lvl="2"/>
            <a:r>
              <a:rPr lang="de-DE" dirty="0"/>
              <a:t>Funktion</a:t>
            </a:r>
          </a:p>
        </p:txBody>
      </p:sp>
      <p:sp>
        <p:nvSpPr>
          <p:cNvPr id="24" name="Bildplatzhalter 11"/>
          <p:cNvSpPr>
            <a:spLocks noGrp="1"/>
          </p:cNvSpPr>
          <p:nvPr>
            <p:ph type="pic" sz="quarter" idx="16" hasCustomPrompt="1"/>
          </p:nvPr>
        </p:nvSpPr>
        <p:spPr bwMode="gray">
          <a:xfrm>
            <a:off x="250825" y="1268413"/>
            <a:ext cx="720775" cy="936451"/>
          </a:xfrm>
          <a:solidFill>
            <a:srgbClr val="EDECEB"/>
          </a:solidFill>
        </p:spPr>
        <p:txBody>
          <a:bodyPr anchor="ctr"/>
          <a:lstStyle>
            <a:lvl1pPr algn="ctr">
              <a:defRPr sz="1100"/>
            </a:lvl1pPr>
          </a:lstStyle>
          <a:p>
            <a:r>
              <a:rPr lang="de-DE" dirty="0"/>
              <a:t>Bild</a:t>
            </a:r>
          </a:p>
        </p:txBody>
      </p:sp>
      <p:sp>
        <p:nvSpPr>
          <p:cNvPr id="35" name="Textplatzhalter 10"/>
          <p:cNvSpPr>
            <a:spLocks noGrp="1"/>
          </p:cNvSpPr>
          <p:nvPr>
            <p:ph type="body" sz="quarter" idx="20" hasCustomPrompt="1"/>
          </p:nvPr>
        </p:nvSpPr>
        <p:spPr bwMode="gray">
          <a:xfrm>
            <a:off x="1258514" y="2454090"/>
            <a:ext cx="3169317"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38" name="Bildplatzhalter 11"/>
          <p:cNvSpPr>
            <a:spLocks noGrp="1"/>
          </p:cNvSpPr>
          <p:nvPr>
            <p:ph type="pic" sz="quarter" idx="29" hasCustomPrompt="1"/>
          </p:nvPr>
        </p:nvSpPr>
        <p:spPr bwMode="gray">
          <a:xfrm>
            <a:off x="250825" y="2452949"/>
            <a:ext cx="720080" cy="937592"/>
          </a:xfrm>
          <a:solidFill>
            <a:srgbClr val="EDECEB"/>
          </a:solidFill>
        </p:spPr>
        <p:txBody>
          <a:bodyPr anchor="ctr"/>
          <a:lstStyle>
            <a:lvl1pPr algn="ctr">
              <a:defRPr sz="1100"/>
            </a:lvl1pPr>
          </a:lstStyle>
          <a:p>
            <a:r>
              <a:rPr lang="de-DE" dirty="0"/>
              <a:t>Bild</a:t>
            </a:r>
          </a:p>
        </p:txBody>
      </p:sp>
      <p:sp>
        <p:nvSpPr>
          <p:cNvPr id="40" name="Textplatzhalter 10"/>
          <p:cNvSpPr>
            <a:spLocks noGrp="1"/>
          </p:cNvSpPr>
          <p:nvPr>
            <p:ph type="body" sz="quarter" idx="30" hasCustomPrompt="1"/>
          </p:nvPr>
        </p:nvSpPr>
        <p:spPr bwMode="gray">
          <a:xfrm>
            <a:off x="1258935" y="3645024"/>
            <a:ext cx="3168603"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41" name="Bildplatzhalter 11"/>
          <p:cNvSpPr>
            <a:spLocks noGrp="1"/>
          </p:cNvSpPr>
          <p:nvPr>
            <p:ph type="pic" sz="quarter" idx="31" hasCustomPrompt="1"/>
          </p:nvPr>
        </p:nvSpPr>
        <p:spPr bwMode="gray">
          <a:xfrm>
            <a:off x="250825" y="3645024"/>
            <a:ext cx="720501" cy="936451"/>
          </a:xfrm>
          <a:solidFill>
            <a:srgbClr val="EDECEB"/>
          </a:solidFill>
        </p:spPr>
        <p:txBody>
          <a:bodyPr anchor="ctr"/>
          <a:lstStyle>
            <a:lvl1pPr algn="ctr">
              <a:defRPr sz="1100"/>
            </a:lvl1pPr>
          </a:lstStyle>
          <a:p>
            <a:r>
              <a:rPr lang="de-DE" dirty="0"/>
              <a:t>Bild</a:t>
            </a:r>
          </a:p>
        </p:txBody>
      </p:sp>
      <p:sp>
        <p:nvSpPr>
          <p:cNvPr id="18" name="Rechteck 17">
            <a:extLst>
              <a:ext uri="{FF2B5EF4-FFF2-40B4-BE49-F238E27FC236}">
                <a16:creationId xmlns:a16="http://schemas.microsoft.com/office/drawing/2014/main" id="{744D0F47-F328-4207-9A2A-AA484C39360D}"/>
              </a:ext>
            </a:extLst>
          </p:cNvPr>
          <p:cNvSpPr/>
          <p:nvPr userDrawn="1"/>
        </p:nvSpPr>
        <p:spPr bwMode="gray">
          <a:xfrm>
            <a:off x="250825" y="22048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cxnSp>
        <p:nvCxnSpPr>
          <p:cNvPr id="29"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1259209"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1258515" y="2454377"/>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1258663" y="3645311"/>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4" name="Rechteck 53">
            <a:extLst>
              <a:ext uri="{FF2B5EF4-FFF2-40B4-BE49-F238E27FC236}">
                <a16:creationId xmlns:a16="http://schemas.microsoft.com/office/drawing/2014/main" id="{744D0F47-F328-4207-9A2A-AA484C39360D}"/>
              </a:ext>
            </a:extLst>
          </p:cNvPr>
          <p:cNvSpPr/>
          <p:nvPr userDrawn="1"/>
        </p:nvSpPr>
        <p:spPr bwMode="gray">
          <a:xfrm>
            <a:off x="250825" y="3390541"/>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55" name="Rechteck 54">
            <a:extLst>
              <a:ext uri="{FF2B5EF4-FFF2-40B4-BE49-F238E27FC236}">
                <a16:creationId xmlns:a16="http://schemas.microsoft.com/office/drawing/2014/main" id="{744D0F47-F328-4207-9A2A-AA484C39360D}"/>
              </a:ext>
            </a:extLst>
          </p:cNvPr>
          <p:cNvSpPr/>
          <p:nvPr userDrawn="1"/>
        </p:nvSpPr>
        <p:spPr bwMode="gray">
          <a:xfrm>
            <a:off x="250825" y="4581475"/>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30" name="Textplatzhalter 10"/>
          <p:cNvSpPr>
            <a:spLocks noGrp="1"/>
          </p:cNvSpPr>
          <p:nvPr>
            <p:ph type="body" sz="quarter" idx="32" hasCustomPrompt="1"/>
          </p:nvPr>
        </p:nvSpPr>
        <p:spPr bwMode="gray">
          <a:xfrm>
            <a:off x="1258935" y="4829213"/>
            <a:ext cx="3168603"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31" name="Bildplatzhalter 11"/>
          <p:cNvSpPr>
            <a:spLocks noGrp="1"/>
          </p:cNvSpPr>
          <p:nvPr>
            <p:ph type="pic" sz="quarter" idx="33" hasCustomPrompt="1"/>
          </p:nvPr>
        </p:nvSpPr>
        <p:spPr bwMode="gray">
          <a:xfrm>
            <a:off x="250825" y="4829213"/>
            <a:ext cx="720501" cy="936451"/>
          </a:xfrm>
          <a:solidFill>
            <a:srgbClr val="EDECEB"/>
          </a:solidFill>
        </p:spPr>
        <p:txBody>
          <a:bodyPr anchor="ctr"/>
          <a:lstStyle>
            <a:lvl1pPr algn="ctr">
              <a:defRPr sz="1100"/>
            </a:lvl1pPr>
          </a:lstStyle>
          <a:p>
            <a:r>
              <a:rPr lang="de-DE" dirty="0"/>
              <a:t>Bild</a:t>
            </a:r>
          </a:p>
        </p:txBody>
      </p:sp>
      <p:cxnSp>
        <p:nvCxnSpPr>
          <p:cNvPr id="33"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1258663" y="48295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744D0F47-F328-4207-9A2A-AA484C39360D}"/>
              </a:ext>
            </a:extLst>
          </p:cNvPr>
          <p:cNvSpPr/>
          <p:nvPr userDrawn="1"/>
        </p:nvSpPr>
        <p:spPr bwMode="gray">
          <a:xfrm>
            <a:off x="250825" y="57656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39" name="Textplatzhalter 10"/>
          <p:cNvSpPr>
            <a:spLocks noGrp="1"/>
          </p:cNvSpPr>
          <p:nvPr>
            <p:ph type="body" sz="quarter" idx="34" hasCustomPrompt="1"/>
          </p:nvPr>
        </p:nvSpPr>
        <p:spPr bwMode="gray">
          <a:xfrm>
            <a:off x="5724847" y="1268413"/>
            <a:ext cx="3168141"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42" name="Bildplatzhalter 11"/>
          <p:cNvSpPr>
            <a:spLocks noGrp="1"/>
          </p:cNvSpPr>
          <p:nvPr>
            <p:ph type="pic" sz="quarter" idx="35" hasCustomPrompt="1"/>
          </p:nvPr>
        </p:nvSpPr>
        <p:spPr bwMode="gray">
          <a:xfrm>
            <a:off x="4716463" y="1268413"/>
            <a:ext cx="720775" cy="936451"/>
          </a:xfrm>
          <a:solidFill>
            <a:srgbClr val="EDECEB"/>
          </a:solidFill>
        </p:spPr>
        <p:txBody>
          <a:bodyPr anchor="ctr"/>
          <a:lstStyle>
            <a:lvl1pPr algn="ctr">
              <a:defRPr sz="1100"/>
            </a:lvl1pPr>
          </a:lstStyle>
          <a:p>
            <a:r>
              <a:rPr lang="de-DE" dirty="0"/>
              <a:t>Bild</a:t>
            </a:r>
          </a:p>
        </p:txBody>
      </p:sp>
      <p:sp>
        <p:nvSpPr>
          <p:cNvPr id="44" name="Textplatzhalter 10"/>
          <p:cNvSpPr>
            <a:spLocks noGrp="1"/>
          </p:cNvSpPr>
          <p:nvPr>
            <p:ph type="body" sz="quarter" idx="36" hasCustomPrompt="1"/>
          </p:nvPr>
        </p:nvSpPr>
        <p:spPr bwMode="gray">
          <a:xfrm>
            <a:off x="5724152" y="2454090"/>
            <a:ext cx="3169317"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46" name="Bildplatzhalter 11"/>
          <p:cNvSpPr>
            <a:spLocks noGrp="1"/>
          </p:cNvSpPr>
          <p:nvPr>
            <p:ph type="pic" sz="quarter" idx="37" hasCustomPrompt="1"/>
          </p:nvPr>
        </p:nvSpPr>
        <p:spPr bwMode="gray">
          <a:xfrm>
            <a:off x="4716463" y="2452949"/>
            <a:ext cx="720080" cy="937592"/>
          </a:xfrm>
          <a:solidFill>
            <a:srgbClr val="EDECEB"/>
          </a:solidFill>
        </p:spPr>
        <p:txBody>
          <a:bodyPr anchor="ctr"/>
          <a:lstStyle>
            <a:lvl1pPr algn="ctr">
              <a:defRPr sz="1100"/>
            </a:lvl1pPr>
          </a:lstStyle>
          <a:p>
            <a:r>
              <a:rPr lang="de-DE" dirty="0"/>
              <a:t>Bild</a:t>
            </a:r>
          </a:p>
        </p:txBody>
      </p:sp>
      <p:sp>
        <p:nvSpPr>
          <p:cNvPr id="48" name="Textplatzhalter 10"/>
          <p:cNvSpPr>
            <a:spLocks noGrp="1"/>
          </p:cNvSpPr>
          <p:nvPr>
            <p:ph type="body" sz="quarter" idx="38" hasCustomPrompt="1"/>
          </p:nvPr>
        </p:nvSpPr>
        <p:spPr bwMode="gray">
          <a:xfrm>
            <a:off x="5724573" y="3645024"/>
            <a:ext cx="3168603"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50" name="Bildplatzhalter 11"/>
          <p:cNvSpPr>
            <a:spLocks noGrp="1"/>
          </p:cNvSpPr>
          <p:nvPr>
            <p:ph type="pic" sz="quarter" idx="39" hasCustomPrompt="1"/>
          </p:nvPr>
        </p:nvSpPr>
        <p:spPr bwMode="gray">
          <a:xfrm>
            <a:off x="4716463" y="3645024"/>
            <a:ext cx="720501" cy="936451"/>
          </a:xfrm>
          <a:solidFill>
            <a:srgbClr val="EDECEB"/>
          </a:solidFill>
        </p:spPr>
        <p:txBody>
          <a:bodyPr anchor="ctr"/>
          <a:lstStyle>
            <a:lvl1pPr algn="ctr">
              <a:defRPr sz="1100"/>
            </a:lvl1pPr>
          </a:lstStyle>
          <a:p>
            <a:r>
              <a:rPr lang="de-DE" dirty="0"/>
              <a:t>Bild</a:t>
            </a:r>
          </a:p>
        </p:txBody>
      </p:sp>
      <p:sp>
        <p:nvSpPr>
          <p:cNvPr id="51" name="Rechteck 50">
            <a:extLst>
              <a:ext uri="{FF2B5EF4-FFF2-40B4-BE49-F238E27FC236}">
                <a16:creationId xmlns:a16="http://schemas.microsoft.com/office/drawing/2014/main" id="{744D0F47-F328-4207-9A2A-AA484C39360D}"/>
              </a:ext>
            </a:extLst>
          </p:cNvPr>
          <p:cNvSpPr/>
          <p:nvPr userDrawn="1"/>
        </p:nvSpPr>
        <p:spPr bwMode="gray">
          <a:xfrm>
            <a:off x="4716463" y="22048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cxnSp>
        <p:nvCxnSpPr>
          <p:cNvPr id="52"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5724847"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5724153" y="2454377"/>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5724301" y="3645311"/>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61" name="Rechteck 60">
            <a:extLst>
              <a:ext uri="{FF2B5EF4-FFF2-40B4-BE49-F238E27FC236}">
                <a16:creationId xmlns:a16="http://schemas.microsoft.com/office/drawing/2014/main" id="{744D0F47-F328-4207-9A2A-AA484C39360D}"/>
              </a:ext>
            </a:extLst>
          </p:cNvPr>
          <p:cNvSpPr/>
          <p:nvPr userDrawn="1"/>
        </p:nvSpPr>
        <p:spPr bwMode="gray">
          <a:xfrm>
            <a:off x="4716463" y="3390541"/>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62" name="Rechteck 61">
            <a:extLst>
              <a:ext uri="{FF2B5EF4-FFF2-40B4-BE49-F238E27FC236}">
                <a16:creationId xmlns:a16="http://schemas.microsoft.com/office/drawing/2014/main" id="{744D0F47-F328-4207-9A2A-AA484C39360D}"/>
              </a:ext>
            </a:extLst>
          </p:cNvPr>
          <p:cNvSpPr/>
          <p:nvPr userDrawn="1"/>
        </p:nvSpPr>
        <p:spPr bwMode="gray">
          <a:xfrm>
            <a:off x="4716463" y="4581475"/>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63" name="Textplatzhalter 10"/>
          <p:cNvSpPr>
            <a:spLocks noGrp="1"/>
          </p:cNvSpPr>
          <p:nvPr>
            <p:ph type="body" sz="quarter" idx="40" hasCustomPrompt="1"/>
          </p:nvPr>
        </p:nvSpPr>
        <p:spPr bwMode="gray">
          <a:xfrm>
            <a:off x="5724573" y="4829213"/>
            <a:ext cx="3168603"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64" name="Bildplatzhalter 11"/>
          <p:cNvSpPr>
            <a:spLocks noGrp="1"/>
          </p:cNvSpPr>
          <p:nvPr>
            <p:ph type="pic" sz="quarter" idx="41" hasCustomPrompt="1"/>
          </p:nvPr>
        </p:nvSpPr>
        <p:spPr bwMode="gray">
          <a:xfrm>
            <a:off x="4716463" y="4829213"/>
            <a:ext cx="720501" cy="936451"/>
          </a:xfrm>
          <a:solidFill>
            <a:srgbClr val="EDECEB"/>
          </a:solidFill>
        </p:spPr>
        <p:txBody>
          <a:bodyPr anchor="ctr"/>
          <a:lstStyle>
            <a:lvl1pPr algn="ctr">
              <a:defRPr sz="1100"/>
            </a:lvl1pPr>
          </a:lstStyle>
          <a:p>
            <a:r>
              <a:rPr lang="de-DE" dirty="0"/>
              <a:t>Bild</a:t>
            </a:r>
          </a:p>
        </p:txBody>
      </p:sp>
      <p:cxnSp>
        <p:nvCxnSpPr>
          <p:cNvPr id="65"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5724301" y="48295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744D0F47-F328-4207-9A2A-AA484C39360D}"/>
              </a:ext>
            </a:extLst>
          </p:cNvPr>
          <p:cNvSpPr/>
          <p:nvPr userDrawn="1"/>
        </p:nvSpPr>
        <p:spPr bwMode="gray">
          <a:xfrm>
            <a:off x="4716463" y="57656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5" name="Date Placeholder 4">
            <a:extLst>
              <a:ext uri="{FF2B5EF4-FFF2-40B4-BE49-F238E27FC236}">
                <a16:creationId xmlns:a16="http://schemas.microsoft.com/office/drawing/2014/main" id="{07166759-0EE0-48C2-BC0A-E1B2D81F1CC4}"/>
              </a:ext>
            </a:extLst>
          </p:cNvPr>
          <p:cNvSpPr>
            <a:spLocks noGrp="1"/>
          </p:cNvSpPr>
          <p:nvPr>
            <p:ph type="dt" sz="half" idx="42"/>
          </p:nvPr>
        </p:nvSpPr>
        <p:spPr/>
        <p:txBody>
          <a:bodyPr/>
          <a:lstStyle/>
          <a:p>
            <a:r>
              <a:rPr lang="en-US"/>
              <a:t> |  | </a:t>
            </a:r>
            <a:endParaRPr lang="de-DE" dirty="0"/>
          </a:p>
        </p:txBody>
      </p:sp>
      <p:sp>
        <p:nvSpPr>
          <p:cNvPr id="6" name="Footer Placeholder 5">
            <a:extLst>
              <a:ext uri="{FF2B5EF4-FFF2-40B4-BE49-F238E27FC236}">
                <a16:creationId xmlns:a16="http://schemas.microsoft.com/office/drawing/2014/main" id="{83F24573-EB7E-439A-8E2B-60C84A9F3CA6}"/>
              </a:ext>
            </a:extLst>
          </p:cNvPr>
          <p:cNvSpPr>
            <a:spLocks noGrp="1"/>
          </p:cNvSpPr>
          <p:nvPr>
            <p:ph type="ftr" sz="quarter" idx="43"/>
          </p:nvPr>
        </p:nvSpPr>
        <p:spPr/>
        <p:txBody>
          <a:bodyPr/>
          <a:lstStyle/>
          <a:p>
            <a:endParaRPr lang="de-DE" dirty="0"/>
          </a:p>
        </p:txBody>
      </p:sp>
      <p:sp>
        <p:nvSpPr>
          <p:cNvPr id="7" name="Slide Number Placeholder 6">
            <a:extLst>
              <a:ext uri="{FF2B5EF4-FFF2-40B4-BE49-F238E27FC236}">
                <a16:creationId xmlns:a16="http://schemas.microsoft.com/office/drawing/2014/main" id="{888F0FF9-6377-4BB3-BCE1-CE15913E3235}"/>
              </a:ext>
            </a:extLst>
          </p:cNvPr>
          <p:cNvSpPr>
            <a:spLocks noGrp="1"/>
          </p:cNvSpPr>
          <p:nvPr>
            <p:ph type="sldNum" sz="quarter" idx="44"/>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3119900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634" userDrawn="1">
          <p15:clr>
            <a:srgbClr val="FBAE40"/>
          </p15:clr>
        </p15:guide>
        <p15:guide id="2" pos="793" userDrawn="1">
          <p15:clr>
            <a:srgbClr val="FBAE40"/>
          </p15:clr>
        </p15:guide>
        <p15:guide id="3" orient="horz" pos="2296" userDrawn="1">
          <p15:clr>
            <a:srgbClr val="FBAE40"/>
          </p15:clr>
        </p15:guide>
        <p15:guide id="4" pos="3606" userDrawn="1">
          <p15:clr>
            <a:srgbClr val="FBAE40"/>
          </p15:clr>
        </p15:guide>
        <p15:guide id="5" pos="3424" userDrawn="1">
          <p15:clr>
            <a:srgbClr val="FBAE40"/>
          </p15:clr>
        </p15:guide>
        <p15:guide id="6" orient="horz" pos="1389" userDrawn="1">
          <p15:clr>
            <a:srgbClr val="FBAE40"/>
          </p15:clr>
        </p15:guide>
        <p15:guide id="7" orient="horz" pos="2137" userDrawn="1">
          <p15:clr>
            <a:srgbClr val="FBAE40"/>
          </p15:clr>
        </p15:guide>
        <p15:guide id="8" orient="horz" pos="1548" userDrawn="1">
          <p15:clr>
            <a:srgbClr val="FBAE40"/>
          </p15:clr>
        </p15:guide>
        <p15:guide id="9" orient="horz" pos="2886" userDrawn="1">
          <p15:clr>
            <a:srgbClr val="FBAE40"/>
          </p15:clr>
        </p15:guide>
        <p15:guide id="10" orient="horz" pos="3045" userDrawn="1">
          <p15:clr>
            <a:srgbClr val="FBAE40"/>
          </p15:clr>
        </p15:guide>
        <p15:guide id="11" pos="61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4946A-BBD8-485F-98B1-970880BD0043}"/>
              </a:ext>
            </a:extLst>
          </p:cNvPr>
          <p:cNvSpPr>
            <a:spLocks noGrp="1"/>
          </p:cNvSpPr>
          <p:nvPr>
            <p:ph type="title" hasCustomPrompt="1"/>
          </p:nvPr>
        </p:nvSpPr>
        <p:spPr/>
        <p:txBody>
          <a:bodyPr/>
          <a:lstStyle>
            <a:lvl1pPr>
              <a:defRPr/>
            </a:lvl1pPr>
          </a:lstStyle>
          <a:p>
            <a:r>
              <a:rPr lang="de-DE" dirty="0"/>
              <a:t>Inhaltsverzeichnis</a:t>
            </a:r>
          </a:p>
        </p:txBody>
      </p:sp>
      <p:cxnSp>
        <p:nvCxnSpPr>
          <p:cNvPr id="10" name="Straight Connector 9">
            <a:extLst>
              <a:ext uri="{FF2B5EF4-FFF2-40B4-BE49-F238E27FC236}">
                <a16:creationId xmlns:a16="http://schemas.microsoft.com/office/drawing/2014/main" id="{07052F3E-D009-45DB-A45A-E782F00C1775}"/>
              </a:ext>
            </a:extLst>
          </p:cNvPr>
          <p:cNvCxnSpPr/>
          <p:nvPr userDrawn="1">
            <p:custDataLst>
              <p:tags r:id="rId1"/>
            </p:custDataLst>
          </p:nvPr>
        </p:nvCxnSpPr>
        <p:spPr>
          <a:xfrm>
            <a:off x="251971" y="1269325"/>
            <a:ext cx="8641204" cy="0"/>
          </a:xfrm>
          <a:prstGeom prst="line">
            <a:avLst/>
          </a:prstGeom>
          <a:ln w="6350">
            <a:solidFill>
              <a:srgbClr val="DAD9D8"/>
            </a:solidFill>
          </a:ln>
        </p:spPr>
        <p:style>
          <a:lnRef idx="1">
            <a:schemeClr val="accent6"/>
          </a:lnRef>
          <a:fillRef idx="0">
            <a:schemeClr val="accent6"/>
          </a:fillRef>
          <a:effectRef idx="0">
            <a:schemeClr val="accent6"/>
          </a:effectRef>
          <a:fontRef idx="minor">
            <a:schemeClr val="tx1"/>
          </a:fontRef>
        </p:style>
      </p:cxnSp>
      <p:sp>
        <p:nvSpPr>
          <p:cNvPr id="3" name="Date Placeholder 2">
            <a:extLst>
              <a:ext uri="{FF2B5EF4-FFF2-40B4-BE49-F238E27FC236}">
                <a16:creationId xmlns:a16="http://schemas.microsoft.com/office/drawing/2014/main" id="{271A9671-6E1C-41B3-92D2-D59906FEF69A}"/>
              </a:ext>
            </a:extLst>
          </p:cNvPr>
          <p:cNvSpPr>
            <a:spLocks noGrp="1"/>
          </p:cNvSpPr>
          <p:nvPr>
            <p:ph type="dt" sz="half" idx="10"/>
          </p:nvPr>
        </p:nvSpPr>
        <p:spPr/>
        <p:txBody>
          <a:bodyPr/>
          <a:lstStyle/>
          <a:p>
            <a:r>
              <a:rPr lang="en-US"/>
              <a:t> |  | </a:t>
            </a:r>
            <a:endParaRPr lang="de-DE" dirty="0"/>
          </a:p>
        </p:txBody>
      </p:sp>
      <p:sp>
        <p:nvSpPr>
          <p:cNvPr id="4" name="Footer Placeholder 3">
            <a:extLst>
              <a:ext uri="{FF2B5EF4-FFF2-40B4-BE49-F238E27FC236}">
                <a16:creationId xmlns:a16="http://schemas.microsoft.com/office/drawing/2014/main" id="{435BD21B-6C41-4776-A33B-A932CAEB86C2}"/>
              </a:ext>
            </a:extLst>
          </p:cNvPr>
          <p:cNvSpPr>
            <a:spLocks noGrp="1"/>
          </p:cNvSpPr>
          <p:nvPr>
            <p:ph type="ftr" sz="quarter" idx="11"/>
          </p:nvPr>
        </p:nvSpPr>
        <p:spPr/>
        <p:txBody>
          <a:bodyPr/>
          <a:lstStyle/>
          <a:p>
            <a:endParaRPr lang="de-DE" dirty="0"/>
          </a:p>
        </p:txBody>
      </p:sp>
      <p:sp>
        <p:nvSpPr>
          <p:cNvPr id="5" name="Slide Number Placeholder 4">
            <a:extLst>
              <a:ext uri="{FF2B5EF4-FFF2-40B4-BE49-F238E27FC236}">
                <a16:creationId xmlns:a16="http://schemas.microsoft.com/office/drawing/2014/main" id="{9AE494E6-DFAB-401D-9DB3-1AF896ECE75D}"/>
              </a:ext>
            </a:extLst>
          </p:cNvPr>
          <p:cNvSpPr>
            <a:spLocks noGrp="1"/>
          </p:cNvSpPr>
          <p:nvPr>
            <p:ph type="sldNum" sz="quarter" idx="12"/>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42355575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apiteltrenner">
    <p:spTree>
      <p:nvGrpSpPr>
        <p:cNvPr id="1" name=""/>
        <p:cNvGrpSpPr/>
        <p:nvPr/>
      </p:nvGrpSpPr>
      <p:grpSpPr>
        <a:xfrm>
          <a:off x="0" y="0"/>
          <a:ext cx="0" cy="0"/>
          <a:chOff x="0" y="0"/>
          <a:chExt cx="0" cy="0"/>
        </a:xfrm>
      </p:grpSpPr>
      <p:sp>
        <p:nvSpPr>
          <p:cNvPr id="7" name="Textplatzhalter 13"/>
          <p:cNvSpPr>
            <a:spLocks noGrp="1"/>
          </p:cNvSpPr>
          <p:nvPr>
            <p:ph type="body" sz="quarter" idx="13" hasCustomPrompt="1"/>
          </p:nvPr>
        </p:nvSpPr>
        <p:spPr bwMode="gray">
          <a:xfrm>
            <a:off x="1692872" y="4149724"/>
            <a:ext cx="4247553" cy="2158999"/>
          </a:xfrm>
          <a:noFill/>
          <a:ln>
            <a:noFill/>
          </a:ln>
          <a:effectLst/>
        </p:spPr>
        <p:txBody>
          <a:bodyPr vert="horz" lIns="0" tIns="0" rIns="0" bIns="0" rtlCol="0" anchor="t" anchorCtr="0">
            <a:noAutofit/>
          </a:bodyPr>
          <a:lstStyle>
            <a:lvl1pPr>
              <a:defRPr lang="de-DE" sz="1400" b="0" baseline="0" dirty="0" smtClean="0">
                <a:solidFill>
                  <a:schemeClr val="tx1"/>
                </a:solidFill>
                <a:latin typeface="+mj-lt"/>
                <a:ea typeface="+mj-ea"/>
                <a:cs typeface="+mj-cs"/>
              </a:defRPr>
            </a:lvl1pPr>
          </a:lstStyle>
          <a:p>
            <a:pPr lvl="0">
              <a:spcBef>
                <a:spcPct val="0"/>
              </a:spcBef>
            </a:pPr>
            <a:r>
              <a:rPr lang="de-DE" dirty="0"/>
              <a:t>Beschreibender Text</a:t>
            </a:r>
          </a:p>
        </p:txBody>
      </p:sp>
      <p:sp>
        <p:nvSpPr>
          <p:cNvPr id="8" name="Rechteck 7"/>
          <p:cNvSpPr/>
          <p:nvPr userDrawn="1"/>
        </p:nvSpPr>
        <p:spPr bwMode="gray">
          <a:xfrm>
            <a:off x="7380312" y="6750000"/>
            <a:ext cx="1512000" cy="108000"/>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cxnSp>
        <p:nvCxnSpPr>
          <p:cNvPr id="9" name="Gerader Verbinder 32">
            <a:extLst>
              <a:ext uri="{FF2B5EF4-FFF2-40B4-BE49-F238E27FC236}">
                <a16:creationId xmlns:a16="http://schemas.microsoft.com/office/drawing/2014/main" id="{C0FB00F0-3C96-47BE-BCDC-C0C4238DDD69}"/>
              </a:ext>
            </a:extLst>
          </p:cNvPr>
          <p:cNvCxnSpPr>
            <a:cxnSpLocks/>
          </p:cNvCxnSpPr>
          <p:nvPr userDrawn="1"/>
        </p:nvCxnSpPr>
        <p:spPr bwMode="gray">
          <a:xfrm>
            <a:off x="467717" y="3933046"/>
            <a:ext cx="172819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Gerader Verbinder 34">
            <a:extLst>
              <a:ext uri="{FF2B5EF4-FFF2-40B4-BE49-F238E27FC236}">
                <a16:creationId xmlns:a16="http://schemas.microsoft.com/office/drawing/2014/main" id="{51EBBE15-EB17-403D-B368-50AEAFE4F56C}"/>
              </a:ext>
            </a:extLst>
          </p:cNvPr>
          <p:cNvCxnSpPr/>
          <p:nvPr userDrawn="1"/>
        </p:nvCxnSpPr>
        <p:spPr bwMode="gray">
          <a:xfrm>
            <a:off x="1691853" y="4005064"/>
            <a:ext cx="50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1A6EB151-3183-4120-87BE-09D416D7F091}"/>
              </a:ext>
            </a:extLst>
          </p:cNvPr>
          <p:cNvPicPr>
            <a:picLocks noChangeAspect="1"/>
          </p:cNvPicPr>
          <p:nvPr userDrawn="1"/>
        </p:nvPicPr>
        <p:blipFill>
          <a:blip r:embed="rId2"/>
          <a:stretch>
            <a:fillRect/>
          </a:stretch>
        </p:blipFill>
        <p:spPr>
          <a:xfrm>
            <a:off x="6146694" y="1098"/>
            <a:ext cx="3008034" cy="5359024"/>
          </a:xfrm>
          <a:prstGeom prst="rect">
            <a:avLst/>
          </a:prstGeom>
        </p:spPr>
      </p:pic>
      <p:sp>
        <p:nvSpPr>
          <p:cNvPr id="2" name="Date Placeholder 1">
            <a:extLst>
              <a:ext uri="{FF2B5EF4-FFF2-40B4-BE49-F238E27FC236}">
                <a16:creationId xmlns:a16="http://schemas.microsoft.com/office/drawing/2014/main" id="{A9DA686C-9301-42A9-8120-92CC637F78B9}"/>
              </a:ext>
            </a:extLst>
          </p:cNvPr>
          <p:cNvSpPr>
            <a:spLocks noGrp="1"/>
          </p:cNvSpPr>
          <p:nvPr>
            <p:ph type="dt" sz="half" idx="14"/>
          </p:nvPr>
        </p:nvSpPr>
        <p:spPr>
          <a:xfrm>
            <a:off x="0" y="0"/>
            <a:ext cx="0" cy="0"/>
          </a:xfrm>
        </p:spPr>
        <p:txBody>
          <a:bodyPr tIns="0"/>
          <a:lstStyle>
            <a:lvl1pPr>
              <a:defRPr sz="100">
                <a:noFill/>
              </a:defRPr>
            </a:lvl1pPr>
          </a:lstStyle>
          <a:p>
            <a:r>
              <a:rPr lang="de-DE"/>
              <a:t>     </a:t>
            </a:r>
            <a:endParaRPr lang="de-DE" dirty="0"/>
          </a:p>
        </p:txBody>
      </p:sp>
      <p:sp>
        <p:nvSpPr>
          <p:cNvPr id="3" name="Footer Placeholder 2">
            <a:extLst>
              <a:ext uri="{FF2B5EF4-FFF2-40B4-BE49-F238E27FC236}">
                <a16:creationId xmlns:a16="http://schemas.microsoft.com/office/drawing/2014/main" id="{E9AFDBA7-683E-4943-9AEB-DE12FFFE1400}"/>
              </a:ext>
            </a:extLst>
          </p:cNvPr>
          <p:cNvSpPr>
            <a:spLocks noGrp="1"/>
          </p:cNvSpPr>
          <p:nvPr>
            <p:ph type="ftr" sz="quarter" idx="15"/>
          </p:nvPr>
        </p:nvSpPr>
        <p:spPr/>
        <p:txBody>
          <a:bodyPr/>
          <a:lstStyle/>
          <a:p>
            <a:endParaRPr lang="de-DE" dirty="0"/>
          </a:p>
        </p:txBody>
      </p:sp>
      <p:sp>
        <p:nvSpPr>
          <p:cNvPr id="5" name="Slide Number Placeholder 4">
            <a:extLst>
              <a:ext uri="{FF2B5EF4-FFF2-40B4-BE49-F238E27FC236}">
                <a16:creationId xmlns:a16="http://schemas.microsoft.com/office/drawing/2014/main" id="{E61E411E-F5DF-468B-8678-5473A34B4F91}"/>
              </a:ext>
            </a:extLst>
          </p:cNvPr>
          <p:cNvSpPr>
            <a:spLocks noGrp="1"/>
          </p:cNvSpPr>
          <p:nvPr>
            <p:ph type="sldNum" sz="quarter" idx="16"/>
          </p:nvPr>
        </p:nvSpPr>
        <p:spPr>
          <a:xfrm>
            <a:off x="0" y="0"/>
            <a:ext cx="0" cy="0"/>
          </a:xfrm>
        </p:spPr>
        <p:txBody>
          <a:bodyPr bIns="0"/>
          <a:lstStyle>
            <a:lvl1pPr>
              <a:defRPr sz="100">
                <a:noFill/>
              </a:defRPr>
            </a:lvl1pPr>
          </a:lstStyle>
          <a:p>
            <a:pPr fontAlgn="base">
              <a:spcBef>
                <a:spcPct val="0"/>
              </a:spcBef>
              <a:spcAft>
                <a:spcPct val="0"/>
              </a:spcAft>
            </a:pPr>
            <a:r>
              <a:rPr lang="en-US"/>
              <a:t>  </a:t>
            </a:r>
            <a:endParaRPr lang="de-DE" dirty="0"/>
          </a:p>
        </p:txBody>
      </p:sp>
      <p:sp>
        <p:nvSpPr>
          <p:cNvPr id="6" name="Title 5">
            <a:extLst>
              <a:ext uri="{FF2B5EF4-FFF2-40B4-BE49-F238E27FC236}">
                <a16:creationId xmlns:a16="http://schemas.microsoft.com/office/drawing/2014/main" id="{97732CC9-D0C3-48DF-A361-39A3006936F9}"/>
              </a:ext>
            </a:extLst>
          </p:cNvPr>
          <p:cNvSpPr>
            <a:spLocks noGrp="1"/>
          </p:cNvSpPr>
          <p:nvPr>
            <p:ph type="title" hasCustomPrompt="1"/>
          </p:nvPr>
        </p:nvSpPr>
        <p:spPr>
          <a:xfrm>
            <a:off x="0" y="0"/>
            <a:ext cx="0" cy="0"/>
          </a:xfrm>
        </p:spPr>
        <p:txBody>
          <a:bodyPr bIns="0"/>
          <a:lstStyle>
            <a:lvl1pPr>
              <a:defRPr sz="100" b="0">
                <a:noFill/>
              </a:defRPr>
            </a:lvl1pPr>
          </a:lstStyle>
          <a:p>
            <a:r>
              <a:rPr lang="en-US" dirty="0"/>
              <a:t>          </a:t>
            </a:r>
            <a:endParaRPr lang="de-DE" dirty="0"/>
          </a:p>
        </p:txBody>
      </p:sp>
    </p:spTree>
    <p:extLst>
      <p:ext uri="{BB962C8B-B14F-4D97-AF65-F5344CB8AC3E}">
        <p14:creationId xmlns:p14="http://schemas.microsoft.com/office/powerpoint/2010/main" val="34286029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piteltrenner II">
    <p:spTree>
      <p:nvGrpSpPr>
        <p:cNvPr id="1" name=""/>
        <p:cNvGrpSpPr/>
        <p:nvPr/>
      </p:nvGrpSpPr>
      <p:grpSpPr>
        <a:xfrm>
          <a:off x="0" y="0"/>
          <a:ext cx="0" cy="0"/>
          <a:chOff x="0" y="0"/>
          <a:chExt cx="0" cy="0"/>
        </a:xfrm>
      </p:grpSpPr>
      <p:sp>
        <p:nvSpPr>
          <p:cNvPr id="3" name="Bildplatzhalter 2"/>
          <p:cNvSpPr>
            <a:spLocks noGrp="1"/>
          </p:cNvSpPr>
          <p:nvPr>
            <p:ph type="pic" sz="quarter" idx="15" hasCustomPrompt="1"/>
          </p:nvPr>
        </p:nvSpPr>
        <p:spPr>
          <a:xfrm>
            <a:off x="0" y="0"/>
            <a:ext cx="9144000" cy="6858000"/>
          </a:xfrm>
          <a:noFill/>
        </p:spPr>
        <p:txBody>
          <a:bodyPr tIns="3024000"/>
          <a:lstStyle>
            <a:lvl1pPr marL="0" indent="0" algn="ctr">
              <a:spcBef>
                <a:spcPts val="0"/>
              </a:spcBef>
              <a:spcAft>
                <a:spcPts val="0"/>
              </a:spcAft>
              <a:buFont typeface="Arial" panose="020B0604020202020204" pitchFamily="34" charset="0"/>
              <a:buNone/>
              <a:defRPr sz="1000" b="0">
                <a:solidFill>
                  <a:schemeClr val="tx1"/>
                </a:solidFill>
              </a:defRPr>
            </a:lvl1pPr>
            <a:lvl2pPr marL="0" indent="0" algn="ctr">
              <a:spcBef>
                <a:spcPts val="0"/>
              </a:spcBef>
              <a:spcAft>
                <a:spcPts val="0"/>
              </a:spcAft>
              <a:buNone/>
              <a:defRPr sz="1000" b="0">
                <a:solidFill>
                  <a:schemeClr val="tx1"/>
                </a:solidFill>
              </a:defRPr>
            </a:lvl2pPr>
            <a:lvl3pPr marL="0" indent="0" algn="ctr">
              <a:spcBef>
                <a:spcPts val="0"/>
              </a:spcBef>
              <a:spcAft>
                <a:spcPts val="0"/>
              </a:spcAft>
              <a:buNone/>
              <a:defRPr sz="1000" b="0">
                <a:solidFill>
                  <a:schemeClr val="tx1"/>
                </a:solidFill>
              </a:defRPr>
            </a:lvl3pPr>
            <a:lvl4pPr marL="0" indent="0" algn="ctr">
              <a:spcBef>
                <a:spcPts val="0"/>
              </a:spcBef>
              <a:spcAft>
                <a:spcPts val="0"/>
              </a:spcAft>
              <a:buNone/>
              <a:defRPr sz="1000" b="0">
                <a:solidFill>
                  <a:schemeClr val="tx1"/>
                </a:solidFill>
              </a:defRPr>
            </a:lvl4pPr>
            <a:lvl5pPr marL="0" indent="0" algn="ctr">
              <a:spcBef>
                <a:spcPts val="0"/>
              </a:spcBef>
              <a:spcAft>
                <a:spcPts val="0"/>
              </a:spcAft>
              <a:buNone/>
              <a:defRPr sz="1000" b="0">
                <a:solidFill>
                  <a:schemeClr val="tx1"/>
                </a:solidFill>
              </a:defRPr>
            </a:lvl5pPr>
            <a:lvl6pPr marL="0" indent="0" algn="ctr">
              <a:spcBef>
                <a:spcPts val="0"/>
              </a:spcBef>
              <a:spcAft>
                <a:spcPts val="0"/>
              </a:spcAft>
              <a:buNone/>
              <a:defRPr sz="1000" b="0">
                <a:solidFill>
                  <a:schemeClr val="tx1"/>
                </a:solidFill>
              </a:defRPr>
            </a:lvl6pPr>
            <a:lvl7pPr marL="0" indent="0" algn="ctr">
              <a:spcBef>
                <a:spcPts val="0"/>
              </a:spcBef>
              <a:spcAft>
                <a:spcPts val="0"/>
              </a:spcAft>
              <a:buNone/>
              <a:defRPr sz="1000" b="0">
                <a:solidFill>
                  <a:schemeClr val="tx1"/>
                </a:solidFill>
              </a:defRPr>
            </a:lvl7pPr>
            <a:lvl8pPr marL="0" indent="0" algn="ctr">
              <a:spcBef>
                <a:spcPts val="0"/>
              </a:spcBef>
              <a:spcAft>
                <a:spcPts val="0"/>
              </a:spcAft>
              <a:buNone/>
              <a:defRPr sz="1000" b="0">
                <a:solidFill>
                  <a:schemeClr val="tx1"/>
                </a:solidFill>
              </a:defRPr>
            </a:lvl8pPr>
            <a:lvl9pPr marL="0" indent="0" algn="ctr">
              <a:spcBef>
                <a:spcPts val="0"/>
              </a:spcBef>
              <a:spcAft>
                <a:spcPts val="0"/>
              </a:spcAft>
              <a:buNone/>
              <a:defRPr sz="1000" b="0">
                <a:solidFill>
                  <a:schemeClr val="tx1"/>
                </a:solidFill>
              </a:defRPr>
            </a:lvl9pPr>
          </a:lstStyle>
          <a:p>
            <a:r>
              <a:rPr lang="de-DE" dirty="0"/>
              <a:t>  </a:t>
            </a:r>
          </a:p>
          <a:p>
            <a:endParaRPr lang="de-DE" dirty="0"/>
          </a:p>
        </p:txBody>
      </p:sp>
      <p:sp>
        <p:nvSpPr>
          <p:cNvPr id="14" name="Titel 1"/>
          <p:cNvSpPr>
            <a:spLocks noGrp="1"/>
          </p:cNvSpPr>
          <p:nvPr>
            <p:ph type="title" hasCustomPrompt="1"/>
          </p:nvPr>
        </p:nvSpPr>
        <p:spPr bwMode="gray">
          <a:xfrm>
            <a:off x="0" y="2969034"/>
            <a:ext cx="4499992" cy="1279575"/>
          </a:xfrm>
          <a:solidFill>
            <a:schemeClr val="bg1">
              <a:alpha val="80000"/>
            </a:schemeClr>
          </a:solidFill>
          <a:ln>
            <a:noFill/>
          </a:ln>
          <a:effectLst/>
        </p:spPr>
        <p:txBody>
          <a:bodyPr wrap="square" lIns="432000" tIns="360000" rIns="72000" bIns="450000" anchor="b" anchorCtr="0">
            <a:spAutoFit/>
          </a:bodyPr>
          <a:lstStyle>
            <a:lvl1pPr>
              <a:defRPr sz="3000" b="0" cap="none" baseline="0">
                <a:solidFill>
                  <a:schemeClr val="tx1"/>
                </a:solidFill>
              </a:defRPr>
            </a:lvl1pPr>
          </a:lstStyle>
          <a:p>
            <a:r>
              <a:rPr lang="de-DE" dirty="0"/>
              <a:t>Kapitelname</a:t>
            </a:r>
          </a:p>
        </p:txBody>
      </p:sp>
      <p:sp>
        <p:nvSpPr>
          <p:cNvPr id="8" name="Textplatzhalter 4"/>
          <p:cNvSpPr>
            <a:spLocks noGrp="1"/>
          </p:cNvSpPr>
          <p:nvPr>
            <p:ph type="body" sz="quarter" idx="18" hasCustomPrompt="1"/>
          </p:nvPr>
        </p:nvSpPr>
        <p:spPr>
          <a:xfrm>
            <a:off x="467544" y="3990672"/>
            <a:ext cx="504000" cy="86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00"/>
            </a:lvl1pPr>
          </a:lstStyle>
          <a:p>
            <a:pPr lvl="0"/>
            <a:r>
              <a:rPr lang="de-DE" dirty="0"/>
              <a:t> </a:t>
            </a:r>
          </a:p>
        </p:txBody>
      </p:sp>
      <p:sp>
        <p:nvSpPr>
          <p:cNvPr id="5" name="Textplatzhalter 4"/>
          <p:cNvSpPr>
            <a:spLocks noGrp="1"/>
          </p:cNvSpPr>
          <p:nvPr>
            <p:ph type="body" sz="quarter" idx="19" hasCustomPrompt="1"/>
          </p:nvPr>
        </p:nvSpPr>
        <p:spPr>
          <a:xfrm>
            <a:off x="1" y="4249083"/>
            <a:ext cx="4499992" cy="692085"/>
          </a:xfrm>
          <a:solidFill>
            <a:schemeClr val="bg1">
              <a:alpha val="80000"/>
            </a:schemeClr>
          </a:solidFill>
        </p:spPr>
        <p:txBody>
          <a:bodyPr wrap="square" lIns="468000" tIns="108000" rIns="72000" bIns="108000">
            <a:spAutoFit/>
          </a:bodyPr>
          <a:lstStyle>
            <a:lvl1pPr>
              <a:spcBef>
                <a:spcPts val="0"/>
              </a:spcBef>
              <a:defRPr/>
            </a:lvl1pPr>
            <a:lvl3pPr marL="176213" indent="-176213">
              <a:buClr>
                <a:schemeClr val="tx2"/>
              </a:buClr>
              <a:buFont typeface="Arial" panose="020B0604020202020204" pitchFamily="34" charset="0"/>
              <a:buChar char="•"/>
              <a:defRPr/>
            </a:lvl3pPr>
            <a:lvl4pPr marL="176213" indent="-176213">
              <a:buClr>
                <a:schemeClr val="tx2"/>
              </a:buClr>
              <a:buFont typeface="Arial" panose="020B0604020202020204" pitchFamily="34" charset="0"/>
              <a:buChar char="•"/>
              <a:defRPr/>
            </a:lvl4pPr>
            <a:lvl5pPr marL="176213" indent="-176213">
              <a:buClr>
                <a:schemeClr val="tx2"/>
              </a:buClr>
              <a:buFont typeface="Arial" panose="020B0604020202020204" pitchFamily="34" charset="0"/>
              <a:buChar char="•"/>
              <a:defRPr/>
            </a:lvl5pPr>
            <a:lvl6pPr marL="176213" indent="-176213">
              <a:buClr>
                <a:schemeClr val="tx2"/>
              </a:buClr>
              <a:buFont typeface="Arial" panose="020B0604020202020204" pitchFamily="34" charset="0"/>
              <a:buChar char="•"/>
              <a:defRPr/>
            </a:lvl6pPr>
            <a:lvl7pPr marL="176213" indent="-176213">
              <a:buClr>
                <a:schemeClr val="tx2"/>
              </a:buClr>
              <a:buFont typeface="Arial" panose="020B0604020202020204" pitchFamily="34" charset="0"/>
              <a:buChar char="•"/>
              <a:defRPr/>
            </a:lvl7pPr>
            <a:lvl8pPr marL="176213" indent="-176213">
              <a:buClr>
                <a:schemeClr val="tx2"/>
              </a:buClr>
              <a:buFont typeface="Arial" panose="020B0604020202020204" pitchFamily="34" charset="0"/>
              <a:buChar char="•"/>
              <a:defRPr/>
            </a:lvl8pPr>
            <a:lvl9pPr marL="176213" indent="-176213">
              <a:buClr>
                <a:schemeClr val="tx2"/>
              </a:buClr>
              <a:buFont typeface="Arial" panose="020B0604020202020204" pitchFamily="34" charset="0"/>
              <a:buChar char="•"/>
              <a:defRPr/>
            </a:lvl9pPr>
          </a:lstStyle>
          <a:p>
            <a:pPr lvl="0"/>
            <a:r>
              <a:rPr lang="de-DE" noProof="0" dirty="0"/>
              <a:t>Einleitender Text oder Unterkapitel</a:t>
            </a:r>
            <a:br>
              <a:rPr lang="de-DE" noProof="0" dirty="0"/>
            </a:br>
            <a:r>
              <a:rPr lang="de-DE" noProof="0" dirty="0"/>
              <a:t>(Bei Nichtverwendung bitte löschen)</a:t>
            </a:r>
          </a:p>
        </p:txBody>
      </p:sp>
      <p:sp>
        <p:nvSpPr>
          <p:cNvPr id="6" name="Textplatzhalter 3">
            <a:extLst>
              <a:ext uri="{FF2B5EF4-FFF2-40B4-BE49-F238E27FC236}">
                <a16:creationId xmlns:a16="http://schemas.microsoft.com/office/drawing/2014/main" id="{7805F98F-C5A8-4FC2-8CC1-D1D8389AAAB4}"/>
              </a:ext>
            </a:extLst>
          </p:cNvPr>
          <p:cNvSpPr>
            <a:spLocks noGrp="1"/>
          </p:cNvSpPr>
          <p:nvPr>
            <p:ph type="body" sz="quarter" idx="17" hasCustomPrompt="1"/>
          </p:nvPr>
        </p:nvSpPr>
        <p:spPr>
          <a:xfrm>
            <a:off x="7380312" y="6750000"/>
            <a:ext cx="1512000" cy="108000"/>
          </a:xfrm>
          <a:solidFill>
            <a:schemeClr val="tx2"/>
          </a:solidFill>
          <a:ln w="3175">
            <a:solidFill>
              <a:schemeClr val="tx2"/>
            </a:solidFill>
          </a:ln>
        </p:spPr>
        <p:txBody>
          <a:bodyPr/>
          <a:lstStyle>
            <a:lvl1pPr marL="0" indent="0">
              <a:lnSpc>
                <a:spcPct val="100000"/>
              </a:lnSpc>
              <a:spcBef>
                <a:spcPts val="0"/>
              </a:spcBef>
              <a:buFont typeface="Arial" panose="020B0604020202020204" pitchFamily="34" charset="0"/>
              <a:buNone/>
              <a:defRPr/>
            </a:lvl1pPr>
            <a:lvl2pPr marL="0" indent="0">
              <a:lnSpc>
                <a:spcPct val="100000"/>
              </a:lnSpc>
              <a:spcBef>
                <a:spcPts val="0"/>
              </a:spcBef>
              <a:buNone/>
              <a:defRPr/>
            </a:lvl2pPr>
            <a:lvl3pPr marL="0" indent="0">
              <a:lnSpc>
                <a:spcPct val="100000"/>
              </a:lnSpc>
              <a:spcBef>
                <a:spcPts val="0"/>
              </a:spcBef>
              <a:buNone/>
              <a:defRPr/>
            </a:lvl3pPr>
            <a:lvl4pPr marL="0" indent="0">
              <a:lnSpc>
                <a:spcPct val="100000"/>
              </a:lnSpc>
              <a:spcBef>
                <a:spcPts val="0"/>
              </a:spcBef>
              <a:buNone/>
              <a:defRPr/>
            </a:lvl4pPr>
            <a:lvl5pPr marL="0" indent="0">
              <a:lnSpc>
                <a:spcPct val="100000"/>
              </a:lnSpc>
              <a:spcBef>
                <a:spcPts val="0"/>
              </a:spcBef>
              <a:buNone/>
              <a:defRPr/>
            </a:lvl5pPr>
            <a:lvl6pPr marL="0" indent="0">
              <a:lnSpc>
                <a:spcPct val="100000"/>
              </a:lnSpc>
              <a:spcBef>
                <a:spcPts val="0"/>
              </a:spcBef>
              <a:buNone/>
              <a:defRPr/>
            </a:lvl6pPr>
            <a:lvl7pPr marL="0" indent="0">
              <a:lnSpc>
                <a:spcPct val="100000"/>
              </a:lnSpc>
              <a:spcBef>
                <a:spcPts val="0"/>
              </a:spcBef>
              <a:buNone/>
              <a:defRPr/>
            </a:lvl7pPr>
            <a:lvl8pPr marL="0" indent="0">
              <a:lnSpc>
                <a:spcPct val="100000"/>
              </a:lnSpc>
              <a:spcBef>
                <a:spcPts val="0"/>
              </a:spcBef>
              <a:buNone/>
              <a:defRPr/>
            </a:lvl8pPr>
            <a:lvl9pPr marL="0" indent="0">
              <a:lnSpc>
                <a:spcPct val="100000"/>
              </a:lnSpc>
              <a:spcBef>
                <a:spcPts val="0"/>
              </a:spcBef>
              <a:buNone/>
              <a:defRPr/>
            </a:lvl9pPr>
          </a:lstStyle>
          <a:p>
            <a:pPr lvl="0"/>
            <a:r>
              <a:rPr lang="de-DE" dirty="0"/>
              <a:t> </a:t>
            </a:r>
          </a:p>
        </p:txBody>
      </p:sp>
      <p:sp>
        <p:nvSpPr>
          <p:cNvPr id="7" name="Rectangle 6">
            <a:extLst>
              <a:ext uri="{FF2B5EF4-FFF2-40B4-BE49-F238E27FC236}">
                <a16:creationId xmlns:a16="http://schemas.microsoft.com/office/drawing/2014/main" id="{3D73DFFE-1922-4BBB-A5CA-7378FED28837}"/>
              </a:ext>
            </a:extLst>
          </p:cNvPr>
          <p:cNvSpPr/>
          <p:nvPr userDrawn="1"/>
        </p:nvSpPr>
        <p:spPr>
          <a:xfrm>
            <a:off x="-1944724" y="1988840"/>
            <a:ext cx="1476164" cy="1152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100" dirty="0"/>
              <a:t>Dies ist ein manueller Kapitelteiler. Dieser kann nicht mit der Automatisierung verwendet werden.</a:t>
            </a:r>
          </a:p>
        </p:txBody>
      </p:sp>
      <p:sp>
        <p:nvSpPr>
          <p:cNvPr id="2" name="Date Placeholder 1">
            <a:extLst>
              <a:ext uri="{FF2B5EF4-FFF2-40B4-BE49-F238E27FC236}">
                <a16:creationId xmlns:a16="http://schemas.microsoft.com/office/drawing/2014/main" id="{8910D79E-FB01-45EE-BD42-965211D48CA5}"/>
              </a:ext>
            </a:extLst>
          </p:cNvPr>
          <p:cNvSpPr>
            <a:spLocks noGrp="1"/>
          </p:cNvSpPr>
          <p:nvPr>
            <p:ph type="dt" sz="half" idx="20"/>
          </p:nvPr>
        </p:nvSpPr>
        <p:spPr>
          <a:xfrm>
            <a:off x="0" y="0"/>
            <a:ext cx="0" cy="0"/>
          </a:xfrm>
        </p:spPr>
        <p:txBody>
          <a:bodyPr tIns="0"/>
          <a:lstStyle>
            <a:lvl1pPr>
              <a:defRPr sz="100">
                <a:noFill/>
              </a:defRPr>
            </a:lvl1pPr>
          </a:lstStyle>
          <a:p>
            <a:r>
              <a:rPr lang="de-DE"/>
              <a:t>   </a:t>
            </a:r>
            <a:endParaRPr lang="de-DE" dirty="0"/>
          </a:p>
        </p:txBody>
      </p:sp>
      <p:sp>
        <p:nvSpPr>
          <p:cNvPr id="4" name="Footer Placeholder 3">
            <a:extLst>
              <a:ext uri="{FF2B5EF4-FFF2-40B4-BE49-F238E27FC236}">
                <a16:creationId xmlns:a16="http://schemas.microsoft.com/office/drawing/2014/main" id="{C4742EEF-23F0-402C-86E2-238D8B75C4AB}"/>
              </a:ext>
            </a:extLst>
          </p:cNvPr>
          <p:cNvSpPr>
            <a:spLocks noGrp="1"/>
          </p:cNvSpPr>
          <p:nvPr>
            <p:ph type="ftr" sz="quarter" idx="21"/>
          </p:nvPr>
        </p:nvSpPr>
        <p:spPr/>
        <p:txBody>
          <a:bodyPr/>
          <a:lstStyle/>
          <a:p>
            <a:endParaRPr lang="de-DE" dirty="0"/>
          </a:p>
        </p:txBody>
      </p:sp>
      <p:sp>
        <p:nvSpPr>
          <p:cNvPr id="9" name="Slide Number Placeholder 8">
            <a:extLst>
              <a:ext uri="{FF2B5EF4-FFF2-40B4-BE49-F238E27FC236}">
                <a16:creationId xmlns:a16="http://schemas.microsoft.com/office/drawing/2014/main" id="{43E486EA-954A-4A70-B674-DE074A760C1E}"/>
              </a:ext>
            </a:extLst>
          </p:cNvPr>
          <p:cNvSpPr>
            <a:spLocks noGrp="1"/>
          </p:cNvSpPr>
          <p:nvPr>
            <p:ph type="sldNum" sz="quarter" idx="22"/>
          </p:nvPr>
        </p:nvSpPr>
        <p:spPr>
          <a:xfrm>
            <a:off x="0" y="0"/>
            <a:ext cx="0" cy="0"/>
          </a:xfrm>
        </p:spPr>
        <p:txBody>
          <a:bodyPr bIns="0"/>
          <a:lstStyle>
            <a:lvl1pPr>
              <a:defRPr sz="100">
                <a:noFill/>
              </a:defRPr>
            </a:lvl1pPr>
          </a:lstStyle>
          <a:p>
            <a:pPr fontAlgn="base">
              <a:spcBef>
                <a:spcPct val="0"/>
              </a:spcBef>
              <a:spcAft>
                <a:spcPct val="0"/>
              </a:spcAft>
            </a:pPr>
            <a:r>
              <a:rPr lang="de-DE"/>
              <a:t>   </a:t>
            </a:r>
            <a:endParaRPr lang="de-DE" dirty="0"/>
          </a:p>
        </p:txBody>
      </p:sp>
    </p:spTree>
    <p:extLst>
      <p:ext uri="{BB962C8B-B14F-4D97-AF65-F5344CB8AC3E}">
        <p14:creationId xmlns:p14="http://schemas.microsoft.com/office/powerpoint/2010/main" val="41214326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amp;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de-DE" noProof="0" dirty="0"/>
              <a:t>Titelmasterformat durch </a:t>
            </a:r>
            <a:br>
              <a:rPr lang="de-DE" noProof="0" dirty="0"/>
            </a:br>
            <a:r>
              <a:rPr lang="de-DE" noProof="0" dirty="0"/>
              <a:t>Klicken bearbeiten</a:t>
            </a:r>
            <a:endParaRPr lang="de-DE" dirty="0"/>
          </a:p>
        </p:txBody>
      </p:sp>
      <p:sp>
        <p:nvSpPr>
          <p:cNvPr id="3" name="Content Placeholder 2"/>
          <p:cNvSpPr>
            <a:spLocks noGrp="1"/>
          </p:cNvSpPr>
          <p:nvPr>
            <p:ph idx="1" hasCustomPrompt="1"/>
          </p:nvPr>
        </p:nvSpPr>
        <p:spPr/>
        <p:txBody>
          <a:bodyPr/>
          <a:lstStyle>
            <a:lvl1pPr>
              <a:defRPr/>
            </a:lvl1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10" name="Date Placeholder 9">
            <a:extLst>
              <a:ext uri="{FF2B5EF4-FFF2-40B4-BE49-F238E27FC236}">
                <a16:creationId xmlns:a16="http://schemas.microsoft.com/office/drawing/2014/main" id="{2D578BB0-C966-46E9-80C0-61359BAA2629}"/>
              </a:ext>
            </a:extLst>
          </p:cNvPr>
          <p:cNvSpPr>
            <a:spLocks noGrp="1"/>
          </p:cNvSpPr>
          <p:nvPr>
            <p:ph type="dt" sz="half" idx="10"/>
          </p:nvPr>
        </p:nvSpPr>
        <p:spPr/>
        <p:txBody>
          <a:bodyPr/>
          <a:lstStyle/>
          <a:p>
            <a:r>
              <a:rPr lang="en-US"/>
              <a:t> |  | </a:t>
            </a:r>
            <a:endParaRPr lang="de-DE" dirty="0"/>
          </a:p>
        </p:txBody>
      </p:sp>
      <p:sp>
        <p:nvSpPr>
          <p:cNvPr id="11" name="Footer Placeholder 10">
            <a:extLst>
              <a:ext uri="{FF2B5EF4-FFF2-40B4-BE49-F238E27FC236}">
                <a16:creationId xmlns:a16="http://schemas.microsoft.com/office/drawing/2014/main" id="{2928F8C1-79E5-4A8D-8EA3-87255DF7F602}"/>
              </a:ext>
            </a:extLst>
          </p:cNvPr>
          <p:cNvSpPr>
            <a:spLocks noGrp="1"/>
          </p:cNvSpPr>
          <p:nvPr>
            <p:ph type="ftr" sz="quarter" idx="11"/>
          </p:nvPr>
        </p:nvSpPr>
        <p:spPr/>
        <p:txBody>
          <a:bodyPr/>
          <a:lstStyle/>
          <a:p>
            <a:endParaRPr lang="de-DE" dirty="0"/>
          </a:p>
        </p:txBody>
      </p:sp>
      <p:sp>
        <p:nvSpPr>
          <p:cNvPr id="12" name="Slide Number Placeholder 11">
            <a:extLst>
              <a:ext uri="{FF2B5EF4-FFF2-40B4-BE49-F238E27FC236}">
                <a16:creationId xmlns:a16="http://schemas.microsoft.com/office/drawing/2014/main" id="{A1B9EDA6-0272-4327-A289-296775366FB9}"/>
              </a:ext>
            </a:extLst>
          </p:cNvPr>
          <p:cNvSpPr>
            <a:spLocks noGrp="1"/>
          </p:cNvSpPr>
          <p:nvPr>
            <p:ph type="sldNum" sz="quarter" idx="12"/>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22426172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Nur Titel&#10;Title only">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Mastertitelformat bearbeiten</a:t>
            </a:r>
            <a:endParaRPr lang="de-DE" dirty="0"/>
          </a:p>
        </p:txBody>
      </p:sp>
      <p:sp>
        <p:nvSpPr>
          <p:cNvPr id="2" name="Datumsplatzhalter 1"/>
          <p:cNvSpPr>
            <a:spLocks noGrp="1"/>
          </p:cNvSpPr>
          <p:nvPr>
            <p:ph type="dt" sz="half" idx="10"/>
          </p:nvPr>
        </p:nvSpPr>
        <p:spPr/>
        <p:txBody>
          <a:bodyPr/>
          <a:lstStyle/>
          <a:p>
            <a:r>
              <a:rPr lang="de-DE" noProof="0"/>
              <a:t>05.05.2022</a:t>
            </a:r>
            <a:endParaRPr lang="de-DE" noProof="0" dirty="0"/>
          </a:p>
        </p:txBody>
      </p:sp>
      <p:sp>
        <p:nvSpPr>
          <p:cNvPr id="4" name="Fußzeilenplatzhalter 3"/>
          <p:cNvSpPr>
            <a:spLocks noGrp="1"/>
          </p:cNvSpPr>
          <p:nvPr>
            <p:ph type="ftr" sz="quarter" idx="11"/>
          </p:nvPr>
        </p:nvSpPr>
        <p:spPr/>
        <p:txBody>
          <a:bodyPr/>
          <a:lstStyle/>
          <a:p>
            <a:r>
              <a:rPr lang="de-DE"/>
              <a:t>Arboris GmbH &amp; Co. KG</a:t>
            </a:r>
            <a:endParaRPr lang="de-DE" dirty="0"/>
          </a:p>
        </p:txBody>
      </p:sp>
      <p:sp>
        <p:nvSpPr>
          <p:cNvPr id="5" name="Foliennummernplatzhalter 4"/>
          <p:cNvSpPr>
            <a:spLocks noGrp="1"/>
          </p:cNvSpPr>
          <p:nvPr>
            <p:ph type="sldNum" sz="quarter" idx="12"/>
          </p:nvPr>
        </p:nvSpPr>
        <p:spPr/>
        <p:txBody>
          <a:bodyPr/>
          <a:lstStyle/>
          <a:p>
            <a:fld id="{D7FBF016-173F-4D13-AB5B-81861F2E6151}" type="slidenum">
              <a:rPr lang="de-DE" noProof="0" smtClean="0"/>
              <a:pPr/>
              <a:t>‹Nr.›</a:t>
            </a:fld>
            <a:endParaRPr lang="de-DE" noProof="0" dirty="0"/>
          </a:p>
        </p:txBody>
      </p:sp>
    </p:spTree>
    <p:extLst>
      <p:ext uri="{BB962C8B-B14F-4D97-AF65-F5344CB8AC3E}">
        <p14:creationId xmlns:p14="http://schemas.microsoft.com/office/powerpoint/2010/main" val="5381829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el &amp; Inhalt&#10;Title &amp; Content">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7" name="Datumsplatzhalter 6"/>
          <p:cNvSpPr>
            <a:spLocks noGrp="1"/>
          </p:cNvSpPr>
          <p:nvPr>
            <p:ph type="dt" sz="half" idx="10"/>
          </p:nvPr>
        </p:nvSpPr>
        <p:spPr/>
        <p:txBody>
          <a:bodyPr/>
          <a:lstStyle/>
          <a:p>
            <a:r>
              <a:rPr lang="de-DE">
                <a:solidFill>
                  <a:prstClr val="black"/>
                </a:solidFill>
              </a:rPr>
              <a:t>07. Sep. 2020</a:t>
            </a:r>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GIC</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D7FBF016-173F-4D13-AB5B-81861F2E6151}" type="slidenum">
              <a:rPr lang="de-DE" smtClean="0">
                <a:solidFill>
                  <a:prstClr val="black"/>
                </a:solidFill>
              </a:rPr>
              <a:pPr/>
              <a:t>‹Nr.›</a:t>
            </a:fld>
            <a:endParaRPr lang="de-DE" dirty="0">
              <a:solidFill>
                <a:prstClr val="black"/>
              </a:solidFill>
            </a:endParaRPr>
          </a:p>
        </p:txBody>
      </p:sp>
      <p:sp>
        <p:nvSpPr>
          <p:cNvPr id="4" name="Titel 3"/>
          <p:cNvSpPr>
            <a:spLocks noGrp="1"/>
          </p:cNvSpPr>
          <p:nvPr>
            <p:ph type="title"/>
          </p:nvPr>
        </p:nvSpPr>
        <p:spPr/>
        <p:txBody>
          <a:bodyPr/>
          <a:lstStyle/>
          <a:p>
            <a:r>
              <a:rPr lang="de-DE" dirty="0"/>
              <a:t>Titelmasterformat durch Klicken bearbeiten</a:t>
            </a:r>
          </a:p>
        </p:txBody>
      </p:sp>
    </p:spTree>
    <p:extLst>
      <p:ext uri="{BB962C8B-B14F-4D97-AF65-F5344CB8AC3E}">
        <p14:creationId xmlns:p14="http://schemas.microsoft.com/office/powerpoint/2010/main" val="1264458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013ED1B-AFBD-464D-8B5E-87500A25740F}"/>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7FFC8617-7407-455B-9BD9-77715CDB75E4}"/>
              </a:ext>
            </a:extLst>
          </p:cNvPr>
          <p:cNvSpPr/>
          <p:nvPr userDrawn="1">
            <p:custDataLst>
              <p:tags r:id="rId1"/>
            </p:custDataLst>
          </p:nvPr>
        </p:nvSpPr>
        <p:spPr>
          <a:xfrm>
            <a:off x="256006" y="1268413"/>
            <a:ext cx="8627965" cy="37663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dirty="0"/>
          </a:p>
        </p:txBody>
      </p:sp>
      <p:sp>
        <p:nvSpPr>
          <p:cNvPr id="28" name="TextBox 27">
            <a:hlinkClick r:id="rId12" action="ppaction://hlinksldjump"/>
            <a:extLst>
              <a:ext uri="{FF2B5EF4-FFF2-40B4-BE49-F238E27FC236}">
                <a16:creationId xmlns:a16="http://schemas.microsoft.com/office/drawing/2014/main" id="{33BAEE98-0FB1-4C95-8957-74015F5F6E54}"/>
              </a:ext>
            </a:extLst>
          </p:cNvPr>
          <p:cNvSpPr txBox="1"/>
          <p:nvPr userDrawn="1">
            <p:custDataLst>
              <p:tags r:id="rId2"/>
            </p:custDataLst>
          </p:nvPr>
        </p:nvSpPr>
        <p:spPr>
          <a:xfrm>
            <a:off x="684213" y="1268413"/>
            <a:ext cx="7611545" cy="356400"/>
          </a:xfrm>
          <a:prstGeom prst="rect">
            <a:avLst/>
          </a:prstGeom>
          <a:blipFill>
            <a:blip r:embed="rId13"/>
            <a:stretch>
              <a:fillRect/>
            </a:stretch>
          </a:blipFill>
        </p:spPr>
        <p:txBody>
          <a:bodyPr vert="horz" wrap="square" lIns="0" tIns="126000" rIns="0" bIns="0" rtlCol="0" anchor="t">
            <a:noAutofit/>
          </a:bodyPr>
          <a:lstStyle/>
          <a:p>
            <a:pPr algn="l"/>
            <a:r>
              <a:rPr lang="de-DE" sz="1200" b="0">
                <a:solidFill>
                  <a:schemeClr val="tx1"/>
                </a:solidFill>
                <a:cs typeface="Arial" panose="020B0604020202020204" pitchFamily="34" charset="0"/>
              </a:rPr>
              <a:t>A</a:t>
            </a:r>
            <a:endParaRPr lang="de-DE" sz="1200" b="0" dirty="0">
              <a:solidFill>
                <a:schemeClr val="tx1"/>
              </a:solidFill>
              <a:cs typeface="Arial" panose="020B0604020202020204" pitchFamily="34" charset="0"/>
            </a:endParaRPr>
          </a:p>
        </p:txBody>
      </p:sp>
      <p:sp>
        <p:nvSpPr>
          <p:cNvPr id="29" name="TextBox 28">
            <a:hlinkClick r:id="rId12" action="ppaction://hlinksldjump"/>
            <a:extLst>
              <a:ext uri="{FF2B5EF4-FFF2-40B4-BE49-F238E27FC236}">
                <a16:creationId xmlns:a16="http://schemas.microsoft.com/office/drawing/2014/main" id="{8CFB3A0D-6FF8-4D98-B19D-1AD551BDF30D}"/>
              </a:ext>
            </a:extLst>
          </p:cNvPr>
          <p:cNvSpPr txBox="1"/>
          <p:nvPr userDrawn="1">
            <p:custDataLst>
              <p:tags r:id="rId3"/>
            </p:custDataLst>
          </p:nvPr>
        </p:nvSpPr>
        <p:spPr>
          <a:xfrm>
            <a:off x="8280412" y="1268413"/>
            <a:ext cx="612068" cy="356400"/>
          </a:xfrm>
          <a:prstGeom prst="rect">
            <a:avLst/>
          </a:prstGeom>
          <a:blipFill>
            <a:blip r:embed="rId13"/>
            <a:stretch>
              <a:fillRect/>
            </a:stretch>
          </a:blipFill>
          <a:ln>
            <a:noFill/>
          </a:ln>
        </p:spPr>
        <p:txBody>
          <a:bodyPr vert="horz" wrap="none" lIns="0" tIns="126000" rIns="0" bIns="0" rtlCol="0" anchor="t" anchorCtr="0">
            <a:noAutofit/>
          </a:bodyPr>
          <a:lstStyle/>
          <a:p>
            <a:pPr algn="r"/>
            <a:r>
              <a:rPr lang="de-DE" sz="1200" b="0">
                <a:solidFill>
                  <a:schemeClr val="tx1"/>
                </a:solidFill>
                <a:latin typeface="Arial" panose="020B0604020202020204" pitchFamily="34" charset="0"/>
                <a:cs typeface="Arial" panose="020B0604020202020204" pitchFamily="34" charset="0"/>
              </a:rPr>
              <a:t>2</a:t>
            </a:r>
            <a:endParaRPr lang="de-DE" sz="1200" b="0" dirty="0">
              <a:solidFill>
                <a:schemeClr val="tx1"/>
              </a:solidFill>
              <a:latin typeface="Arial" panose="020B0604020202020204" pitchFamily="34" charset="0"/>
              <a:cs typeface="Arial" panose="020B0604020202020204" pitchFamily="34" charset="0"/>
            </a:endParaRPr>
          </a:p>
        </p:txBody>
      </p:sp>
      <p:sp>
        <p:nvSpPr>
          <p:cNvPr id="34" name="TextBox 33">
            <a:hlinkClick r:id="" action="ppaction://noaction"/>
            <a:extLst>
              <a:ext uri="{FF2B5EF4-FFF2-40B4-BE49-F238E27FC236}">
                <a16:creationId xmlns:a16="http://schemas.microsoft.com/office/drawing/2014/main" id="{5D5828FA-D019-4C78-B51F-03DFBD57FE8E}"/>
              </a:ext>
            </a:extLst>
          </p:cNvPr>
          <p:cNvSpPr txBox="1"/>
          <p:nvPr userDrawn="1">
            <p:custDataLst>
              <p:tags r:id="rId4"/>
            </p:custDataLst>
          </p:nvPr>
        </p:nvSpPr>
        <p:spPr>
          <a:xfrm>
            <a:off x="251520" y="1268413"/>
            <a:ext cx="432213" cy="356400"/>
          </a:xfrm>
          <a:prstGeom prst="rect">
            <a:avLst/>
          </a:prstGeom>
          <a:blipFill>
            <a:blip r:embed="rId14"/>
            <a:stretch>
              <a:fillRect/>
            </a:stretch>
          </a:blipFill>
        </p:spPr>
        <p:txBody>
          <a:bodyPr vert="horz" wrap="none" lIns="0" tIns="54000" rIns="0" bIns="0" rtlCol="0">
            <a:noAutofit/>
          </a:bodyPr>
          <a:lstStyle/>
          <a:p>
            <a:pPr algn="l"/>
            <a:r>
              <a:rPr lang="de-DE" sz="1800" b="1">
                <a:solidFill>
                  <a:schemeClr val="tx2"/>
                </a:solidFill>
              </a:rPr>
              <a:t>01</a:t>
            </a:r>
            <a:endParaRPr lang="de-DE" sz="1800" b="1" dirty="0">
              <a:solidFill>
                <a:schemeClr val="tx2"/>
              </a:solidFill>
            </a:endParaRPr>
          </a:p>
        </p:txBody>
      </p:sp>
      <p:sp>
        <p:nvSpPr>
          <p:cNvPr id="35" name="TextBox 34">
            <a:hlinkClick r:id="" action="ppaction://noaction"/>
            <a:extLst>
              <a:ext uri="{FF2B5EF4-FFF2-40B4-BE49-F238E27FC236}">
                <a16:creationId xmlns:a16="http://schemas.microsoft.com/office/drawing/2014/main" id="{A6EC389B-813A-4FF6-A397-3CDBD32C0A5C}"/>
              </a:ext>
            </a:extLst>
          </p:cNvPr>
          <p:cNvSpPr txBox="1"/>
          <p:nvPr userDrawn="1">
            <p:custDataLst>
              <p:tags r:id="rId5"/>
            </p:custDataLst>
          </p:nvPr>
        </p:nvSpPr>
        <p:spPr>
          <a:xfrm>
            <a:off x="683733" y="1268413"/>
            <a:ext cx="7596679" cy="356400"/>
          </a:xfrm>
          <a:prstGeom prst="rect">
            <a:avLst/>
          </a:prstGeom>
          <a:blipFill>
            <a:blip r:embed="rId14"/>
            <a:stretch>
              <a:fillRect/>
            </a:stretch>
          </a:blipFill>
        </p:spPr>
        <p:txBody>
          <a:bodyPr vert="horz" wrap="square" lIns="0" tIns="126000" rIns="0" bIns="0" rtlCol="0">
            <a:noAutofit/>
          </a:bodyPr>
          <a:lstStyle/>
          <a:p>
            <a:pPr algn="l"/>
            <a:r>
              <a:rPr lang="de-DE" sz="1200"/>
              <a:t>A</a:t>
            </a:r>
            <a:endParaRPr lang="de-DE" sz="1200" dirty="0" err="1"/>
          </a:p>
        </p:txBody>
      </p:sp>
      <p:sp>
        <p:nvSpPr>
          <p:cNvPr id="36" name="TextBox 35">
            <a:hlinkClick r:id="" action="ppaction://noaction"/>
            <a:extLst>
              <a:ext uri="{FF2B5EF4-FFF2-40B4-BE49-F238E27FC236}">
                <a16:creationId xmlns:a16="http://schemas.microsoft.com/office/drawing/2014/main" id="{1EE44FC6-759C-4D4D-8C21-D3C4714459F5}"/>
              </a:ext>
            </a:extLst>
          </p:cNvPr>
          <p:cNvSpPr txBox="1"/>
          <p:nvPr userDrawn="1">
            <p:custDataLst>
              <p:tags r:id="rId6"/>
            </p:custDataLst>
          </p:nvPr>
        </p:nvSpPr>
        <p:spPr>
          <a:xfrm>
            <a:off x="8244408" y="1268413"/>
            <a:ext cx="652338" cy="356400"/>
          </a:xfrm>
          <a:prstGeom prst="rect">
            <a:avLst/>
          </a:prstGeom>
          <a:blipFill>
            <a:blip r:embed="rId14"/>
            <a:stretch>
              <a:fillRect/>
            </a:stretch>
          </a:blipFill>
        </p:spPr>
        <p:txBody>
          <a:bodyPr vert="horz" wrap="none" lIns="0" tIns="126000" rIns="0" bIns="0" rtlCol="0">
            <a:noAutofit/>
          </a:bodyPr>
          <a:lstStyle/>
          <a:p>
            <a:pPr algn="r"/>
            <a:r>
              <a:rPr lang="de-DE" sz="1200"/>
              <a:t>7</a:t>
            </a:r>
          </a:p>
        </p:txBody>
      </p:sp>
      <p:sp>
        <p:nvSpPr>
          <p:cNvPr id="13" name="TextBox 12">
            <a:hlinkClick r:id="rId12" action="ppaction://hlinksldjump"/>
            <a:extLst>
              <a:ext uri="{FF2B5EF4-FFF2-40B4-BE49-F238E27FC236}">
                <a16:creationId xmlns:a16="http://schemas.microsoft.com/office/drawing/2014/main" id="{DDF8284E-209F-46CB-89E3-1CEB9ABE516D}"/>
              </a:ext>
            </a:extLst>
          </p:cNvPr>
          <p:cNvSpPr txBox="1"/>
          <p:nvPr userDrawn="1">
            <p:custDataLst>
              <p:tags r:id="rId7"/>
            </p:custDataLst>
          </p:nvPr>
        </p:nvSpPr>
        <p:spPr>
          <a:xfrm>
            <a:off x="251520" y="1268413"/>
            <a:ext cx="468747" cy="356400"/>
          </a:xfrm>
          <a:prstGeom prst="rect">
            <a:avLst/>
          </a:prstGeom>
          <a:blipFill>
            <a:blip r:embed="rId14"/>
            <a:stretch>
              <a:fillRect/>
            </a:stretch>
          </a:blipFill>
        </p:spPr>
        <p:txBody>
          <a:bodyPr vert="horz" wrap="none" lIns="0" tIns="0" rIns="0" bIns="0" rtlCol="0">
            <a:noAutofit/>
          </a:bodyPr>
          <a:lstStyle/>
          <a:p>
            <a:pPr algn="l">
              <a:lnSpc>
                <a:spcPct val="110000"/>
              </a:lnSpc>
              <a:spcBef>
                <a:spcPts val="300"/>
              </a:spcBef>
              <a:buClr>
                <a:schemeClr val="tx2"/>
              </a:buClr>
            </a:pPr>
            <a:endParaRPr lang="de-DE" sz="1400" dirty="0" err="1">
              <a:noFill/>
            </a:endParaRPr>
          </a:p>
        </p:txBody>
      </p:sp>
      <p:sp>
        <p:nvSpPr>
          <p:cNvPr id="14" name="TextBox 13">
            <a:hlinkClick r:id="rId12" action="ppaction://hlinksldjump"/>
            <a:extLst>
              <a:ext uri="{FF2B5EF4-FFF2-40B4-BE49-F238E27FC236}">
                <a16:creationId xmlns:a16="http://schemas.microsoft.com/office/drawing/2014/main" id="{A2A3B4CC-76D1-44F5-BC49-727E9612D0D1}"/>
              </a:ext>
            </a:extLst>
          </p:cNvPr>
          <p:cNvSpPr txBox="1"/>
          <p:nvPr userDrawn="1">
            <p:custDataLst>
              <p:tags r:id="rId8"/>
            </p:custDataLst>
          </p:nvPr>
        </p:nvSpPr>
        <p:spPr>
          <a:xfrm>
            <a:off x="720268" y="1268413"/>
            <a:ext cx="7690112" cy="356400"/>
          </a:xfrm>
          <a:prstGeom prst="rect">
            <a:avLst/>
          </a:prstGeom>
          <a:blipFill>
            <a:blip r:embed="rId14"/>
            <a:stretch>
              <a:fillRect/>
            </a:stretch>
          </a:blipFill>
          <a:ln>
            <a:noFill/>
          </a:ln>
        </p:spPr>
        <p:txBody>
          <a:bodyPr vert="horz" wrap="square" lIns="0" tIns="126000" rIns="0" bIns="0" rtlCol="0">
            <a:noAutofit/>
          </a:bodyPr>
          <a:lstStyle/>
          <a:p>
            <a:pPr algn="l"/>
            <a:r>
              <a:rPr lang="de-DE" sz="1200"/>
              <a:t>A</a:t>
            </a:r>
            <a:endParaRPr lang="de-DE" sz="1200" dirty="0"/>
          </a:p>
        </p:txBody>
      </p:sp>
      <p:sp>
        <p:nvSpPr>
          <p:cNvPr id="17" name="TextBox 16">
            <a:hlinkClick r:id="rId12" action="ppaction://hlinksldjump"/>
            <a:extLst>
              <a:ext uri="{FF2B5EF4-FFF2-40B4-BE49-F238E27FC236}">
                <a16:creationId xmlns:a16="http://schemas.microsoft.com/office/drawing/2014/main" id="{482EAE30-87F2-4E46-9FC0-FFD8874E82A8}"/>
              </a:ext>
            </a:extLst>
          </p:cNvPr>
          <p:cNvSpPr txBox="1"/>
          <p:nvPr userDrawn="1">
            <p:custDataLst>
              <p:tags r:id="rId9"/>
            </p:custDataLst>
          </p:nvPr>
        </p:nvSpPr>
        <p:spPr>
          <a:xfrm>
            <a:off x="8244408" y="1268413"/>
            <a:ext cx="648072" cy="356400"/>
          </a:xfrm>
          <a:prstGeom prst="rect">
            <a:avLst/>
          </a:prstGeom>
          <a:blipFill>
            <a:blip r:embed="rId14"/>
            <a:stretch>
              <a:fillRect/>
            </a:stretch>
          </a:blipFill>
        </p:spPr>
        <p:txBody>
          <a:bodyPr vert="horz" wrap="none" lIns="0" tIns="126000" rIns="0" bIns="0" rtlCol="0">
            <a:noAutofit/>
          </a:bodyPr>
          <a:lstStyle/>
          <a:p>
            <a:pPr algn="r">
              <a:lnSpc>
                <a:spcPct val="110000"/>
              </a:lnSpc>
              <a:spcBef>
                <a:spcPts val="300"/>
              </a:spcBef>
              <a:buClr>
                <a:schemeClr val="tx2"/>
              </a:buClr>
            </a:pPr>
            <a:r>
              <a:rPr lang="de-DE" sz="1200">
                <a:solidFill>
                  <a:sysClr val="windowText" lastClr="000000"/>
                </a:solidFill>
              </a:rPr>
              <a:t>2</a:t>
            </a:r>
            <a:endParaRPr lang="de-DE" sz="1200" dirty="0">
              <a:solidFill>
                <a:sysClr val="windowText" lastClr="000000"/>
              </a:solidFill>
            </a:endParaRPr>
          </a:p>
        </p:txBody>
      </p:sp>
      <p:sp>
        <p:nvSpPr>
          <p:cNvPr id="33" name="Rectangle 32">
            <a:extLst>
              <a:ext uri="{FF2B5EF4-FFF2-40B4-BE49-F238E27FC236}">
                <a16:creationId xmlns:a16="http://schemas.microsoft.com/office/drawing/2014/main" id="{B3739F26-B5B6-4D1D-BC15-32563ECC4297}"/>
              </a:ext>
            </a:extLst>
          </p:cNvPr>
          <p:cNvSpPr/>
          <p:nvPr userDrawn="1">
            <p:custDataLst>
              <p:tags r:id="rId10"/>
            </p:custDataLst>
          </p:nvPr>
        </p:nvSpPr>
        <p:spPr>
          <a:xfrm>
            <a:off x="0" y="0"/>
            <a:ext cx="9144000" cy="68580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593520984"/>
      </p:ext>
    </p:extLst>
  </p:cSld>
  <p:clrMapOvr>
    <a:masterClrMapping/>
  </p:clrMapOvr>
  <p:extLst>
    <p:ext uri="{DCECCB84-F9BA-43D5-87BE-67443E8EF086}">
      <p15:sldGuideLst xmlns:p15="http://schemas.microsoft.com/office/powerpoint/2012/main">
        <p15:guide id="1" pos="748">
          <p15:clr>
            <a:srgbClr val="FBAE40"/>
          </p15:clr>
        </p15:guide>
        <p15:guide id="2" orient="horz" pos="845">
          <p15:clr>
            <a:srgbClr val="FBAE40"/>
          </p15:clr>
        </p15:guide>
        <p15:guide id="3" pos="537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4" name="TextBox 13">
            <a:hlinkClick r:id="" action="ppaction://noaction"/>
            <a:extLst>
              <a:ext uri="{FF2B5EF4-FFF2-40B4-BE49-F238E27FC236}">
                <a16:creationId xmlns:a16="http://schemas.microsoft.com/office/drawing/2014/main" id="{9803FC64-271D-4B44-98AE-EC9C90EF0B23}"/>
              </a:ext>
            </a:extLst>
          </p:cNvPr>
          <p:cNvSpPr txBox="1">
            <a:spLocks/>
          </p:cNvSpPr>
          <p:nvPr userDrawn="1">
            <p:custDataLst>
              <p:tags r:id="rId1"/>
            </p:custDataLst>
          </p:nvPr>
        </p:nvSpPr>
        <p:spPr>
          <a:xfrm>
            <a:off x="1619671" y="2266950"/>
            <a:ext cx="6193753" cy="216000"/>
          </a:xfrm>
          <a:prstGeom prst="rect">
            <a:avLst/>
          </a:prstGeom>
          <a:noFill/>
        </p:spPr>
        <p:txBody>
          <a:bodyPr vert="horz" wrap="square" lIns="0" tIns="0" rIns="0" bIns="0" rtlCol="0" anchor="t" anchorCtr="0">
            <a:noAutofit/>
          </a:bodyPr>
          <a:lstStyle/>
          <a:p>
            <a:pPr algn="l"/>
            <a:r>
              <a:rPr lang="de-DE" sz="1200" i="1" dirty="0">
                <a:latin typeface="Arial" panose="020B0604020202020204" pitchFamily="34" charset="0"/>
                <a:cs typeface="Arial" panose="020B0604020202020204" pitchFamily="34" charset="0"/>
              </a:rPr>
              <a:t>A</a:t>
            </a:r>
          </a:p>
        </p:txBody>
      </p:sp>
      <p:sp>
        <p:nvSpPr>
          <p:cNvPr id="15" name="TextBox 14">
            <a:hlinkClick r:id="" action="ppaction://noaction"/>
            <a:extLst>
              <a:ext uri="{FF2B5EF4-FFF2-40B4-BE49-F238E27FC236}">
                <a16:creationId xmlns:a16="http://schemas.microsoft.com/office/drawing/2014/main" id="{29AC5EBB-7C6C-4BA9-A9A9-8D2AF05EABDA}"/>
              </a:ext>
            </a:extLst>
          </p:cNvPr>
          <p:cNvSpPr txBox="1">
            <a:spLocks/>
          </p:cNvSpPr>
          <p:nvPr userDrawn="1">
            <p:custDataLst>
              <p:tags r:id="rId2"/>
            </p:custDataLst>
          </p:nvPr>
        </p:nvSpPr>
        <p:spPr>
          <a:xfrm>
            <a:off x="8268502" y="2266948"/>
            <a:ext cx="258572" cy="216000"/>
          </a:xfrm>
          <a:prstGeom prst="rect">
            <a:avLst/>
          </a:prstGeom>
          <a:noFill/>
          <a:extLst>
            <a:ext uri="{909E8E84-426E-40DD-AFC4-6F175D3DCCD1}">
              <a14:hiddenFill xmlns:a14="http://schemas.microsoft.com/office/drawing/2010/main">
                <a:solidFill>
                  <a:srgbClr val="4F81BD"/>
                </a:solidFill>
              </a14:hiddenFill>
            </a:ext>
          </a:extLst>
        </p:spPr>
        <p:txBody>
          <a:bodyPr vert="horz" wrap="square" lIns="0" tIns="0" rIns="0" bIns="0" rtlCol="0" anchor="t" anchorCtr="0">
            <a:noAutofit/>
          </a:bodyPr>
          <a:lstStyle/>
          <a:p>
            <a:pPr algn="r"/>
            <a:r>
              <a:rPr lang="de-DE" sz="1200" i="1" dirty="0">
                <a:latin typeface="Arial" panose="020B0604020202020204" pitchFamily="34" charset="0"/>
                <a:cs typeface="Arial" panose="020B0604020202020204" pitchFamily="34" charset="0"/>
              </a:rPr>
              <a:t>6</a:t>
            </a:r>
          </a:p>
        </p:txBody>
      </p:sp>
      <p:sp>
        <p:nvSpPr>
          <p:cNvPr id="16" name="TextBox 15">
            <a:hlinkClick r:id="" action="ppaction://noaction"/>
            <a:extLst>
              <a:ext uri="{FF2B5EF4-FFF2-40B4-BE49-F238E27FC236}">
                <a16:creationId xmlns:a16="http://schemas.microsoft.com/office/drawing/2014/main" id="{37DBEB9B-0976-4095-BB86-1DE4DB286B49}"/>
              </a:ext>
            </a:extLst>
          </p:cNvPr>
          <p:cNvSpPr txBox="1">
            <a:spLocks/>
          </p:cNvSpPr>
          <p:nvPr userDrawn="1">
            <p:custDataLst>
              <p:tags r:id="rId3"/>
            </p:custDataLst>
          </p:nvPr>
        </p:nvSpPr>
        <p:spPr>
          <a:xfrm>
            <a:off x="1619672" y="1766894"/>
            <a:ext cx="6193752" cy="216000"/>
          </a:xfrm>
          <a:prstGeom prst="rect">
            <a:avLst/>
          </a:prstGeom>
          <a:noFill/>
        </p:spPr>
        <p:txBody>
          <a:bodyPr vert="horz" wrap="square" lIns="0" tIns="0" rIns="0" bIns="0" rtlCol="0" anchor="t" anchorCtr="0">
            <a:noAutofit/>
          </a:bodyPr>
          <a:lstStyle/>
          <a:p>
            <a:pPr algn="l"/>
            <a:r>
              <a:rPr lang="de-DE" sz="1400" b="1" dirty="0">
                <a:solidFill>
                  <a:schemeClr val="tx1"/>
                </a:solidFill>
                <a:latin typeface="Arial" panose="020B0604020202020204" pitchFamily="34" charset="0"/>
                <a:cs typeface="Arial" panose="020B0604020202020204" pitchFamily="34" charset="0"/>
              </a:rPr>
              <a:t>A</a:t>
            </a:r>
          </a:p>
        </p:txBody>
      </p:sp>
      <p:sp>
        <p:nvSpPr>
          <p:cNvPr id="20" name="TextBox 19">
            <a:hlinkClick r:id="" action="ppaction://noaction"/>
            <a:extLst>
              <a:ext uri="{FF2B5EF4-FFF2-40B4-BE49-F238E27FC236}">
                <a16:creationId xmlns:a16="http://schemas.microsoft.com/office/drawing/2014/main" id="{733A8585-7113-4E9B-B0B4-9D509D175A1F}"/>
              </a:ext>
            </a:extLst>
          </p:cNvPr>
          <p:cNvSpPr txBox="1">
            <a:spLocks/>
          </p:cNvSpPr>
          <p:nvPr userDrawn="1">
            <p:custDataLst>
              <p:tags r:id="rId4"/>
            </p:custDataLst>
          </p:nvPr>
        </p:nvSpPr>
        <p:spPr bwMode="auto">
          <a:xfrm>
            <a:off x="985472" y="1766894"/>
            <a:ext cx="469272" cy="216000"/>
          </a:xfrm>
          <a:prstGeom prst="roundRect">
            <a:avLst>
              <a:gd name="adj" fmla="val 6411"/>
            </a:avLst>
          </a:prstGeom>
          <a:noFill/>
          <a:ln>
            <a:noFill/>
          </a:ln>
          <a:effectLst/>
        </p:spPr>
        <p:txBody>
          <a:bodyPr vert="horz" wrap="square" lIns="0" tIns="0" rIns="0" bIns="0" numCol="1" rtlCol="0" anchor="t" anchorCtr="0" compatLnSpc="1">
            <a:prstTxWarp prst="textNoShape">
              <a:avLst/>
            </a:prstTxWarp>
            <a:noAutofit/>
          </a:bodyPr>
          <a:lstStyle/>
          <a:p>
            <a:pPr algn="r" rtl="0" fontAlgn="base">
              <a:spcBef>
                <a:spcPct val="20000"/>
              </a:spcBef>
              <a:spcAft>
                <a:spcPct val="0"/>
              </a:spcAft>
              <a:buClr>
                <a:srgbClr val="376092"/>
              </a:buClr>
              <a:buSzPct val="60000"/>
              <a:buFont typeface="Garamond" pitchFamily="18" charset="0"/>
            </a:pPr>
            <a:r>
              <a:rPr lang="de-DE" sz="1400" b="1" i="0" kern="1200" dirty="0">
                <a:solidFill>
                  <a:schemeClr val="tx1"/>
                </a:solidFill>
                <a:effectLst/>
                <a:latin typeface="Arial" panose="020B0604020202020204" pitchFamily="34" charset="0"/>
                <a:ea typeface="+mj-ea"/>
                <a:cs typeface="Arial" panose="020B0604020202020204" pitchFamily="34" charset="0"/>
              </a:rPr>
              <a:t>1.1</a:t>
            </a:r>
          </a:p>
        </p:txBody>
      </p:sp>
      <p:sp>
        <p:nvSpPr>
          <p:cNvPr id="22" name="TextBox 21">
            <a:hlinkClick r:id="" action="ppaction://noaction"/>
            <a:extLst>
              <a:ext uri="{FF2B5EF4-FFF2-40B4-BE49-F238E27FC236}">
                <a16:creationId xmlns:a16="http://schemas.microsoft.com/office/drawing/2014/main" id="{53421588-C383-47BB-AE12-33600A888AF8}"/>
              </a:ext>
            </a:extLst>
          </p:cNvPr>
          <p:cNvSpPr txBox="1">
            <a:spLocks/>
          </p:cNvSpPr>
          <p:nvPr userDrawn="1">
            <p:custDataLst>
              <p:tags r:id="rId5"/>
            </p:custDataLst>
          </p:nvPr>
        </p:nvSpPr>
        <p:spPr>
          <a:xfrm>
            <a:off x="7987074" y="1766894"/>
            <a:ext cx="540000" cy="216000"/>
          </a:xfrm>
          <a:prstGeom prst="rect">
            <a:avLst/>
          </a:prstGeom>
          <a:noFill/>
          <a:extLst>
            <a:ext uri="{909E8E84-426E-40DD-AFC4-6F175D3DCCD1}">
              <a14:hiddenFill xmlns:a14="http://schemas.microsoft.com/office/drawing/2010/main">
                <a:solidFill>
                  <a:srgbClr val="4F81BD"/>
                </a:solidFill>
              </a14:hiddenFill>
            </a:ext>
          </a:extLst>
        </p:spPr>
        <p:txBody>
          <a:bodyPr vert="horz" wrap="square" lIns="0" tIns="0" rIns="0" bIns="0" rtlCol="0" anchor="t" anchorCtr="0">
            <a:noAutofit/>
          </a:bodyPr>
          <a:lstStyle/>
          <a:p>
            <a:pPr algn="r"/>
            <a:r>
              <a:rPr lang="de-DE" sz="1400" b="1" dirty="0">
                <a:latin typeface="Arial" panose="020B0604020202020204" pitchFamily="34" charset="0"/>
                <a:cs typeface="Arial" panose="020B0604020202020204" pitchFamily="34" charset="0"/>
              </a:rPr>
              <a:t>6</a:t>
            </a:r>
          </a:p>
        </p:txBody>
      </p:sp>
      <p:sp>
        <p:nvSpPr>
          <p:cNvPr id="24" name="Rectangle 23">
            <a:extLst>
              <a:ext uri="{FF2B5EF4-FFF2-40B4-BE49-F238E27FC236}">
                <a16:creationId xmlns:a16="http://schemas.microsoft.com/office/drawing/2014/main" id="{2E39211C-69F6-4599-8993-9F9F0ED34633}"/>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C29DCFB8-F13A-483B-81BB-819BAA01F2C9}"/>
              </a:ext>
            </a:extLst>
          </p:cNvPr>
          <p:cNvSpPr/>
          <p:nvPr userDrawn="1">
            <p:custDataLst>
              <p:tags r:id="rId6"/>
            </p:custDataLst>
          </p:nvPr>
        </p:nvSpPr>
        <p:spPr>
          <a:xfrm>
            <a:off x="503548" y="2564904"/>
            <a:ext cx="6048672" cy="35643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dirty="0"/>
          </a:p>
        </p:txBody>
      </p:sp>
      <p:sp>
        <p:nvSpPr>
          <p:cNvPr id="26" name="TextBox 21">
            <a:hlinkClick r:id="rId12" action="ppaction://hlinksldjump"/>
            <a:extLst>
              <a:ext uri="{FF2B5EF4-FFF2-40B4-BE49-F238E27FC236}">
                <a16:creationId xmlns:a16="http://schemas.microsoft.com/office/drawing/2014/main" id="{3E3626A4-9D0A-43E9-B30C-A8A4934B6E41}"/>
              </a:ext>
            </a:extLst>
          </p:cNvPr>
          <p:cNvSpPr txBox="1"/>
          <p:nvPr userDrawn="1">
            <p:custDataLst>
              <p:tags r:id="rId7"/>
            </p:custDataLst>
          </p:nvPr>
        </p:nvSpPr>
        <p:spPr bwMode="gray">
          <a:xfrm>
            <a:off x="1691766" y="2636503"/>
            <a:ext cx="4608425" cy="1152525"/>
          </a:xfrm>
          <a:prstGeom prst="rect">
            <a:avLst/>
          </a:prstGeom>
          <a:noFill/>
          <a:ln w="76200">
            <a:noFill/>
          </a:ln>
          <a:effectLst>
            <a:outerShdw blurRad="76200" sx="101000" sy="101000" algn="ctr" rotWithShape="0">
              <a:sysClr val="windowText" lastClr="000000">
                <a:alpha val="30000"/>
              </a:sysClr>
            </a:outerShdw>
          </a:effectLst>
        </p:spPr>
        <p:txBody>
          <a:bodyPr vert="horz" lIns="0" tIns="0" rIns="0" bIns="0" rtlCol="0" anchor="b"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ct val="0"/>
              </a:spcBef>
              <a:spcAft>
                <a:spcPts val="0"/>
              </a:spcAft>
              <a:buClrTx/>
              <a:buSzTx/>
              <a:buFontTx/>
              <a:buNone/>
              <a:tabLst/>
            </a:pPr>
            <a:r>
              <a:rPr kumimoji="0" lang="de-DE" sz="3000" b="0" i="0" u="none" strike="noStrike" kern="1200" cap="none" spc="0" normalizeH="0" baseline="0" noProof="0" dirty="0">
                <a:ln>
                  <a:noFill/>
                </a:ln>
                <a:solidFill>
                  <a:srgbClr val="C6562C"/>
                </a:solidFill>
                <a:effectLst/>
                <a:uLnTx/>
                <a:uFillTx/>
                <a:latin typeface="Arial"/>
                <a:ea typeface="+mj-ea"/>
                <a:cs typeface="+mj-cs"/>
              </a:rPr>
              <a:t>A</a:t>
            </a:r>
          </a:p>
        </p:txBody>
      </p:sp>
      <p:sp>
        <p:nvSpPr>
          <p:cNvPr id="28" name="TextBox 48">
            <a:hlinkClick r:id="" action="ppaction://noaction"/>
            <a:extLst>
              <a:ext uri="{FF2B5EF4-FFF2-40B4-BE49-F238E27FC236}">
                <a16:creationId xmlns:a16="http://schemas.microsoft.com/office/drawing/2014/main" id="{881EDE13-769C-4628-881C-439F02D92105}"/>
              </a:ext>
            </a:extLst>
          </p:cNvPr>
          <p:cNvSpPr txBox="1"/>
          <p:nvPr userDrawn="1">
            <p:custDataLst>
              <p:tags r:id="rId8"/>
            </p:custDataLst>
          </p:nvPr>
        </p:nvSpPr>
        <p:spPr>
          <a:xfrm>
            <a:off x="6300191" y="3501032"/>
            <a:ext cx="323976" cy="216000"/>
          </a:xfrm>
          <a:prstGeom prst="rect">
            <a:avLst/>
          </a:prstGeom>
          <a:noFill/>
        </p:spPr>
        <p:txBody>
          <a:bodyPr vert="horz" wrap="none" lIns="0" tIns="0" rIns="0" bIns="0"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b="1" dirty="0">
                <a:noFill/>
                <a:latin typeface="Arial" panose="020B0604020202020204" pitchFamily="34" charset="0"/>
                <a:cs typeface="Arial" panose="020B0604020202020204" pitchFamily="34" charset="0"/>
              </a:rPr>
              <a:t>  </a:t>
            </a:r>
          </a:p>
        </p:txBody>
      </p:sp>
      <p:sp>
        <p:nvSpPr>
          <p:cNvPr id="29" name="TextBox 28">
            <a:hlinkClick r:id="" action="ppaction://noaction"/>
            <a:extLst>
              <a:ext uri="{FF2B5EF4-FFF2-40B4-BE49-F238E27FC236}">
                <a16:creationId xmlns:a16="http://schemas.microsoft.com/office/drawing/2014/main" id="{5EC23A1B-9610-4F70-A914-05E702D3573F}"/>
              </a:ext>
            </a:extLst>
          </p:cNvPr>
          <p:cNvSpPr txBox="1"/>
          <p:nvPr userDrawn="1">
            <p:custDataLst>
              <p:tags r:id="rId9"/>
            </p:custDataLst>
          </p:nvPr>
        </p:nvSpPr>
        <p:spPr>
          <a:xfrm>
            <a:off x="514304" y="2564904"/>
            <a:ext cx="1177461" cy="1152525"/>
          </a:xfrm>
          <a:prstGeom prst="rect">
            <a:avLst/>
          </a:prstGeom>
          <a:noFill/>
        </p:spPr>
        <p:txBody>
          <a:bodyPr vert="horz" wrap="none" lIns="0" tIns="0" rIns="0" bIns="0" rtlCol="0">
            <a:noAutofit/>
          </a:bodyPr>
          <a:lstStyle/>
          <a:p>
            <a:pPr algn="l"/>
            <a:r>
              <a:rPr lang="de-DE" sz="8800" b="1" dirty="0">
                <a:solidFill>
                  <a:schemeClr val="tx2"/>
                </a:solidFill>
                <a:latin typeface="Garamond" panose="02020404030301010803" pitchFamily="18" charset="0"/>
              </a:rPr>
              <a:t>1</a:t>
            </a:r>
          </a:p>
        </p:txBody>
      </p:sp>
      <p:sp>
        <p:nvSpPr>
          <p:cNvPr id="31" name="Rectangle 30">
            <a:extLst>
              <a:ext uri="{FF2B5EF4-FFF2-40B4-BE49-F238E27FC236}">
                <a16:creationId xmlns:a16="http://schemas.microsoft.com/office/drawing/2014/main" id="{7F6C949E-4C66-4A42-A855-8EAA26C9DC50}"/>
              </a:ext>
            </a:extLst>
          </p:cNvPr>
          <p:cNvSpPr/>
          <p:nvPr userDrawn="1">
            <p:custDataLst>
              <p:tags r:id="rId10"/>
            </p:custDataLst>
          </p:nvPr>
        </p:nvSpPr>
        <p:spPr>
          <a:xfrm>
            <a:off x="0" y="0"/>
            <a:ext cx="9144000" cy="68580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658119713"/>
      </p:ext>
    </p:extLst>
  </p:cSld>
  <p:clrMapOvr>
    <a:masterClrMapping/>
  </p:clrMapOvr>
  <p:extLst>
    <p:ext uri="{DCECCB84-F9BA-43D5-87BE-67443E8EF086}">
      <p15:sldGuideLst xmlns:p15="http://schemas.microsoft.com/office/powerpoint/2012/main">
        <p15:guide id="1" orient="horz" pos="84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4" name="TextBox 13">
            <a:hlinkClick r:id="" action="ppaction://noaction"/>
            <a:extLst>
              <a:ext uri="{FF2B5EF4-FFF2-40B4-BE49-F238E27FC236}">
                <a16:creationId xmlns:a16="http://schemas.microsoft.com/office/drawing/2014/main" id="{1D2FDFD5-C013-431E-9306-E71B2BBE9631}"/>
              </a:ext>
            </a:extLst>
          </p:cNvPr>
          <p:cNvSpPr txBox="1">
            <a:spLocks/>
          </p:cNvSpPr>
          <p:nvPr userDrawn="1">
            <p:custDataLst>
              <p:tags r:id="rId1"/>
            </p:custDataLst>
          </p:nvPr>
        </p:nvSpPr>
        <p:spPr>
          <a:xfrm>
            <a:off x="7987074" y="1766894"/>
            <a:ext cx="540000" cy="216000"/>
          </a:xfrm>
          <a:prstGeom prst="rect">
            <a:avLst/>
          </a:prstGeom>
          <a:noFill/>
          <a:extLst>
            <a:ext uri="{909E8E84-426E-40DD-AFC4-6F175D3DCCD1}">
              <a14:hiddenFill xmlns:a14="http://schemas.microsoft.com/office/drawing/2010/main">
                <a:solidFill>
                  <a:srgbClr val="4F81BD"/>
                </a:solidFill>
              </a14:hiddenFill>
            </a:ext>
          </a:extLst>
        </p:spPr>
        <p:txBody>
          <a:bodyPr vert="horz" wrap="square" lIns="0" tIns="0" rIns="0" bIns="0" rtlCol="0" anchor="t" anchorCtr="0">
            <a:noAutofit/>
          </a:bodyPr>
          <a:lstStyle/>
          <a:p>
            <a:pPr algn="r"/>
            <a:r>
              <a:rPr lang="de-DE" sz="1400" b="1" i="0" dirty="0">
                <a:solidFill>
                  <a:schemeClr val="tx1"/>
                </a:solidFill>
                <a:latin typeface="Arial" panose="020B0604020202020204" pitchFamily="34" charset="0"/>
                <a:cs typeface="Arial" panose="020B0604020202020204" pitchFamily="34" charset="0"/>
              </a:rPr>
              <a:t>4</a:t>
            </a:r>
          </a:p>
        </p:txBody>
      </p:sp>
      <p:sp>
        <p:nvSpPr>
          <p:cNvPr id="15" name="TextBox 14">
            <a:hlinkClick r:id="" action="ppaction://noaction"/>
            <a:extLst>
              <a:ext uri="{FF2B5EF4-FFF2-40B4-BE49-F238E27FC236}">
                <a16:creationId xmlns:a16="http://schemas.microsoft.com/office/drawing/2014/main" id="{DA5E9558-1CD5-46CF-8B1D-7560597648E5}"/>
              </a:ext>
            </a:extLst>
          </p:cNvPr>
          <p:cNvSpPr txBox="1">
            <a:spLocks/>
          </p:cNvSpPr>
          <p:nvPr userDrawn="1">
            <p:custDataLst>
              <p:tags r:id="rId2"/>
            </p:custDataLst>
          </p:nvPr>
        </p:nvSpPr>
        <p:spPr>
          <a:xfrm>
            <a:off x="1619671" y="2266950"/>
            <a:ext cx="6193753" cy="216000"/>
          </a:xfrm>
          <a:prstGeom prst="rect">
            <a:avLst/>
          </a:prstGeom>
          <a:noFill/>
        </p:spPr>
        <p:txBody>
          <a:bodyPr vert="horz" wrap="square" lIns="0" tIns="0" rIns="0" bIns="0" rtlCol="0" anchor="t" anchorCtr="0">
            <a:noAutofit/>
          </a:bodyPr>
          <a:lstStyle/>
          <a:p>
            <a:pPr algn="l"/>
            <a:r>
              <a:rPr lang="de-DE" sz="1200" i="1" dirty="0">
                <a:solidFill>
                  <a:schemeClr val="tx1"/>
                </a:solidFill>
                <a:latin typeface="Arial" panose="020B0604020202020204" pitchFamily="34" charset="0"/>
                <a:cs typeface="Arial" panose="020B0604020202020204" pitchFamily="34" charset="0"/>
              </a:rPr>
              <a:t>A</a:t>
            </a:r>
          </a:p>
        </p:txBody>
      </p:sp>
      <p:sp>
        <p:nvSpPr>
          <p:cNvPr id="18" name="TextBox 17">
            <a:hlinkClick r:id="rId12" action="ppaction://hlinksldjump"/>
            <a:extLst>
              <a:ext uri="{FF2B5EF4-FFF2-40B4-BE49-F238E27FC236}">
                <a16:creationId xmlns:a16="http://schemas.microsoft.com/office/drawing/2014/main" id="{9D33F22E-F049-41D8-878D-191BE8AD3A7C}"/>
              </a:ext>
            </a:extLst>
          </p:cNvPr>
          <p:cNvSpPr txBox="1"/>
          <p:nvPr userDrawn="1">
            <p:custDataLst>
              <p:tags r:id="rId3"/>
            </p:custDataLst>
          </p:nvPr>
        </p:nvSpPr>
        <p:spPr bwMode="gray">
          <a:xfrm>
            <a:off x="467717" y="2636503"/>
            <a:ext cx="1080120" cy="1152525"/>
          </a:xfrm>
          <a:prstGeom prst="rect">
            <a:avLst/>
          </a:prstGeom>
        </p:spPr>
        <p:txBody>
          <a:bodyPr vert="horz" wrap="none" lIns="0" tIns="36000" rIns="0" bIns="0" rtlCol="0" anchor="t" anchorCtr="0">
            <a:noAutofit/>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kumimoji="0" lang="de-DE" sz="8800" b="1" i="0" u="none" strike="noStrike" kern="1200" cap="none" spc="0" normalizeH="0" baseline="0" noProof="0" dirty="0">
                <a:ln>
                  <a:noFill/>
                </a:ln>
                <a:solidFill>
                  <a:srgbClr val="C6562C"/>
                </a:solidFill>
                <a:effectLst/>
                <a:uLnTx/>
                <a:uFillTx/>
                <a:latin typeface="Garamond" panose="02020404030301010803" pitchFamily="18" charset="0"/>
                <a:ea typeface="+mn-ea"/>
                <a:cs typeface="+mn-cs"/>
              </a:rPr>
              <a:t>1</a:t>
            </a:r>
          </a:p>
        </p:txBody>
      </p:sp>
      <p:sp>
        <p:nvSpPr>
          <p:cNvPr id="19" name="Rectangle 18">
            <a:extLst>
              <a:ext uri="{FF2B5EF4-FFF2-40B4-BE49-F238E27FC236}">
                <a16:creationId xmlns:a16="http://schemas.microsoft.com/office/drawing/2014/main" id="{98F7F5E9-5B97-411D-8727-6258E93ED0E4}"/>
              </a:ext>
            </a:extLst>
          </p:cNvPr>
          <p:cNvSpPr/>
          <p:nvPr userDrawn="1">
            <p:custDataLst>
              <p:tags r:id="rId4"/>
            </p:custDataLst>
          </p:nvPr>
        </p:nvSpPr>
        <p:spPr>
          <a:xfrm>
            <a:off x="503548" y="2564904"/>
            <a:ext cx="6048672" cy="35643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20" name="TextBox 19">
            <a:hlinkClick r:id="rId13" action="ppaction://hlinksldjump"/>
            <a:extLst>
              <a:ext uri="{FF2B5EF4-FFF2-40B4-BE49-F238E27FC236}">
                <a16:creationId xmlns:a16="http://schemas.microsoft.com/office/drawing/2014/main" id="{451884F1-B500-421E-98FA-BA74359D96C8}"/>
              </a:ext>
            </a:extLst>
          </p:cNvPr>
          <p:cNvSpPr txBox="1"/>
          <p:nvPr userDrawn="1">
            <p:custDataLst>
              <p:tags r:id="rId5"/>
            </p:custDataLst>
          </p:nvPr>
        </p:nvSpPr>
        <p:spPr bwMode="gray">
          <a:xfrm>
            <a:off x="1691766" y="2564904"/>
            <a:ext cx="4608425" cy="1497392"/>
          </a:xfrm>
          <a:prstGeom prst="rect">
            <a:avLst/>
          </a:prstGeom>
          <a:noFill/>
          <a:ln>
            <a:noFill/>
          </a:ln>
          <a:effectLst>
            <a:outerShdw blurRad="76200" sx="101000" sy="101000" algn="ctr" rotWithShape="0">
              <a:sysClr val="windowText" lastClr="000000">
                <a:alpha val="30000"/>
              </a:sysClr>
            </a:outerShdw>
          </a:effectLst>
        </p:spPr>
        <p:txBody>
          <a:bodyPr vert="horz" lIns="0" tIns="0" rIns="0" bIns="342000" rtlCol="0" anchor="b"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de-DE" sz="3000" b="0" i="0" u="none" strike="noStrike" kern="1200" cap="none" spc="0" normalizeH="0" baseline="0" noProof="0" dirty="0">
                <a:ln>
                  <a:noFill/>
                </a:ln>
                <a:solidFill>
                  <a:srgbClr val="C6562C"/>
                </a:solidFill>
                <a:effectLst/>
                <a:uLnTx/>
                <a:uFillTx/>
                <a:latin typeface="Arial"/>
                <a:ea typeface="+mj-ea"/>
                <a:cs typeface="+mj-cs"/>
              </a:rPr>
              <a:t>A</a:t>
            </a:r>
          </a:p>
        </p:txBody>
      </p:sp>
      <p:sp>
        <p:nvSpPr>
          <p:cNvPr id="22" name="TextBox 21">
            <a:hlinkClick r:id="" action="ppaction://noaction"/>
            <a:extLst>
              <a:ext uri="{FF2B5EF4-FFF2-40B4-BE49-F238E27FC236}">
                <a16:creationId xmlns:a16="http://schemas.microsoft.com/office/drawing/2014/main" id="{05C9F765-BADD-4555-8FD5-82F75E57CD57}"/>
              </a:ext>
            </a:extLst>
          </p:cNvPr>
          <p:cNvSpPr txBox="1"/>
          <p:nvPr userDrawn="1">
            <p:custDataLst>
              <p:tags r:id="rId6"/>
            </p:custDataLst>
          </p:nvPr>
        </p:nvSpPr>
        <p:spPr>
          <a:xfrm>
            <a:off x="1583668" y="4113096"/>
            <a:ext cx="612068" cy="180000"/>
          </a:xfrm>
          <a:prstGeom prst="rect">
            <a:avLst/>
          </a:prstGeom>
          <a:noFill/>
        </p:spPr>
        <p:txBody>
          <a:bodyPr vert="horz" wrap="none" lIns="0" tIns="0" rIns="0" bIns="0" rtlCol="0" anchor="t">
            <a:noAutofit/>
          </a:bodyPr>
          <a:lstStyle/>
          <a:p>
            <a:pPr algn="l"/>
            <a:r>
              <a:rPr lang="de-DE" sz="1200" dirty="0">
                <a:solidFill>
                  <a:srgbClr val="000000"/>
                </a:solidFill>
              </a:rPr>
              <a:t>3.1</a:t>
            </a:r>
          </a:p>
        </p:txBody>
      </p:sp>
      <p:sp>
        <p:nvSpPr>
          <p:cNvPr id="23" name="TextBox 22">
            <a:hlinkClick r:id="" action="ppaction://noaction"/>
            <a:extLst>
              <a:ext uri="{FF2B5EF4-FFF2-40B4-BE49-F238E27FC236}">
                <a16:creationId xmlns:a16="http://schemas.microsoft.com/office/drawing/2014/main" id="{A7B6A99D-1019-496D-8F8E-A02CD05850A6}"/>
              </a:ext>
            </a:extLst>
          </p:cNvPr>
          <p:cNvSpPr txBox="1"/>
          <p:nvPr userDrawn="1">
            <p:custDataLst>
              <p:tags r:id="rId7"/>
            </p:custDataLst>
          </p:nvPr>
        </p:nvSpPr>
        <p:spPr>
          <a:xfrm>
            <a:off x="2195736" y="4113096"/>
            <a:ext cx="4104455" cy="180000"/>
          </a:xfrm>
          <a:prstGeom prst="rect">
            <a:avLst/>
          </a:prstGeom>
          <a:noFill/>
        </p:spPr>
        <p:txBody>
          <a:bodyPr vert="horz" wrap="square" lIns="0" tIns="0" rIns="0" bIns="0" rtlCol="0" anchor="t">
            <a:noAutofit/>
          </a:bodyPr>
          <a:lstStyle/>
          <a:p>
            <a:pPr algn="l"/>
            <a:r>
              <a:rPr lang="de-DE" sz="1200" dirty="0">
                <a:solidFill>
                  <a:srgbClr val="000000"/>
                </a:solidFill>
              </a:rPr>
              <a:t>A</a:t>
            </a:r>
          </a:p>
        </p:txBody>
      </p:sp>
      <p:sp>
        <p:nvSpPr>
          <p:cNvPr id="24" name="TextBox 23">
            <a:hlinkClick r:id="" action="ppaction://noaction"/>
            <a:extLst>
              <a:ext uri="{FF2B5EF4-FFF2-40B4-BE49-F238E27FC236}">
                <a16:creationId xmlns:a16="http://schemas.microsoft.com/office/drawing/2014/main" id="{11828B90-9C45-4735-9580-3C3E10F92C0F}"/>
              </a:ext>
            </a:extLst>
          </p:cNvPr>
          <p:cNvSpPr txBox="1"/>
          <p:nvPr userDrawn="1">
            <p:custDataLst>
              <p:tags r:id="rId8"/>
            </p:custDataLst>
          </p:nvPr>
        </p:nvSpPr>
        <p:spPr>
          <a:xfrm>
            <a:off x="6300190" y="4113096"/>
            <a:ext cx="258572"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tIns="0" rIns="0" bIns="0" rtlCol="0" anchor="t" anchorCtr="0">
            <a:noAutofit/>
          </a:bodyPr>
          <a:lstStyle/>
          <a:p>
            <a:pPr algn="r"/>
            <a:r>
              <a:rPr lang="de-DE" sz="1400" i="1" dirty="0">
                <a:noFill/>
                <a:latin typeface="Arial" panose="020B0604020202020204" pitchFamily="34" charset="0"/>
                <a:cs typeface="Arial" panose="020B0604020202020204" pitchFamily="34" charset="0"/>
              </a:rPr>
              <a:t>6</a:t>
            </a:r>
          </a:p>
        </p:txBody>
      </p:sp>
      <p:sp>
        <p:nvSpPr>
          <p:cNvPr id="25" name="Rectangle 24">
            <a:extLst>
              <a:ext uri="{FF2B5EF4-FFF2-40B4-BE49-F238E27FC236}">
                <a16:creationId xmlns:a16="http://schemas.microsoft.com/office/drawing/2014/main" id="{EF027C91-2C41-4126-93EC-8B611A94FB15}"/>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TextBox 48">
            <a:hlinkClick r:id="" action="ppaction://noaction"/>
            <a:extLst>
              <a:ext uri="{FF2B5EF4-FFF2-40B4-BE49-F238E27FC236}">
                <a16:creationId xmlns:a16="http://schemas.microsoft.com/office/drawing/2014/main" id="{7B413E8B-730E-42EB-B257-411C93169D51}"/>
              </a:ext>
            </a:extLst>
          </p:cNvPr>
          <p:cNvSpPr txBox="1"/>
          <p:nvPr userDrawn="1">
            <p:custDataLst>
              <p:tags r:id="rId9"/>
            </p:custDataLst>
          </p:nvPr>
        </p:nvSpPr>
        <p:spPr>
          <a:xfrm>
            <a:off x="503548" y="3789028"/>
            <a:ext cx="6120619" cy="108024"/>
          </a:xfrm>
          <a:prstGeom prst="rect">
            <a:avLst/>
          </a:prstGeom>
          <a:solidFill>
            <a:schemeClr val="bg1"/>
          </a:solidFill>
        </p:spPr>
        <p:txBody>
          <a:bodyPr vert="horz" wrap="none" lIns="0" tIns="0" rIns="0" bIns="0"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b="1" dirty="0">
                <a:noFill/>
                <a:latin typeface="Arial" panose="020B0604020202020204" pitchFamily="34" charset="0"/>
                <a:cs typeface="Arial" panose="020B0604020202020204" pitchFamily="34" charset="0"/>
              </a:rPr>
              <a:t>  </a:t>
            </a:r>
          </a:p>
        </p:txBody>
      </p:sp>
      <p:sp>
        <p:nvSpPr>
          <p:cNvPr id="27" name="Rectangle 26">
            <a:extLst>
              <a:ext uri="{FF2B5EF4-FFF2-40B4-BE49-F238E27FC236}">
                <a16:creationId xmlns:a16="http://schemas.microsoft.com/office/drawing/2014/main" id="{CE1FE1D9-3C6D-4472-9D10-50FBF4A9D7F4}"/>
              </a:ext>
            </a:extLst>
          </p:cNvPr>
          <p:cNvSpPr/>
          <p:nvPr userDrawn="1">
            <p:custDataLst>
              <p:tags r:id="rId10"/>
            </p:custDataLst>
          </p:nvPr>
        </p:nvSpPr>
        <p:spPr>
          <a:xfrm>
            <a:off x="0" y="0"/>
            <a:ext cx="9144000" cy="68580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061722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A22D5F2-15BF-4976-8A60-39E47A82EDA0}"/>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Rectangle 5">
            <a:extLst>
              <a:ext uri="{FF2B5EF4-FFF2-40B4-BE49-F238E27FC236}">
                <a16:creationId xmlns:a16="http://schemas.microsoft.com/office/drawing/2014/main" id="{6A701E03-B6D0-4466-AD7F-67CFFC109A5C}"/>
              </a:ext>
            </a:extLst>
          </p:cNvPr>
          <p:cNvSpPr/>
          <p:nvPr userDrawn="1">
            <p:custDataLst>
              <p:tags r:id="rId1"/>
            </p:custDataLst>
          </p:nvPr>
        </p:nvSpPr>
        <p:spPr>
          <a:xfrm>
            <a:off x="0" y="0"/>
            <a:ext cx="9144000" cy="68580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577352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folie&#10;Title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67544" y="2780928"/>
            <a:ext cx="5472881" cy="1008112"/>
          </a:xfrm>
        </p:spPr>
        <p:txBody>
          <a:bodyPr anchor="b"/>
          <a:lstStyle>
            <a:lvl1pPr>
              <a:defRPr sz="3000" b="0">
                <a:solidFill>
                  <a:schemeClr val="tx2"/>
                </a:solidFill>
              </a:defRPr>
            </a:lvl1pPr>
          </a:lstStyle>
          <a:p>
            <a:r>
              <a:rPr lang="de-DE" dirty="0"/>
              <a:t>Titel der </a:t>
            </a:r>
            <a:br>
              <a:rPr lang="de-DE" dirty="0"/>
            </a:br>
            <a:r>
              <a:rPr lang="de-DE" dirty="0"/>
              <a:t>Präsentation</a:t>
            </a:r>
          </a:p>
        </p:txBody>
      </p:sp>
      <p:sp>
        <p:nvSpPr>
          <p:cNvPr id="3" name="Untertitel 2"/>
          <p:cNvSpPr>
            <a:spLocks noGrp="1"/>
          </p:cNvSpPr>
          <p:nvPr>
            <p:ph type="subTitle" idx="1" hasCustomPrompt="1"/>
          </p:nvPr>
        </p:nvSpPr>
        <p:spPr bwMode="gray">
          <a:xfrm>
            <a:off x="467544" y="4149080"/>
            <a:ext cx="5472881" cy="1943621"/>
          </a:xfrm>
        </p:spPr>
        <p:txBody>
          <a:bodyPr/>
          <a:lstStyle>
            <a:lvl1pPr marL="0" indent="0" algn="l">
              <a:spcBef>
                <a:spcPts val="0"/>
              </a:spcBef>
              <a:spcAft>
                <a:spcPts val="336"/>
              </a:spcAft>
              <a:buNone/>
              <a:defRPr sz="1600">
                <a:solidFill>
                  <a:schemeClr val="tx1"/>
                </a:solidFill>
              </a:defRPr>
            </a:lvl1pPr>
            <a:lvl2pPr marL="0" indent="0" algn="l">
              <a:spcBef>
                <a:spcPts val="1900"/>
              </a:spcBef>
              <a:buNone/>
              <a:defRPr sz="1600">
                <a:solidFill>
                  <a:schemeClr val="tx1"/>
                </a:solidFill>
              </a:defRPr>
            </a:lvl2pPr>
            <a:lvl3pPr marL="0" indent="0" algn="l">
              <a:buNone/>
              <a:defRPr sz="1600">
                <a:solidFill>
                  <a:schemeClr val="tx1"/>
                </a:solidFill>
              </a:defRPr>
            </a:lvl3pPr>
            <a:lvl4pPr marL="0" indent="0" algn="l">
              <a:buNone/>
              <a:defRPr sz="1600">
                <a:solidFill>
                  <a:schemeClr val="tx1"/>
                </a:solidFill>
              </a:defRPr>
            </a:lvl4pPr>
            <a:lvl5pPr marL="0" indent="0" algn="l">
              <a:buNone/>
              <a:defRPr sz="1600">
                <a:solidFill>
                  <a:schemeClr val="tx1"/>
                </a:solidFill>
              </a:defRPr>
            </a:lvl5pPr>
            <a:lvl6pPr marL="0" indent="0" algn="l">
              <a:buNone/>
              <a:defRPr sz="1600">
                <a:solidFill>
                  <a:schemeClr val="tx1"/>
                </a:solidFill>
              </a:defRPr>
            </a:lvl6pPr>
            <a:lvl7pPr marL="0" indent="0" algn="l">
              <a:buNone/>
              <a:defRPr sz="1600">
                <a:solidFill>
                  <a:schemeClr val="tx1"/>
                </a:solidFill>
              </a:defRPr>
            </a:lvl7pPr>
            <a:lvl8pPr marL="0" indent="0" algn="l">
              <a:buNone/>
              <a:defRPr sz="1600">
                <a:solidFill>
                  <a:schemeClr val="tx1"/>
                </a:solidFill>
              </a:defRPr>
            </a:lvl8pPr>
            <a:lvl9pPr marL="0" indent="0" algn="l">
              <a:buNone/>
              <a:defRPr sz="1600">
                <a:solidFill>
                  <a:schemeClr val="tx1"/>
                </a:solidFill>
              </a:defRPr>
            </a:lvl9pPr>
          </a:lstStyle>
          <a:p>
            <a:pPr lvl="0"/>
            <a:r>
              <a:rPr lang="de-DE" dirty="0"/>
              <a:t>Untertitel der Präsentation</a:t>
            </a:r>
          </a:p>
          <a:p>
            <a:pPr lvl="0"/>
            <a:r>
              <a:rPr lang="de-DE" dirty="0"/>
              <a:t>Name des Referenten</a:t>
            </a:r>
          </a:p>
        </p:txBody>
      </p:sp>
      <p:sp>
        <p:nvSpPr>
          <p:cNvPr id="4" name="Freeform 5">
            <a:extLst>
              <a:ext uri="{FF2B5EF4-FFF2-40B4-BE49-F238E27FC236}">
                <a16:creationId xmlns:a16="http://schemas.microsoft.com/office/drawing/2014/main" id="{268FD0F6-254B-418F-9D45-21F4FA0B64C6}"/>
              </a:ext>
            </a:extLst>
          </p:cNvPr>
          <p:cNvSpPr>
            <a:spLocks noEditPoints="1"/>
          </p:cNvSpPr>
          <p:nvPr userDrawn="1"/>
        </p:nvSpPr>
        <p:spPr bwMode="gray">
          <a:xfrm>
            <a:off x="6804248" y="3587332"/>
            <a:ext cx="2089150" cy="2721990"/>
          </a:xfrm>
          <a:custGeom>
            <a:avLst/>
            <a:gdLst>
              <a:gd name="T0" fmla="*/ 14288 w 41911"/>
              <a:gd name="T1" fmla="*/ 4847 h 54658"/>
              <a:gd name="T2" fmla="*/ 41864 w 41911"/>
              <a:gd name="T3" fmla="*/ 34339 h 54658"/>
              <a:gd name="T4" fmla="*/ 35293 w 41911"/>
              <a:gd name="T5" fmla="*/ 46743 h 54658"/>
              <a:gd name="T6" fmla="*/ 2947 w 41911"/>
              <a:gd name="T7" fmla="*/ 44607 h 54658"/>
              <a:gd name="T8" fmla="*/ 315 w 41911"/>
              <a:gd name="T9" fmla="*/ 22915 h 54658"/>
              <a:gd name="T10" fmla="*/ 9854 w 41911"/>
              <a:gd name="T11" fmla="*/ 10375 h 54658"/>
              <a:gd name="T12" fmla="*/ 28064 w 41911"/>
              <a:gd name="T13" fmla="*/ 9179 h 54658"/>
              <a:gd name="T14" fmla="*/ 30635 w 41911"/>
              <a:gd name="T15" fmla="*/ 8538 h 54658"/>
              <a:gd name="T16" fmla="*/ 41594 w 41911"/>
              <a:gd name="T17" fmla="*/ 22915 h 54658"/>
              <a:gd name="T18" fmla="*/ 36510 w 41911"/>
              <a:gd name="T19" fmla="*/ 21384 h 54658"/>
              <a:gd name="T20" fmla="*/ 39471 w 41911"/>
              <a:gd name="T21" fmla="*/ 28521 h 54658"/>
              <a:gd name="T22" fmla="*/ 30954 w 41911"/>
              <a:gd name="T23" fmla="*/ 19606 h 54658"/>
              <a:gd name="T24" fmla="*/ 15777 w 41911"/>
              <a:gd name="T25" fmla="*/ 17358 h 54658"/>
              <a:gd name="T26" fmla="*/ 16288 w 41911"/>
              <a:gd name="T27" fmla="*/ 16780 h 54658"/>
              <a:gd name="T28" fmla="*/ 24805 w 41911"/>
              <a:gd name="T29" fmla="*/ 10424 h 54658"/>
              <a:gd name="T30" fmla="*/ 20075 w 41911"/>
              <a:gd name="T31" fmla="*/ 9501 h 54658"/>
              <a:gd name="T32" fmla="*/ 38527 w 41911"/>
              <a:gd name="T33" fmla="*/ 13478 h 54658"/>
              <a:gd name="T34" fmla="*/ 31177 w 41911"/>
              <a:gd name="T35" fmla="*/ 16094 h 54658"/>
              <a:gd name="T36" fmla="*/ 31177 w 41911"/>
              <a:gd name="T37" fmla="*/ 16094 h 54658"/>
              <a:gd name="T38" fmla="*/ 27250 w 41911"/>
              <a:gd name="T39" fmla="*/ 9544 h 54658"/>
              <a:gd name="T40" fmla="*/ 3356 w 41911"/>
              <a:gd name="T41" fmla="*/ 13528 h 54658"/>
              <a:gd name="T42" fmla="*/ 10780 w 41911"/>
              <a:gd name="T43" fmla="*/ 18958 h 54658"/>
              <a:gd name="T44" fmla="*/ 963 w 41911"/>
              <a:gd name="T45" fmla="*/ 23209 h 54658"/>
              <a:gd name="T46" fmla="*/ 5290 w 41911"/>
              <a:gd name="T47" fmla="*/ 30407 h 54658"/>
              <a:gd name="T48" fmla="*/ 2469 w 41911"/>
              <a:gd name="T49" fmla="*/ 47978 h 54658"/>
              <a:gd name="T50" fmla="*/ 7399 w 41911"/>
              <a:gd name="T51" fmla="*/ 39409 h 54658"/>
              <a:gd name="T52" fmla="*/ 20705 w 41911"/>
              <a:gd name="T53" fmla="*/ 53333 h 54658"/>
              <a:gd name="T54" fmla="*/ 21365 w 41911"/>
              <a:gd name="T55" fmla="*/ 53330 h 54658"/>
              <a:gd name="T56" fmla="*/ 35307 w 41911"/>
              <a:gd name="T57" fmla="*/ 31359 h 54658"/>
              <a:gd name="T58" fmla="*/ 39497 w 41911"/>
              <a:gd name="T59" fmla="*/ 42224 h 54658"/>
              <a:gd name="T60" fmla="*/ 35532 w 41911"/>
              <a:gd name="T61" fmla="*/ 38794 h 54658"/>
              <a:gd name="T62" fmla="*/ 28436 w 41911"/>
              <a:gd name="T63" fmla="*/ 29129 h 54658"/>
              <a:gd name="T64" fmla="*/ 29444 w 41911"/>
              <a:gd name="T65" fmla="*/ 25659 h 54658"/>
              <a:gd name="T66" fmla="*/ 28412 w 41911"/>
              <a:gd name="T67" fmla="*/ 28104 h 54658"/>
              <a:gd name="T68" fmla="*/ 25373 w 41911"/>
              <a:gd name="T69" fmla="*/ 27098 h 54658"/>
              <a:gd name="T70" fmla="*/ 26315 w 41911"/>
              <a:gd name="T71" fmla="*/ 33478 h 54658"/>
              <a:gd name="T72" fmla="*/ 23574 w 41911"/>
              <a:gd name="T73" fmla="*/ 29101 h 54658"/>
              <a:gd name="T74" fmla="*/ 32313 w 41911"/>
              <a:gd name="T75" fmla="*/ 36209 h 54658"/>
              <a:gd name="T76" fmla="*/ 28921 w 41911"/>
              <a:gd name="T77" fmla="*/ 45500 h 54658"/>
              <a:gd name="T78" fmla="*/ 24592 w 41911"/>
              <a:gd name="T79" fmla="*/ 47474 h 54658"/>
              <a:gd name="T80" fmla="*/ 22982 w 41911"/>
              <a:gd name="T81" fmla="*/ 44787 h 54658"/>
              <a:gd name="T82" fmla="*/ 29222 w 41911"/>
              <a:gd name="T83" fmla="*/ 33238 h 54658"/>
              <a:gd name="T84" fmla="*/ 26755 w 41911"/>
              <a:gd name="T85" fmla="*/ 42816 h 54658"/>
              <a:gd name="T86" fmla="*/ 25418 w 41911"/>
              <a:gd name="T87" fmla="*/ 43876 h 54658"/>
              <a:gd name="T88" fmla="*/ 23569 w 41911"/>
              <a:gd name="T89" fmla="*/ 46967 h 54658"/>
              <a:gd name="T90" fmla="*/ 26258 w 41911"/>
              <a:gd name="T91" fmla="*/ 46035 h 54658"/>
              <a:gd name="T92" fmla="*/ 30784 w 41911"/>
              <a:gd name="T93" fmla="*/ 44776 h 54658"/>
              <a:gd name="T94" fmla="*/ 18882 w 41911"/>
              <a:gd name="T95" fmla="*/ 36505 h 54658"/>
              <a:gd name="T96" fmla="*/ 14853 w 41911"/>
              <a:gd name="T97" fmla="*/ 28625 h 54658"/>
              <a:gd name="T98" fmla="*/ 11355 w 41911"/>
              <a:gd name="T99" fmla="*/ 31418 h 54658"/>
              <a:gd name="T100" fmla="*/ 8969 w 41911"/>
              <a:gd name="T101" fmla="*/ 26539 h 54658"/>
              <a:gd name="T102" fmla="*/ 10126 w 41911"/>
              <a:gd name="T103" fmla="*/ 33880 h 54658"/>
              <a:gd name="T104" fmla="*/ 9809 w 41911"/>
              <a:gd name="T105" fmla="*/ 40089 h 54658"/>
              <a:gd name="T106" fmla="*/ 13102 w 41911"/>
              <a:gd name="T107" fmla="*/ 36505 h 54658"/>
              <a:gd name="T108" fmla="*/ 13570 w 41911"/>
              <a:gd name="T109" fmla="*/ 47720 h 54658"/>
              <a:gd name="T110" fmla="*/ 16515 w 41911"/>
              <a:gd name="T111" fmla="*/ 47720 h 54658"/>
              <a:gd name="T112" fmla="*/ 26810 w 41911"/>
              <a:gd name="T113" fmla="*/ 7709 h 54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11" h="54658">
                <a:moveTo>
                  <a:pt x="20752" y="19"/>
                </a:moveTo>
                <a:cubicBezTo>
                  <a:pt x="20752" y="19"/>
                  <a:pt x="20752" y="19"/>
                  <a:pt x="20752" y="19"/>
                </a:cubicBezTo>
                <a:cubicBezTo>
                  <a:pt x="21192" y="38"/>
                  <a:pt x="27347" y="4012"/>
                  <a:pt x="27347" y="4012"/>
                </a:cubicBezTo>
                <a:cubicBezTo>
                  <a:pt x="14453" y="4028"/>
                  <a:pt x="14453" y="4028"/>
                  <a:pt x="14453" y="4028"/>
                </a:cubicBezTo>
                <a:cubicBezTo>
                  <a:pt x="14453" y="4028"/>
                  <a:pt x="20314" y="0"/>
                  <a:pt x="20752" y="19"/>
                </a:cubicBezTo>
                <a:close/>
                <a:moveTo>
                  <a:pt x="20291" y="4847"/>
                </a:moveTo>
                <a:cubicBezTo>
                  <a:pt x="14288" y="4847"/>
                  <a:pt x="14288" y="4847"/>
                  <a:pt x="14288" y="4847"/>
                </a:cubicBezTo>
                <a:cubicBezTo>
                  <a:pt x="15019" y="7709"/>
                  <a:pt x="15019" y="7709"/>
                  <a:pt x="15019" y="7709"/>
                </a:cubicBezTo>
                <a:cubicBezTo>
                  <a:pt x="20291" y="4847"/>
                  <a:pt x="20291" y="4847"/>
                  <a:pt x="20291" y="4847"/>
                </a:cubicBezTo>
                <a:cubicBezTo>
                  <a:pt x="20291" y="4847"/>
                  <a:pt x="20291" y="4847"/>
                  <a:pt x="20291" y="4847"/>
                </a:cubicBezTo>
                <a:close/>
                <a:moveTo>
                  <a:pt x="41651" y="23095"/>
                </a:moveTo>
                <a:cubicBezTo>
                  <a:pt x="41651" y="23095"/>
                  <a:pt x="41651" y="23095"/>
                  <a:pt x="41651" y="23095"/>
                </a:cubicBezTo>
                <a:cubicBezTo>
                  <a:pt x="41911" y="34256"/>
                  <a:pt x="41911" y="34256"/>
                  <a:pt x="41911" y="34256"/>
                </a:cubicBezTo>
                <a:cubicBezTo>
                  <a:pt x="41864" y="34339"/>
                  <a:pt x="41864" y="34339"/>
                  <a:pt x="41864" y="34339"/>
                </a:cubicBezTo>
                <a:cubicBezTo>
                  <a:pt x="41815" y="34429"/>
                  <a:pt x="40640" y="36524"/>
                  <a:pt x="35615" y="39573"/>
                </a:cubicBezTo>
                <a:cubicBezTo>
                  <a:pt x="36202" y="40110"/>
                  <a:pt x="37672" y="41225"/>
                  <a:pt x="40103" y="41618"/>
                </a:cubicBezTo>
                <a:cubicBezTo>
                  <a:pt x="40605" y="41698"/>
                  <a:pt x="40605" y="41698"/>
                  <a:pt x="40605" y="41698"/>
                </a:cubicBezTo>
                <a:cubicBezTo>
                  <a:pt x="38962" y="44607"/>
                  <a:pt x="38962" y="44607"/>
                  <a:pt x="38962" y="44607"/>
                </a:cubicBezTo>
                <a:cubicBezTo>
                  <a:pt x="40565" y="49001"/>
                  <a:pt x="40565" y="49001"/>
                  <a:pt x="40565" y="49001"/>
                </a:cubicBezTo>
                <a:cubicBezTo>
                  <a:pt x="39930" y="48854"/>
                  <a:pt x="39930" y="48854"/>
                  <a:pt x="39930" y="48854"/>
                </a:cubicBezTo>
                <a:cubicBezTo>
                  <a:pt x="39833" y="48833"/>
                  <a:pt x="37608" y="48310"/>
                  <a:pt x="35293" y="46743"/>
                </a:cubicBezTo>
                <a:cubicBezTo>
                  <a:pt x="34145" y="48149"/>
                  <a:pt x="28438" y="54658"/>
                  <a:pt x="21365" y="54658"/>
                </a:cubicBezTo>
                <a:cubicBezTo>
                  <a:pt x="21230" y="54658"/>
                  <a:pt x="21093" y="54656"/>
                  <a:pt x="20956" y="54651"/>
                </a:cubicBezTo>
                <a:cubicBezTo>
                  <a:pt x="20818" y="54656"/>
                  <a:pt x="20681" y="54658"/>
                  <a:pt x="20544" y="54658"/>
                </a:cubicBezTo>
                <a:cubicBezTo>
                  <a:pt x="13471" y="54658"/>
                  <a:pt x="7766" y="48149"/>
                  <a:pt x="6616" y="46743"/>
                </a:cubicBezTo>
                <a:cubicBezTo>
                  <a:pt x="4301" y="48310"/>
                  <a:pt x="2078" y="48833"/>
                  <a:pt x="1979" y="48854"/>
                </a:cubicBezTo>
                <a:cubicBezTo>
                  <a:pt x="1347" y="49001"/>
                  <a:pt x="1347" y="49001"/>
                  <a:pt x="1347" y="49001"/>
                </a:cubicBezTo>
                <a:cubicBezTo>
                  <a:pt x="2947" y="44607"/>
                  <a:pt x="2947" y="44607"/>
                  <a:pt x="2947" y="44607"/>
                </a:cubicBezTo>
                <a:cubicBezTo>
                  <a:pt x="1307" y="41698"/>
                  <a:pt x="1307" y="41698"/>
                  <a:pt x="1307" y="41698"/>
                </a:cubicBezTo>
                <a:cubicBezTo>
                  <a:pt x="1806" y="41618"/>
                  <a:pt x="1806" y="41618"/>
                  <a:pt x="1806" y="41618"/>
                </a:cubicBezTo>
                <a:cubicBezTo>
                  <a:pt x="4237" y="41225"/>
                  <a:pt x="5707" y="40110"/>
                  <a:pt x="6296" y="39573"/>
                </a:cubicBezTo>
                <a:cubicBezTo>
                  <a:pt x="1271" y="36524"/>
                  <a:pt x="95" y="34429"/>
                  <a:pt x="45" y="34339"/>
                </a:cubicBezTo>
                <a:cubicBezTo>
                  <a:pt x="0" y="34256"/>
                  <a:pt x="0" y="34256"/>
                  <a:pt x="0" y="34256"/>
                </a:cubicBezTo>
                <a:cubicBezTo>
                  <a:pt x="263" y="22998"/>
                  <a:pt x="263" y="22998"/>
                  <a:pt x="263" y="22998"/>
                </a:cubicBezTo>
                <a:cubicBezTo>
                  <a:pt x="315" y="22915"/>
                  <a:pt x="315" y="22915"/>
                  <a:pt x="315" y="22915"/>
                </a:cubicBezTo>
                <a:cubicBezTo>
                  <a:pt x="1723" y="20679"/>
                  <a:pt x="3910" y="19760"/>
                  <a:pt x="5934" y="19436"/>
                </a:cubicBezTo>
                <a:cubicBezTo>
                  <a:pt x="5106" y="19178"/>
                  <a:pt x="1214" y="17836"/>
                  <a:pt x="1214" y="15435"/>
                </a:cubicBezTo>
                <a:cubicBezTo>
                  <a:pt x="1214" y="9863"/>
                  <a:pt x="1214" y="9863"/>
                  <a:pt x="1214" y="9863"/>
                </a:cubicBezTo>
                <a:cubicBezTo>
                  <a:pt x="1290" y="9769"/>
                  <a:pt x="1290" y="9769"/>
                  <a:pt x="1290" y="9769"/>
                </a:cubicBezTo>
                <a:cubicBezTo>
                  <a:pt x="5295" y="4623"/>
                  <a:pt x="11047" y="8100"/>
                  <a:pt x="11104" y="8135"/>
                </a:cubicBezTo>
                <a:cubicBezTo>
                  <a:pt x="11438" y="8341"/>
                  <a:pt x="11438" y="8341"/>
                  <a:pt x="11438" y="8341"/>
                </a:cubicBezTo>
                <a:cubicBezTo>
                  <a:pt x="9854" y="10375"/>
                  <a:pt x="9854" y="10375"/>
                  <a:pt x="9854" y="10375"/>
                </a:cubicBezTo>
                <a:cubicBezTo>
                  <a:pt x="10962" y="13445"/>
                  <a:pt x="10962" y="13445"/>
                  <a:pt x="10962" y="13445"/>
                </a:cubicBezTo>
                <a:cubicBezTo>
                  <a:pt x="10264" y="13206"/>
                  <a:pt x="10264" y="13206"/>
                  <a:pt x="10264" y="13206"/>
                </a:cubicBezTo>
                <a:cubicBezTo>
                  <a:pt x="6481" y="11908"/>
                  <a:pt x="4755" y="13071"/>
                  <a:pt x="4185" y="13634"/>
                </a:cubicBezTo>
                <a:cubicBezTo>
                  <a:pt x="8396" y="16243"/>
                  <a:pt x="13497" y="15248"/>
                  <a:pt x="15081" y="14844"/>
                </a:cubicBezTo>
                <a:cubicBezTo>
                  <a:pt x="13765" y="9518"/>
                  <a:pt x="13765" y="9518"/>
                  <a:pt x="13765" y="9518"/>
                </a:cubicBezTo>
                <a:cubicBezTo>
                  <a:pt x="20949" y="5401"/>
                  <a:pt x="20949" y="5401"/>
                  <a:pt x="20949" y="5401"/>
                </a:cubicBezTo>
                <a:cubicBezTo>
                  <a:pt x="28064" y="9179"/>
                  <a:pt x="28064" y="9179"/>
                  <a:pt x="28064" y="9179"/>
                </a:cubicBezTo>
                <a:cubicBezTo>
                  <a:pt x="27998" y="9444"/>
                  <a:pt x="27998" y="9444"/>
                  <a:pt x="27998" y="9444"/>
                </a:cubicBezTo>
                <a:cubicBezTo>
                  <a:pt x="27607" y="11049"/>
                  <a:pt x="27103" y="13184"/>
                  <a:pt x="26753" y="14796"/>
                </a:cubicBezTo>
                <a:cubicBezTo>
                  <a:pt x="28088" y="15156"/>
                  <a:pt x="33378" y="16328"/>
                  <a:pt x="37738" y="13686"/>
                </a:cubicBezTo>
                <a:cubicBezTo>
                  <a:pt x="37047" y="13094"/>
                  <a:pt x="35319" y="12197"/>
                  <a:pt x="31806" y="13402"/>
                </a:cubicBezTo>
                <a:cubicBezTo>
                  <a:pt x="31113" y="13641"/>
                  <a:pt x="31113" y="13641"/>
                  <a:pt x="31113" y="13641"/>
                </a:cubicBezTo>
                <a:cubicBezTo>
                  <a:pt x="32218" y="10571"/>
                  <a:pt x="32218" y="10571"/>
                  <a:pt x="32218" y="10571"/>
                </a:cubicBezTo>
                <a:cubicBezTo>
                  <a:pt x="30635" y="8538"/>
                  <a:pt x="30635" y="8538"/>
                  <a:pt x="30635" y="8538"/>
                </a:cubicBezTo>
                <a:cubicBezTo>
                  <a:pt x="30971" y="8330"/>
                  <a:pt x="30971" y="8330"/>
                  <a:pt x="30971" y="8330"/>
                </a:cubicBezTo>
                <a:cubicBezTo>
                  <a:pt x="31025" y="8294"/>
                  <a:pt x="36780" y="4819"/>
                  <a:pt x="40782" y="9963"/>
                </a:cubicBezTo>
                <a:cubicBezTo>
                  <a:pt x="40754" y="9986"/>
                  <a:pt x="40754" y="9986"/>
                  <a:pt x="40754" y="9986"/>
                </a:cubicBezTo>
                <a:cubicBezTo>
                  <a:pt x="40797" y="9986"/>
                  <a:pt x="40797" y="9986"/>
                  <a:pt x="40797" y="9986"/>
                </a:cubicBezTo>
                <a:cubicBezTo>
                  <a:pt x="40797" y="15435"/>
                  <a:pt x="40797" y="15435"/>
                  <a:pt x="40797" y="15435"/>
                </a:cubicBezTo>
                <a:cubicBezTo>
                  <a:pt x="40797" y="17874"/>
                  <a:pt x="36782" y="19220"/>
                  <a:pt x="36043" y="19448"/>
                </a:cubicBezTo>
                <a:cubicBezTo>
                  <a:pt x="38046" y="19782"/>
                  <a:pt x="40202" y="20702"/>
                  <a:pt x="41594" y="22915"/>
                </a:cubicBezTo>
                <a:cubicBezTo>
                  <a:pt x="41649" y="22998"/>
                  <a:pt x="41649" y="22998"/>
                  <a:pt x="41649" y="22998"/>
                </a:cubicBezTo>
                <a:cubicBezTo>
                  <a:pt x="41651" y="23095"/>
                  <a:pt x="41651" y="23095"/>
                  <a:pt x="41651" y="23095"/>
                </a:cubicBezTo>
                <a:close/>
                <a:moveTo>
                  <a:pt x="40946" y="23209"/>
                </a:moveTo>
                <a:cubicBezTo>
                  <a:pt x="40946" y="23209"/>
                  <a:pt x="40946" y="23209"/>
                  <a:pt x="40946" y="23209"/>
                </a:cubicBezTo>
                <a:cubicBezTo>
                  <a:pt x="38098" y="18825"/>
                  <a:pt x="31825" y="20129"/>
                  <a:pt x="31212" y="20271"/>
                </a:cubicBezTo>
                <a:cubicBezTo>
                  <a:pt x="30630" y="20622"/>
                  <a:pt x="30071" y="20953"/>
                  <a:pt x="29536" y="21268"/>
                </a:cubicBezTo>
                <a:cubicBezTo>
                  <a:pt x="36510" y="21384"/>
                  <a:pt x="36510" y="21384"/>
                  <a:pt x="36510" y="21384"/>
                </a:cubicBezTo>
                <a:cubicBezTo>
                  <a:pt x="36576" y="26229"/>
                  <a:pt x="36576" y="26229"/>
                  <a:pt x="36576" y="26229"/>
                </a:cubicBezTo>
                <a:cubicBezTo>
                  <a:pt x="37324" y="26180"/>
                  <a:pt x="38529" y="26478"/>
                  <a:pt x="40070" y="28125"/>
                </a:cubicBezTo>
                <a:cubicBezTo>
                  <a:pt x="41045" y="27479"/>
                  <a:pt x="41045" y="27479"/>
                  <a:pt x="41045" y="27479"/>
                </a:cubicBezTo>
                <a:cubicBezTo>
                  <a:pt x="40946" y="23209"/>
                  <a:pt x="40946" y="23209"/>
                  <a:pt x="40946" y="23209"/>
                </a:cubicBezTo>
                <a:close/>
                <a:moveTo>
                  <a:pt x="36631" y="30400"/>
                </a:moveTo>
                <a:cubicBezTo>
                  <a:pt x="36631" y="30400"/>
                  <a:pt x="36631" y="30400"/>
                  <a:pt x="36631" y="30400"/>
                </a:cubicBezTo>
                <a:cubicBezTo>
                  <a:pt x="39471" y="28521"/>
                  <a:pt x="39471" y="28521"/>
                  <a:pt x="39471" y="28521"/>
                </a:cubicBezTo>
                <a:cubicBezTo>
                  <a:pt x="38108" y="27093"/>
                  <a:pt x="37121" y="26894"/>
                  <a:pt x="36583" y="26937"/>
                </a:cubicBezTo>
                <a:cubicBezTo>
                  <a:pt x="36631" y="30400"/>
                  <a:pt x="36631" y="30400"/>
                  <a:pt x="36631" y="30400"/>
                </a:cubicBezTo>
                <a:close/>
                <a:moveTo>
                  <a:pt x="20956" y="24998"/>
                </a:moveTo>
                <a:cubicBezTo>
                  <a:pt x="20956" y="24998"/>
                  <a:pt x="20956" y="24998"/>
                  <a:pt x="20956" y="24998"/>
                </a:cubicBezTo>
                <a:cubicBezTo>
                  <a:pt x="21663" y="24688"/>
                  <a:pt x="25174" y="23098"/>
                  <a:pt x="30893" y="19639"/>
                </a:cubicBezTo>
                <a:cubicBezTo>
                  <a:pt x="30938" y="19611"/>
                  <a:pt x="30938" y="19611"/>
                  <a:pt x="30938" y="19611"/>
                </a:cubicBezTo>
                <a:cubicBezTo>
                  <a:pt x="30954" y="19606"/>
                  <a:pt x="30954" y="19606"/>
                  <a:pt x="30954" y="19606"/>
                </a:cubicBezTo>
                <a:cubicBezTo>
                  <a:pt x="26220" y="17350"/>
                  <a:pt x="26220" y="17350"/>
                  <a:pt x="26220" y="17350"/>
                </a:cubicBezTo>
                <a:cubicBezTo>
                  <a:pt x="26085" y="17391"/>
                  <a:pt x="26085" y="17391"/>
                  <a:pt x="26085" y="17391"/>
                </a:cubicBezTo>
                <a:cubicBezTo>
                  <a:pt x="24137" y="17973"/>
                  <a:pt x="22542" y="19573"/>
                  <a:pt x="21772" y="20468"/>
                </a:cubicBezTo>
                <a:cubicBezTo>
                  <a:pt x="22636" y="21150"/>
                  <a:pt x="22499" y="23181"/>
                  <a:pt x="21031" y="23188"/>
                </a:cubicBezTo>
                <a:cubicBezTo>
                  <a:pt x="19578" y="23192"/>
                  <a:pt x="19441" y="21173"/>
                  <a:pt x="20156" y="20447"/>
                </a:cubicBezTo>
                <a:cubicBezTo>
                  <a:pt x="19353" y="19550"/>
                  <a:pt x="17744" y="17975"/>
                  <a:pt x="15885" y="17391"/>
                </a:cubicBezTo>
                <a:cubicBezTo>
                  <a:pt x="15777" y="17358"/>
                  <a:pt x="15777" y="17358"/>
                  <a:pt x="15777" y="17358"/>
                </a:cubicBezTo>
                <a:cubicBezTo>
                  <a:pt x="11007" y="19632"/>
                  <a:pt x="11007" y="19632"/>
                  <a:pt x="11007" y="19632"/>
                </a:cubicBezTo>
                <a:cubicBezTo>
                  <a:pt x="11016" y="19639"/>
                  <a:pt x="11016" y="19639"/>
                  <a:pt x="11016" y="19639"/>
                </a:cubicBezTo>
                <a:cubicBezTo>
                  <a:pt x="16745" y="23100"/>
                  <a:pt x="20246" y="24688"/>
                  <a:pt x="20956" y="24998"/>
                </a:cubicBezTo>
                <a:close/>
                <a:moveTo>
                  <a:pt x="17128" y="11203"/>
                </a:moveTo>
                <a:cubicBezTo>
                  <a:pt x="17128" y="11203"/>
                  <a:pt x="17128" y="11203"/>
                  <a:pt x="17128" y="11203"/>
                </a:cubicBezTo>
                <a:cubicBezTo>
                  <a:pt x="15074" y="11873"/>
                  <a:pt x="15074" y="11873"/>
                  <a:pt x="15074" y="11873"/>
                </a:cubicBezTo>
                <a:cubicBezTo>
                  <a:pt x="16288" y="16780"/>
                  <a:pt x="16288" y="16780"/>
                  <a:pt x="16288" y="16780"/>
                </a:cubicBezTo>
                <a:cubicBezTo>
                  <a:pt x="18506" y="17554"/>
                  <a:pt x="20298" y="19502"/>
                  <a:pt x="20977" y="20314"/>
                </a:cubicBezTo>
                <a:cubicBezTo>
                  <a:pt x="21635" y="19497"/>
                  <a:pt x="23377" y="17559"/>
                  <a:pt x="25654" y="16787"/>
                </a:cubicBezTo>
                <a:cubicBezTo>
                  <a:pt x="25766" y="15911"/>
                  <a:pt x="26279" y="13634"/>
                  <a:pt x="26710" y="11802"/>
                </a:cubicBezTo>
                <a:cubicBezTo>
                  <a:pt x="24771" y="11170"/>
                  <a:pt x="24771" y="11170"/>
                  <a:pt x="24771" y="11170"/>
                </a:cubicBezTo>
                <a:cubicBezTo>
                  <a:pt x="24620" y="12100"/>
                  <a:pt x="23995" y="13762"/>
                  <a:pt x="21604" y="15388"/>
                </a:cubicBezTo>
                <a:cubicBezTo>
                  <a:pt x="21604" y="9383"/>
                  <a:pt x="21604" y="9383"/>
                  <a:pt x="21604" y="9383"/>
                </a:cubicBezTo>
                <a:cubicBezTo>
                  <a:pt x="24805" y="10424"/>
                  <a:pt x="24805" y="10424"/>
                  <a:pt x="24805" y="10424"/>
                </a:cubicBezTo>
                <a:cubicBezTo>
                  <a:pt x="24805" y="10424"/>
                  <a:pt x="24805" y="10431"/>
                  <a:pt x="24807" y="10439"/>
                </a:cubicBezTo>
                <a:cubicBezTo>
                  <a:pt x="26871" y="11113"/>
                  <a:pt x="26871" y="11113"/>
                  <a:pt x="26871" y="11113"/>
                </a:cubicBezTo>
                <a:cubicBezTo>
                  <a:pt x="26911" y="10947"/>
                  <a:pt x="26949" y="10789"/>
                  <a:pt x="26985" y="10637"/>
                </a:cubicBezTo>
                <a:cubicBezTo>
                  <a:pt x="20986" y="7984"/>
                  <a:pt x="20986" y="7984"/>
                  <a:pt x="20986" y="7984"/>
                </a:cubicBezTo>
                <a:cubicBezTo>
                  <a:pt x="14818" y="10832"/>
                  <a:pt x="14818" y="10832"/>
                  <a:pt x="14818" y="10832"/>
                </a:cubicBezTo>
                <a:cubicBezTo>
                  <a:pt x="14905" y="11184"/>
                  <a:pt x="14905" y="11184"/>
                  <a:pt x="14905" y="11184"/>
                </a:cubicBezTo>
                <a:cubicBezTo>
                  <a:pt x="20075" y="9501"/>
                  <a:pt x="20075" y="9501"/>
                  <a:pt x="20075" y="9501"/>
                </a:cubicBezTo>
                <a:cubicBezTo>
                  <a:pt x="20075" y="9501"/>
                  <a:pt x="20075" y="9501"/>
                  <a:pt x="20075" y="9501"/>
                </a:cubicBezTo>
                <a:cubicBezTo>
                  <a:pt x="20298" y="9430"/>
                  <a:pt x="20298" y="9430"/>
                  <a:pt x="20298" y="9430"/>
                </a:cubicBezTo>
                <a:cubicBezTo>
                  <a:pt x="20298" y="15435"/>
                  <a:pt x="20298" y="15435"/>
                  <a:pt x="20298" y="15435"/>
                </a:cubicBezTo>
                <a:cubicBezTo>
                  <a:pt x="17895" y="13800"/>
                  <a:pt x="17277" y="12129"/>
                  <a:pt x="17128" y="11203"/>
                </a:cubicBezTo>
                <a:close/>
                <a:moveTo>
                  <a:pt x="32268" y="12517"/>
                </a:moveTo>
                <a:cubicBezTo>
                  <a:pt x="32268" y="12517"/>
                  <a:pt x="32268" y="12517"/>
                  <a:pt x="32268" y="12517"/>
                </a:cubicBezTo>
                <a:cubicBezTo>
                  <a:pt x="36214" y="11383"/>
                  <a:pt x="37987" y="12858"/>
                  <a:pt x="38527" y="13478"/>
                </a:cubicBezTo>
                <a:cubicBezTo>
                  <a:pt x="38912" y="13750"/>
                  <a:pt x="39573" y="14240"/>
                  <a:pt x="40091" y="14721"/>
                </a:cubicBezTo>
                <a:cubicBezTo>
                  <a:pt x="40091" y="10235"/>
                  <a:pt x="40091" y="10235"/>
                  <a:pt x="40091" y="10235"/>
                </a:cubicBezTo>
                <a:cubicBezTo>
                  <a:pt x="36983" y="6438"/>
                  <a:pt x="32898" y="8114"/>
                  <a:pt x="31686" y="8739"/>
                </a:cubicBezTo>
                <a:cubicBezTo>
                  <a:pt x="33014" y="10443"/>
                  <a:pt x="33014" y="10443"/>
                  <a:pt x="33014" y="10443"/>
                </a:cubicBezTo>
                <a:cubicBezTo>
                  <a:pt x="32268" y="12517"/>
                  <a:pt x="32268" y="12517"/>
                  <a:pt x="32268" y="12517"/>
                </a:cubicBezTo>
                <a:close/>
                <a:moveTo>
                  <a:pt x="31177" y="16094"/>
                </a:moveTo>
                <a:cubicBezTo>
                  <a:pt x="31177" y="16094"/>
                  <a:pt x="31177" y="16094"/>
                  <a:pt x="31177" y="16094"/>
                </a:cubicBezTo>
                <a:cubicBezTo>
                  <a:pt x="29065" y="16094"/>
                  <a:pt x="27347" y="15696"/>
                  <a:pt x="26604" y="15490"/>
                </a:cubicBezTo>
                <a:cubicBezTo>
                  <a:pt x="26507" y="15963"/>
                  <a:pt x="26431" y="16361"/>
                  <a:pt x="26383" y="16645"/>
                </a:cubicBezTo>
                <a:cubicBezTo>
                  <a:pt x="31234" y="18958"/>
                  <a:pt x="31234" y="18958"/>
                  <a:pt x="31234" y="18958"/>
                </a:cubicBezTo>
                <a:cubicBezTo>
                  <a:pt x="35776" y="18790"/>
                  <a:pt x="35776" y="18790"/>
                  <a:pt x="35776" y="18790"/>
                </a:cubicBezTo>
                <a:cubicBezTo>
                  <a:pt x="36948" y="18446"/>
                  <a:pt x="39755" y="17296"/>
                  <a:pt x="40063" y="15715"/>
                </a:cubicBezTo>
                <a:cubicBezTo>
                  <a:pt x="39741" y="15282"/>
                  <a:pt x="38891" y="14614"/>
                  <a:pt x="38285" y="14174"/>
                </a:cubicBezTo>
                <a:cubicBezTo>
                  <a:pt x="35932" y="15667"/>
                  <a:pt x="33350" y="16094"/>
                  <a:pt x="31177" y="16094"/>
                </a:cubicBezTo>
                <a:close/>
                <a:moveTo>
                  <a:pt x="20963" y="6206"/>
                </a:moveTo>
                <a:cubicBezTo>
                  <a:pt x="20963" y="6206"/>
                  <a:pt x="20963" y="6206"/>
                  <a:pt x="20963" y="6206"/>
                </a:cubicBezTo>
                <a:cubicBezTo>
                  <a:pt x="14579" y="9866"/>
                  <a:pt x="14579" y="9866"/>
                  <a:pt x="14579" y="9866"/>
                </a:cubicBezTo>
                <a:cubicBezTo>
                  <a:pt x="14643" y="10133"/>
                  <a:pt x="14643" y="10133"/>
                  <a:pt x="14643" y="10133"/>
                </a:cubicBezTo>
                <a:cubicBezTo>
                  <a:pt x="20979" y="7208"/>
                  <a:pt x="20979" y="7208"/>
                  <a:pt x="20979" y="7208"/>
                </a:cubicBezTo>
                <a:cubicBezTo>
                  <a:pt x="27153" y="9941"/>
                  <a:pt x="27153" y="9941"/>
                  <a:pt x="27153" y="9941"/>
                </a:cubicBezTo>
                <a:cubicBezTo>
                  <a:pt x="27191" y="9788"/>
                  <a:pt x="27221" y="9653"/>
                  <a:pt x="27250" y="9544"/>
                </a:cubicBezTo>
                <a:cubicBezTo>
                  <a:pt x="20963" y="6206"/>
                  <a:pt x="20963" y="6206"/>
                  <a:pt x="20963" y="6206"/>
                </a:cubicBezTo>
                <a:close/>
                <a:moveTo>
                  <a:pt x="10384" y="8542"/>
                </a:moveTo>
                <a:cubicBezTo>
                  <a:pt x="10384" y="8542"/>
                  <a:pt x="10384" y="8542"/>
                  <a:pt x="10384" y="8542"/>
                </a:cubicBezTo>
                <a:cubicBezTo>
                  <a:pt x="9165" y="7918"/>
                  <a:pt x="5030" y="6228"/>
                  <a:pt x="1922" y="10107"/>
                </a:cubicBezTo>
                <a:cubicBezTo>
                  <a:pt x="1922" y="14721"/>
                  <a:pt x="1922" y="14721"/>
                  <a:pt x="1922" y="14721"/>
                </a:cubicBezTo>
                <a:cubicBezTo>
                  <a:pt x="2369" y="14306"/>
                  <a:pt x="2921" y="13885"/>
                  <a:pt x="3311" y="13601"/>
                </a:cubicBezTo>
                <a:cubicBezTo>
                  <a:pt x="3356" y="13528"/>
                  <a:pt x="3356" y="13528"/>
                  <a:pt x="3356" y="13528"/>
                </a:cubicBezTo>
                <a:cubicBezTo>
                  <a:pt x="3425" y="13416"/>
                  <a:pt x="5013" y="10945"/>
                  <a:pt x="9804" y="12320"/>
                </a:cubicBezTo>
                <a:cubicBezTo>
                  <a:pt x="9059" y="10249"/>
                  <a:pt x="9059" y="10249"/>
                  <a:pt x="9059" y="10249"/>
                </a:cubicBezTo>
                <a:cubicBezTo>
                  <a:pt x="10384" y="8542"/>
                  <a:pt x="10384" y="8542"/>
                  <a:pt x="10384" y="8542"/>
                </a:cubicBezTo>
                <a:close/>
                <a:moveTo>
                  <a:pt x="1950" y="15715"/>
                </a:moveTo>
                <a:cubicBezTo>
                  <a:pt x="1950" y="15715"/>
                  <a:pt x="1950" y="15715"/>
                  <a:pt x="1950" y="15715"/>
                </a:cubicBezTo>
                <a:cubicBezTo>
                  <a:pt x="2256" y="17296"/>
                  <a:pt x="5063" y="18449"/>
                  <a:pt x="6235" y="18790"/>
                </a:cubicBezTo>
                <a:cubicBezTo>
                  <a:pt x="10780" y="18958"/>
                  <a:pt x="10780" y="18958"/>
                  <a:pt x="10780" y="18958"/>
                </a:cubicBezTo>
                <a:cubicBezTo>
                  <a:pt x="15537" y="16690"/>
                  <a:pt x="15537" y="16690"/>
                  <a:pt x="15537" y="16690"/>
                </a:cubicBezTo>
                <a:cubicBezTo>
                  <a:pt x="15253" y="15532"/>
                  <a:pt x="15253" y="15532"/>
                  <a:pt x="15253" y="15532"/>
                </a:cubicBezTo>
                <a:cubicBezTo>
                  <a:pt x="13547" y="15977"/>
                  <a:pt x="8221" y="17021"/>
                  <a:pt x="3726" y="14174"/>
                </a:cubicBezTo>
                <a:cubicBezTo>
                  <a:pt x="3122" y="14614"/>
                  <a:pt x="2270" y="15282"/>
                  <a:pt x="1950" y="15715"/>
                </a:cubicBezTo>
                <a:close/>
                <a:moveTo>
                  <a:pt x="10699" y="20271"/>
                </a:moveTo>
                <a:cubicBezTo>
                  <a:pt x="10699" y="20271"/>
                  <a:pt x="10699" y="20271"/>
                  <a:pt x="10699" y="20271"/>
                </a:cubicBezTo>
                <a:cubicBezTo>
                  <a:pt x="10084" y="20132"/>
                  <a:pt x="3809" y="18830"/>
                  <a:pt x="963" y="23209"/>
                </a:cubicBezTo>
                <a:cubicBezTo>
                  <a:pt x="864" y="27479"/>
                  <a:pt x="864" y="27479"/>
                  <a:pt x="864" y="27479"/>
                </a:cubicBezTo>
                <a:cubicBezTo>
                  <a:pt x="1841" y="28125"/>
                  <a:pt x="1841" y="28125"/>
                  <a:pt x="1841" y="28125"/>
                </a:cubicBezTo>
                <a:cubicBezTo>
                  <a:pt x="3382" y="26473"/>
                  <a:pt x="4590" y="26180"/>
                  <a:pt x="5342" y="26229"/>
                </a:cubicBezTo>
                <a:cubicBezTo>
                  <a:pt x="5402" y="21384"/>
                  <a:pt x="5402" y="21384"/>
                  <a:pt x="5402" y="21384"/>
                </a:cubicBezTo>
                <a:cubicBezTo>
                  <a:pt x="12387" y="21275"/>
                  <a:pt x="12387" y="21275"/>
                  <a:pt x="12387" y="21275"/>
                </a:cubicBezTo>
                <a:cubicBezTo>
                  <a:pt x="11847" y="20960"/>
                  <a:pt x="11286" y="20624"/>
                  <a:pt x="10699" y="20271"/>
                </a:cubicBezTo>
                <a:close/>
                <a:moveTo>
                  <a:pt x="5290" y="30407"/>
                </a:moveTo>
                <a:cubicBezTo>
                  <a:pt x="5290" y="30407"/>
                  <a:pt x="5290" y="30407"/>
                  <a:pt x="5290" y="30407"/>
                </a:cubicBezTo>
                <a:cubicBezTo>
                  <a:pt x="5333" y="26942"/>
                  <a:pt x="5333" y="26942"/>
                  <a:pt x="5333" y="26942"/>
                </a:cubicBezTo>
                <a:cubicBezTo>
                  <a:pt x="4793" y="26897"/>
                  <a:pt x="3804" y="27093"/>
                  <a:pt x="2440" y="28521"/>
                </a:cubicBezTo>
                <a:cubicBezTo>
                  <a:pt x="5290" y="30407"/>
                  <a:pt x="5290" y="30407"/>
                  <a:pt x="5290" y="30407"/>
                </a:cubicBezTo>
                <a:close/>
                <a:moveTo>
                  <a:pt x="3721" y="44544"/>
                </a:moveTo>
                <a:cubicBezTo>
                  <a:pt x="3721" y="44544"/>
                  <a:pt x="3721" y="44544"/>
                  <a:pt x="3721" y="44544"/>
                </a:cubicBezTo>
                <a:cubicBezTo>
                  <a:pt x="2469" y="47978"/>
                  <a:pt x="2469" y="47978"/>
                  <a:pt x="2469" y="47978"/>
                </a:cubicBezTo>
                <a:cubicBezTo>
                  <a:pt x="3354" y="47694"/>
                  <a:pt x="5016" y="47053"/>
                  <a:pt x="6628" y="45871"/>
                </a:cubicBezTo>
                <a:cubicBezTo>
                  <a:pt x="6952" y="44610"/>
                  <a:pt x="9648" y="33600"/>
                  <a:pt x="5335" y="31283"/>
                </a:cubicBezTo>
                <a:cubicBezTo>
                  <a:pt x="5307" y="31266"/>
                  <a:pt x="5307" y="31266"/>
                  <a:pt x="5307" y="31266"/>
                </a:cubicBezTo>
                <a:cubicBezTo>
                  <a:pt x="845" y="28312"/>
                  <a:pt x="845" y="28312"/>
                  <a:pt x="845" y="28312"/>
                </a:cubicBezTo>
                <a:cubicBezTo>
                  <a:pt x="710" y="34074"/>
                  <a:pt x="710" y="34074"/>
                  <a:pt x="710" y="34074"/>
                </a:cubicBezTo>
                <a:cubicBezTo>
                  <a:pt x="970" y="34472"/>
                  <a:pt x="2426" y="36460"/>
                  <a:pt x="7044" y="39199"/>
                </a:cubicBezTo>
                <a:cubicBezTo>
                  <a:pt x="7399" y="39409"/>
                  <a:pt x="7399" y="39409"/>
                  <a:pt x="7399" y="39409"/>
                </a:cubicBezTo>
                <a:cubicBezTo>
                  <a:pt x="7137" y="39727"/>
                  <a:pt x="7137" y="39727"/>
                  <a:pt x="7137" y="39727"/>
                </a:cubicBezTo>
                <a:cubicBezTo>
                  <a:pt x="7070" y="39805"/>
                  <a:pt x="5584" y="41566"/>
                  <a:pt x="2414" y="42224"/>
                </a:cubicBezTo>
                <a:cubicBezTo>
                  <a:pt x="3721" y="44544"/>
                  <a:pt x="3721" y="44544"/>
                  <a:pt x="3721" y="44544"/>
                </a:cubicBezTo>
                <a:close/>
                <a:moveTo>
                  <a:pt x="7691" y="45961"/>
                </a:moveTo>
                <a:cubicBezTo>
                  <a:pt x="7691" y="45961"/>
                  <a:pt x="7691" y="45961"/>
                  <a:pt x="7691" y="45961"/>
                </a:cubicBezTo>
                <a:cubicBezTo>
                  <a:pt x="8841" y="47334"/>
                  <a:pt x="14224" y="53335"/>
                  <a:pt x="20551" y="53335"/>
                </a:cubicBezTo>
                <a:cubicBezTo>
                  <a:pt x="20603" y="53335"/>
                  <a:pt x="20653" y="53333"/>
                  <a:pt x="20705" y="53333"/>
                </a:cubicBezTo>
                <a:cubicBezTo>
                  <a:pt x="20705" y="25659"/>
                  <a:pt x="20705" y="25659"/>
                  <a:pt x="20705" y="25659"/>
                </a:cubicBezTo>
                <a:cubicBezTo>
                  <a:pt x="20210" y="25444"/>
                  <a:pt x="18115" y="24501"/>
                  <a:pt x="14681" y="22586"/>
                </a:cubicBezTo>
                <a:cubicBezTo>
                  <a:pt x="6711" y="22691"/>
                  <a:pt x="6711" y="22691"/>
                  <a:pt x="6711" y="22691"/>
                </a:cubicBezTo>
                <a:cubicBezTo>
                  <a:pt x="6611" y="31366"/>
                  <a:pt x="6611" y="31366"/>
                  <a:pt x="6611" y="31366"/>
                </a:cubicBezTo>
                <a:cubicBezTo>
                  <a:pt x="9823" y="34595"/>
                  <a:pt x="8005" y="43220"/>
                  <a:pt x="7430" y="45585"/>
                </a:cubicBezTo>
                <a:cubicBezTo>
                  <a:pt x="7691" y="45961"/>
                  <a:pt x="7691" y="45961"/>
                  <a:pt x="7691" y="45961"/>
                </a:cubicBezTo>
                <a:close/>
                <a:moveTo>
                  <a:pt x="21365" y="53330"/>
                </a:moveTo>
                <a:cubicBezTo>
                  <a:pt x="21365" y="53330"/>
                  <a:pt x="21365" y="53330"/>
                  <a:pt x="21365" y="53330"/>
                </a:cubicBezTo>
                <a:cubicBezTo>
                  <a:pt x="28474" y="53333"/>
                  <a:pt x="34386" y="45758"/>
                  <a:pt x="34448" y="45680"/>
                </a:cubicBezTo>
                <a:cubicBezTo>
                  <a:pt x="34462" y="45692"/>
                  <a:pt x="34462" y="45692"/>
                  <a:pt x="34462" y="45692"/>
                </a:cubicBezTo>
                <a:cubicBezTo>
                  <a:pt x="34474" y="45673"/>
                  <a:pt x="34486" y="45658"/>
                  <a:pt x="34496" y="45644"/>
                </a:cubicBezTo>
                <a:cubicBezTo>
                  <a:pt x="34313" y="44896"/>
                  <a:pt x="33987" y="43450"/>
                  <a:pt x="33745" y="41729"/>
                </a:cubicBezTo>
                <a:cubicBezTo>
                  <a:pt x="33719" y="41611"/>
                  <a:pt x="33698" y="41480"/>
                  <a:pt x="33693" y="41338"/>
                </a:cubicBezTo>
                <a:cubicBezTo>
                  <a:pt x="33248" y="37871"/>
                  <a:pt x="33203" y="33461"/>
                  <a:pt x="35307" y="31359"/>
                </a:cubicBezTo>
                <a:cubicBezTo>
                  <a:pt x="35201" y="22688"/>
                  <a:pt x="35201" y="22688"/>
                  <a:pt x="35201" y="22688"/>
                </a:cubicBezTo>
                <a:cubicBezTo>
                  <a:pt x="27240" y="22579"/>
                  <a:pt x="27240" y="22579"/>
                  <a:pt x="27240" y="22579"/>
                </a:cubicBezTo>
                <a:cubicBezTo>
                  <a:pt x="24087" y="24338"/>
                  <a:pt x="22064" y="25278"/>
                  <a:pt x="21363" y="25590"/>
                </a:cubicBezTo>
                <a:cubicBezTo>
                  <a:pt x="21363" y="25595"/>
                  <a:pt x="21365" y="25602"/>
                  <a:pt x="21365" y="25609"/>
                </a:cubicBezTo>
                <a:cubicBezTo>
                  <a:pt x="21365" y="53330"/>
                  <a:pt x="21365" y="53330"/>
                  <a:pt x="21365" y="53330"/>
                </a:cubicBezTo>
                <a:close/>
                <a:moveTo>
                  <a:pt x="39497" y="42224"/>
                </a:moveTo>
                <a:cubicBezTo>
                  <a:pt x="39497" y="42224"/>
                  <a:pt x="39497" y="42224"/>
                  <a:pt x="39497" y="42224"/>
                </a:cubicBezTo>
                <a:cubicBezTo>
                  <a:pt x="36931" y="41691"/>
                  <a:pt x="35471" y="40439"/>
                  <a:pt x="34971" y="39937"/>
                </a:cubicBezTo>
                <a:cubicBezTo>
                  <a:pt x="34500" y="40366"/>
                  <a:pt x="34401" y="40867"/>
                  <a:pt x="34398" y="41215"/>
                </a:cubicBezTo>
                <a:cubicBezTo>
                  <a:pt x="34692" y="43502"/>
                  <a:pt x="35158" y="45391"/>
                  <a:pt x="35284" y="45871"/>
                </a:cubicBezTo>
                <a:cubicBezTo>
                  <a:pt x="36898" y="47055"/>
                  <a:pt x="38557" y="47694"/>
                  <a:pt x="39443" y="47980"/>
                </a:cubicBezTo>
                <a:cubicBezTo>
                  <a:pt x="38188" y="44544"/>
                  <a:pt x="38188" y="44544"/>
                  <a:pt x="38188" y="44544"/>
                </a:cubicBezTo>
                <a:cubicBezTo>
                  <a:pt x="39497" y="42224"/>
                  <a:pt x="39497" y="42224"/>
                  <a:pt x="39497" y="42224"/>
                </a:cubicBezTo>
                <a:close/>
                <a:moveTo>
                  <a:pt x="35532" y="38794"/>
                </a:moveTo>
                <a:cubicBezTo>
                  <a:pt x="35532" y="38794"/>
                  <a:pt x="35532" y="38794"/>
                  <a:pt x="35532" y="38794"/>
                </a:cubicBezTo>
                <a:cubicBezTo>
                  <a:pt x="39620" y="36268"/>
                  <a:pt x="40950" y="34453"/>
                  <a:pt x="41199" y="34074"/>
                </a:cubicBezTo>
                <a:cubicBezTo>
                  <a:pt x="41064" y="28312"/>
                  <a:pt x="41064" y="28312"/>
                  <a:pt x="41064" y="28312"/>
                </a:cubicBezTo>
                <a:cubicBezTo>
                  <a:pt x="36576" y="31283"/>
                  <a:pt x="36576" y="31283"/>
                  <a:pt x="36576" y="31283"/>
                </a:cubicBezTo>
                <a:cubicBezTo>
                  <a:pt x="34256" y="32528"/>
                  <a:pt x="33963" y="36285"/>
                  <a:pt x="34237" y="39689"/>
                </a:cubicBezTo>
                <a:cubicBezTo>
                  <a:pt x="34522" y="39341"/>
                  <a:pt x="34938" y="39026"/>
                  <a:pt x="35532" y="38794"/>
                </a:cubicBezTo>
                <a:close/>
                <a:moveTo>
                  <a:pt x="28436" y="29129"/>
                </a:moveTo>
                <a:cubicBezTo>
                  <a:pt x="26301" y="27335"/>
                  <a:pt x="26301" y="27335"/>
                  <a:pt x="26301" y="27335"/>
                </a:cubicBezTo>
                <a:cubicBezTo>
                  <a:pt x="26315" y="29799"/>
                  <a:pt x="26315" y="29799"/>
                  <a:pt x="26315" y="29799"/>
                </a:cubicBezTo>
                <a:cubicBezTo>
                  <a:pt x="28436" y="31567"/>
                  <a:pt x="28436" y="31567"/>
                  <a:pt x="28436" y="31567"/>
                </a:cubicBezTo>
                <a:cubicBezTo>
                  <a:pt x="28436" y="29129"/>
                  <a:pt x="28436" y="29129"/>
                  <a:pt x="28436" y="29129"/>
                </a:cubicBezTo>
                <a:cubicBezTo>
                  <a:pt x="28436" y="29129"/>
                  <a:pt x="28436" y="29129"/>
                  <a:pt x="28436" y="29129"/>
                </a:cubicBezTo>
                <a:close/>
                <a:moveTo>
                  <a:pt x="31577" y="30329"/>
                </a:moveTo>
                <a:cubicBezTo>
                  <a:pt x="31610" y="28637"/>
                  <a:pt x="29444" y="25659"/>
                  <a:pt x="29444" y="25659"/>
                </a:cubicBezTo>
                <a:cubicBezTo>
                  <a:pt x="29458" y="28559"/>
                  <a:pt x="29458" y="28559"/>
                  <a:pt x="29458" y="28559"/>
                </a:cubicBezTo>
                <a:cubicBezTo>
                  <a:pt x="29458" y="28559"/>
                  <a:pt x="30864" y="29614"/>
                  <a:pt x="31577" y="30329"/>
                </a:cubicBezTo>
                <a:cubicBezTo>
                  <a:pt x="31577" y="30329"/>
                  <a:pt x="31577" y="30329"/>
                  <a:pt x="31577" y="30329"/>
                </a:cubicBezTo>
                <a:close/>
                <a:moveTo>
                  <a:pt x="28412" y="28104"/>
                </a:moveTo>
                <a:cubicBezTo>
                  <a:pt x="28412" y="28104"/>
                  <a:pt x="28412" y="25515"/>
                  <a:pt x="28412" y="24423"/>
                </a:cubicBezTo>
                <a:cubicBezTo>
                  <a:pt x="25957" y="25103"/>
                  <a:pt x="26293" y="26334"/>
                  <a:pt x="26293" y="26334"/>
                </a:cubicBezTo>
                <a:cubicBezTo>
                  <a:pt x="28412" y="28104"/>
                  <a:pt x="28412" y="28104"/>
                  <a:pt x="28412" y="28104"/>
                </a:cubicBezTo>
                <a:cubicBezTo>
                  <a:pt x="28412" y="28104"/>
                  <a:pt x="28412" y="28104"/>
                  <a:pt x="28412" y="28104"/>
                </a:cubicBezTo>
                <a:close/>
                <a:moveTo>
                  <a:pt x="25373" y="27098"/>
                </a:moveTo>
                <a:cubicBezTo>
                  <a:pt x="25373" y="27098"/>
                  <a:pt x="25221" y="26890"/>
                  <a:pt x="25051" y="26762"/>
                </a:cubicBezTo>
                <a:cubicBezTo>
                  <a:pt x="24487" y="26329"/>
                  <a:pt x="23271" y="27257"/>
                  <a:pt x="23271" y="27257"/>
                </a:cubicBezTo>
                <a:cubicBezTo>
                  <a:pt x="25389" y="29027"/>
                  <a:pt x="25389" y="29027"/>
                  <a:pt x="25389" y="29027"/>
                </a:cubicBezTo>
                <a:cubicBezTo>
                  <a:pt x="25373" y="27098"/>
                  <a:pt x="25373" y="27098"/>
                  <a:pt x="25373" y="27098"/>
                </a:cubicBezTo>
                <a:cubicBezTo>
                  <a:pt x="25373" y="27098"/>
                  <a:pt x="25373" y="27098"/>
                  <a:pt x="25373" y="27098"/>
                </a:cubicBezTo>
                <a:close/>
                <a:moveTo>
                  <a:pt x="31766" y="31536"/>
                </a:moveTo>
                <a:cubicBezTo>
                  <a:pt x="30190" y="30339"/>
                  <a:pt x="29387" y="29799"/>
                  <a:pt x="29387" y="29799"/>
                </a:cubicBezTo>
                <a:cubicBezTo>
                  <a:pt x="29378" y="31501"/>
                  <a:pt x="29378" y="31501"/>
                  <a:pt x="29378" y="31501"/>
                </a:cubicBezTo>
                <a:cubicBezTo>
                  <a:pt x="29378" y="31501"/>
                  <a:pt x="30658" y="32097"/>
                  <a:pt x="31575" y="32959"/>
                </a:cubicBezTo>
                <a:cubicBezTo>
                  <a:pt x="32105" y="32900"/>
                  <a:pt x="32128" y="32488"/>
                  <a:pt x="31766" y="31536"/>
                </a:cubicBezTo>
                <a:cubicBezTo>
                  <a:pt x="31766" y="31536"/>
                  <a:pt x="31766" y="31536"/>
                  <a:pt x="31766" y="31536"/>
                </a:cubicBezTo>
                <a:close/>
                <a:moveTo>
                  <a:pt x="26315" y="33478"/>
                </a:moveTo>
                <a:cubicBezTo>
                  <a:pt x="26315" y="34235"/>
                  <a:pt x="28275" y="35508"/>
                  <a:pt x="28275" y="35146"/>
                </a:cubicBezTo>
                <a:cubicBezTo>
                  <a:pt x="28275" y="34784"/>
                  <a:pt x="28275" y="32708"/>
                  <a:pt x="28275" y="32708"/>
                </a:cubicBezTo>
                <a:cubicBezTo>
                  <a:pt x="26301" y="31013"/>
                  <a:pt x="26301" y="31013"/>
                  <a:pt x="26301" y="31013"/>
                </a:cubicBezTo>
                <a:cubicBezTo>
                  <a:pt x="26301" y="31013"/>
                  <a:pt x="26315" y="32718"/>
                  <a:pt x="26315" y="33478"/>
                </a:cubicBezTo>
                <a:cubicBezTo>
                  <a:pt x="26315" y="33478"/>
                  <a:pt x="26315" y="33478"/>
                  <a:pt x="26315" y="33478"/>
                </a:cubicBezTo>
                <a:close/>
                <a:moveTo>
                  <a:pt x="25344" y="30597"/>
                </a:moveTo>
                <a:cubicBezTo>
                  <a:pt x="23574" y="29101"/>
                  <a:pt x="23574" y="29101"/>
                  <a:pt x="23574" y="29101"/>
                </a:cubicBezTo>
                <a:cubicBezTo>
                  <a:pt x="25344" y="33035"/>
                  <a:pt x="25344" y="33035"/>
                  <a:pt x="25344" y="33035"/>
                </a:cubicBezTo>
                <a:cubicBezTo>
                  <a:pt x="25344" y="30597"/>
                  <a:pt x="25344" y="30597"/>
                  <a:pt x="25344" y="30597"/>
                </a:cubicBezTo>
                <a:cubicBezTo>
                  <a:pt x="25344" y="30597"/>
                  <a:pt x="25344" y="30597"/>
                  <a:pt x="25344" y="30597"/>
                </a:cubicBezTo>
                <a:close/>
                <a:moveTo>
                  <a:pt x="29690" y="32912"/>
                </a:moveTo>
                <a:cubicBezTo>
                  <a:pt x="29690" y="32912"/>
                  <a:pt x="29690" y="32912"/>
                  <a:pt x="29690" y="32912"/>
                </a:cubicBezTo>
                <a:cubicBezTo>
                  <a:pt x="29825" y="32959"/>
                  <a:pt x="32971" y="34105"/>
                  <a:pt x="32330" y="36171"/>
                </a:cubicBezTo>
                <a:cubicBezTo>
                  <a:pt x="32313" y="36209"/>
                  <a:pt x="32313" y="36209"/>
                  <a:pt x="32313" y="36209"/>
                </a:cubicBezTo>
                <a:cubicBezTo>
                  <a:pt x="29392" y="42825"/>
                  <a:pt x="29392" y="42825"/>
                  <a:pt x="29392" y="42825"/>
                </a:cubicBezTo>
                <a:cubicBezTo>
                  <a:pt x="29387" y="42877"/>
                  <a:pt x="29375" y="43036"/>
                  <a:pt x="29484" y="43178"/>
                </a:cubicBezTo>
                <a:cubicBezTo>
                  <a:pt x="29593" y="43322"/>
                  <a:pt x="29865" y="43502"/>
                  <a:pt x="30521" y="43533"/>
                </a:cubicBezTo>
                <a:cubicBezTo>
                  <a:pt x="30545" y="43530"/>
                  <a:pt x="30568" y="43528"/>
                  <a:pt x="30595" y="43528"/>
                </a:cubicBezTo>
                <a:cubicBezTo>
                  <a:pt x="30954" y="43528"/>
                  <a:pt x="31414" y="43800"/>
                  <a:pt x="31539" y="45093"/>
                </a:cubicBezTo>
                <a:cubicBezTo>
                  <a:pt x="31577" y="45476"/>
                  <a:pt x="31577" y="45476"/>
                  <a:pt x="31577" y="45476"/>
                </a:cubicBezTo>
                <a:cubicBezTo>
                  <a:pt x="28921" y="45500"/>
                  <a:pt x="28921" y="45500"/>
                  <a:pt x="28921" y="45500"/>
                </a:cubicBezTo>
                <a:cubicBezTo>
                  <a:pt x="28788" y="45595"/>
                  <a:pt x="28381" y="45933"/>
                  <a:pt x="28012" y="46828"/>
                </a:cubicBezTo>
                <a:cubicBezTo>
                  <a:pt x="27889" y="47218"/>
                  <a:pt x="27458" y="48416"/>
                  <a:pt x="26760" y="48504"/>
                </a:cubicBezTo>
                <a:cubicBezTo>
                  <a:pt x="26663" y="48516"/>
                  <a:pt x="26613" y="48710"/>
                  <a:pt x="26613" y="48710"/>
                </a:cubicBezTo>
                <a:cubicBezTo>
                  <a:pt x="26407" y="49801"/>
                  <a:pt x="26407" y="49801"/>
                  <a:pt x="26407" y="49801"/>
                </a:cubicBezTo>
                <a:cubicBezTo>
                  <a:pt x="25946" y="48790"/>
                  <a:pt x="25946" y="48790"/>
                  <a:pt x="25946" y="48790"/>
                </a:cubicBezTo>
                <a:cubicBezTo>
                  <a:pt x="25922" y="48743"/>
                  <a:pt x="25553" y="47921"/>
                  <a:pt x="25477" y="46996"/>
                </a:cubicBezTo>
                <a:cubicBezTo>
                  <a:pt x="25193" y="47266"/>
                  <a:pt x="24887" y="47460"/>
                  <a:pt x="24592" y="47474"/>
                </a:cubicBezTo>
                <a:cubicBezTo>
                  <a:pt x="24561" y="47476"/>
                  <a:pt x="24561" y="47476"/>
                  <a:pt x="24561" y="47476"/>
                </a:cubicBezTo>
                <a:cubicBezTo>
                  <a:pt x="24530" y="47474"/>
                  <a:pt x="24530" y="47474"/>
                  <a:pt x="24530" y="47474"/>
                </a:cubicBezTo>
                <a:cubicBezTo>
                  <a:pt x="24343" y="47474"/>
                  <a:pt x="23661" y="47640"/>
                  <a:pt x="23349" y="47822"/>
                </a:cubicBezTo>
                <a:cubicBezTo>
                  <a:pt x="22977" y="48040"/>
                  <a:pt x="22977" y="48040"/>
                  <a:pt x="22977" y="48040"/>
                </a:cubicBezTo>
                <a:cubicBezTo>
                  <a:pt x="22838" y="47633"/>
                  <a:pt x="22838" y="47633"/>
                  <a:pt x="22838" y="47633"/>
                </a:cubicBezTo>
                <a:cubicBezTo>
                  <a:pt x="22660" y="47119"/>
                  <a:pt x="23273" y="45460"/>
                  <a:pt x="23704" y="44712"/>
                </a:cubicBezTo>
                <a:cubicBezTo>
                  <a:pt x="23420" y="44735"/>
                  <a:pt x="23157" y="44761"/>
                  <a:pt x="22982" y="44787"/>
                </a:cubicBezTo>
                <a:cubicBezTo>
                  <a:pt x="22241" y="44896"/>
                  <a:pt x="22241" y="44896"/>
                  <a:pt x="22241" y="44896"/>
                </a:cubicBezTo>
                <a:cubicBezTo>
                  <a:pt x="22629" y="44255"/>
                  <a:pt x="22629" y="44255"/>
                  <a:pt x="22629" y="44255"/>
                </a:cubicBezTo>
                <a:cubicBezTo>
                  <a:pt x="22748" y="44058"/>
                  <a:pt x="23361" y="43064"/>
                  <a:pt x="23815" y="42766"/>
                </a:cubicBezTo>
                <a:cubicBezTo>
                  <a:pt x="24068" y="42600"/>
                  <a:pt x="24518" y="42532"/>
                  <a:pt x="25231" y="42439"/>
                </a:cubicBezTo>
                <a:cubicBezTo>
                  <a:pt x="25657" y="42385"/>
                  <a:pt x="26237" y="42309"/>
                  <a:pt x="26391" y="42212"/>
                </a:cubicBezTo>
                <a:cubicBezTo>
                  <a:pt x="26419" y="42195"/>
                  <a:pt x="26419" y="42195"/>
                  <a:pt x="26419" y="42195"/>
                </a:cubicBezTo>
                <a:cubicBezTo>
                  <a:pt x="26440" y="42183"/>
                  <a:pt x="29110" y="40664"/>
                  <a:pt x="29222" y="33238"/>
                </a:cubicBezTo>
                <a:cubicBezTo>
                  <a:pt x="29229" y="32746"/>
                  <a:pt x="29229" y="32746"/>
                  <a:pt x="29229" y="32746"/>
                </a:cubicBezTo>
                <a:cubicBezTo>
                  <a:pt x="29690" y="32912"/>
                  <a:pt x="29690" y="32912"/>
                  <a:pt x="29690" y="32912"/>
                </a:cubicBezTo>
                <a:close/>
                <a:moveTo>
                  <a:pt x="28732" y="42574"/>
                </a:moveTo>
                <a:cubicBezTo>
                  <a:pt x="28732" y="42574"/>
                  <a:pt x="28732" y="42574"/>
                  <a:pt x="28732" y="42574"/>
                </a:cubicBezTo>
                <a:cubicBezTo>
                  <a:pt x="31473" y="36365"/>
                  <a:pt x="31473" y="36365"/>
                  <a:pt x="31473" y="36365"/>
                </a:cubicBezTo>
                <a:cubicBezTo>
                  <a:pt x="30571" y="36247"/>
                  <a:pt x="30019" y="36308"/>
                  <a:pt x="29702" y="36391"/>
                </a:cubicBezTo>
                <a:cubicBezTo>
                  <a:pt x="29013" y="41445"/>
                  <a:pt x="26978" y="42692"/>
                  <a:pt x="26755" y="42816"/>
                </a:cubicBezTo>
                <a:cubicBezTo>
                  <a:pt x="26488" y="42979"/>
                  <a:pt x="26033" y="43048"/>
                  <a:pt x="25323" y="43140"/>
                </a:cubicBezTo>
                <a:cubicBezTo>
                  <a:pt x="24932" y="43190"/>
                  <a:pt x="24338" y="43268"/>
                  <a:pt x="24203" y="43358"/>
                </a:cubicBezTo>
                <a:cubicBezTo>
                  <a:pt x="24066" y="43447"/>
                  <a:pt x="23846" y="43715"/>
                  <a:pt x="23635" y="44009"/>
                </a:cubicBezTo>
                <a:cubicBezTo>
                  <a:pt x="23971" y="43980"/>
                  <a:pt x="24341" y="43954"/>
                  <a:pt x="24670" y="43931"/>
                </a:cubicBezTo>
                <a:cubicBezTo>
                  <a:pt x="24672" y="43931"/>
                  <a:pt x="24672" y="43931"/>
                  <a:pt x="24672" y="43931"/>
                </a:cubicBezTo>
                <a:cubicBezTo>
                  <a:pt x="24850" y="43895"/>
                  <a:pt x="25056" y="43883"/>
                  <a:pt x="25309" y="43878"/>
                </a:cubicBezTo>
                <a:cubicBezTo>
                  <a:pt x="25358" y="43876"/>
                  <a:pt x="25394" y="43876"/>
                  <a:pt x="25418" y="43876"/>
                </a:cubicBezTo>
                <a:cubicBezTo>
                  <a:pt x="25688" y="43876"/>
                  <a:pt x="25792" y="44082"/>
                  <a:pt x="25796" y="44219"/>
                </a:cubicBezTo>
                <a:cubicBezTo>
                  <a:pt x="25804" y="44466"/>
                  <a:pt x="25697" y="44544"/>
                  <a:pt x="25422" y="44581"/>
                </a:cubicBezTo>
                <a:cubicBezTo>
                  <a:pt x="25415" y="44581"/>
                  <a:pt x="25415" y="44581"/>
                  <a:pt x="25415" y="44581"/>
                </a:cubicBezTo>
                <a:cubicBezTo>
                  <a:pt x="25306" y="44598"/>
                  <a:pt x="25174" y="44605"/>
                  <a:pt x="25013" y="44617"/>
                </a:cubicBezTo>
                <a:cubicBezTo>
                  <a:pt x="24771" y="44631"/>
                  <a:pt x="24771" y="44631"/>
                  <a:pt x="24771" y="44631"/>
                </a:cubicBezTo>
                <a:cubicBezTo>
                  <a:pt x="24646" y="44664"/>
                  <a:pt x="24570" y="44712"/>
                  <a:pt x="24424" y="44894"/>
                </a:cubicBezTo>
                <a:cubicBezTo>
                  <a:pt x="24135" y="45256"/>
                  <a:pt x="23725" y="46324"/>
                  <a:pt x="23569" y="46967"/>
                </a:cubicBezTo>
                <a:cubicBezTo>
                  <a:pt x="23969" y="46837"/>
                  <a:pt x="24386" y="46759"/>
                  <a:pt x="24570" y="46768"/>
                </a:cubicBezTo>
                <a:cubicBezTo>
                  <a:pt x="24726" y="46743"/>
                  <a:pt x="25119" y="46449"/>
                  <a:pt x="25621" y="45715"/>
                </a:cubicBezTo>
                <a:cubicBezTo>
                  <a:pt x="25699" y="45507"/>
                  <a:pt x="25804" y="45320"/>
                  <a:pt x="25936" y="45159"/>
                </a:cubicBezTo>
                <a:cubicBezTo>
                  <a:pt x="25972" y="45112"/>
                  <a:pt x="26069" y="44991"/>
                  <a:pt x="26246" y="44991"/>
                </a:cubicBezTo>
                <a:cubicBezTo>
                  <a:pt x="26459" y="44991"/>
                  <a:pt x="26459" y="44991"/>
                  <a:pt x="26459" y="44991"/>
                </a:cubicBezTo>
                <a:cubicBezTo>
                  <a:pt x="26561" y="45180"/>
                  <a:pt x="26561" y="45180"/>
                  <a:pt x="26561" y="45180"/>
                </a:cubicBezTo>
                <a:cubicBezTo>
                  <a:pt x="26649" y="45346"/>
                  <a:pt x="26644" y="45460"/>
                  <a:pt x="26258" y="46035"/>
                </a:cubicBezTo>
                <a:cubicBezTo>
                  <a:pt x="26078" y="46612"/>
                  <a:pt x="26208" y="47358"/>
                  <a:pt x="26372" y="47905"/>
                </a:cubicBezTo>
                <a:cubicBezTo>
                  <a:pt x="26457" y="47855"/>
                  <a:pt x="26556" y="47817"/>
                  <a:pt x="26672" y="47803"/>
                </a:cubicBezTo>
                <a:cubicBezTo>
                  <a:pt x="26814" y="47775"/>
                  <a:pt x="27148" y="47233"/>
                  <a:pt x="27342" y="46603"/>
                </a:cubicBezTo>
                <a:cubicBezTo>
                  <a:pt x="27352" y="46575"/>
                  <a:pt x="27352" y="46575"/>
                  <a:pt x="27352" y="46575"/>
                </a:cubicBezTo>
                <a:cubicBezTo>
                  <a:pt x="27917" y="45199"/>
                  <a:pt x="28606" y="44861"/>
                  <a:pt x="28682" y="44825"/>
                </a:cubicBezTo>
                <a:cubicBezTo>
                  <a:pt x="28751" y="44797"/>
                  <a:pt x="28751" y="44797"/>
                  <a:pt x="28751" y="44797"/>
                </a:cubicBezTo>
                <a:cubicBezTo>
                  <a:pt x="30784" y="44776"/>
                  <a:pt x="30784" y="44776"/>
                  <a:pt x="30784" y="44776"/>
                </a:cubicBezTo>
                <a:cubicBezTo>
                  <a:pt x="30710" y="44406"/>
                  <a:pt x="30613" y="44278"/>
                  <a:pt x="30576" y="44241"/>
                </a:cubicBezTo>
                <a:cubicBezTo>
                  <a:pt x="30533" y="44241"/>
                  <a:pt x="30533" y="44241"/>
                  <a:pt x="30533" y="44241"/>
                </a:cubicBezTo>
                <a:cubicBezTo>
                  <a:pt x="29752" y="44210"/>
                  <a:pt x="29205" y="43990"/>
                  <a:pt x="28909" y="43587"/>
                </a:cubicBezTo>
                <a:cubicBezTo>
                  <a:pt x="28585" y="43147"/>
                  <a:pt x="28701" y="42676"/>
                  <a:pt x="28713" y="42624"/>
                </a:cubicBezTo>
                <a:cubicBezTo>
                  <a:pt x="28732" y="42574"/>
                  <a:pt x="28732" y="42574"/>
                  <a:pt x="28732" y="42574"/>
                </a:cubicBezTo>
                <a:close/>
                <a:moveTo>
                  <a:pt x="18629" y="42962"/>
                </a:moveTo>
                <a:cubicBezTo>
                  <a:pt x="19713" y="37452"/>
                  <a:pt x="18882" y="36505"/>
                  <a:pt x="18882" y="36505"/>
                </a:cubicBezTo>
                <a:cubicBezTo>
                  <a:pt x="18882" y="36505"/>
                  <a:pt x="19375" y="32999"/>
                  <a:pt x="18882" y="30618"/>
                </a:cubicBezTo>
                <a:cubicBezTo>
                  <a:pt x="18634" y="29408"/>
                  <a:pt x="18882" y="26348"/>
                  <a:pt x="18882" y="26348"/>
                </a:cubicBezTo>
                <a:cubicBezTo>
                  <a:pt x="18882" y="26348"/>
                  <a:pt x="18735" y="26099"/>
                  <a:pt x="18357" y="26523"/>
                </a:cubicBezTo>
                <a:cubicBezTo>
                  <a:pt x="16846" y="26132"/>
                  <a:pt x="15190" y="27051"/>
                  <a:pt x="14572" y="27131"/>
                </a:cubicBezTo>
                <a:cubicBezTo>
                  <a:pt x="14176" y="27181"/>
                  <a:pt x="13750" y="27297"/>
                  <a:pt x="13452" y="27224"/>
                </a:cubicBezTo>
                <a:cubicBezTo>
                  <a:pt x="13383" y="27389"/>
                  <a:pt x="13090" y="27953"/>
                  <a:pt x="13857" y="28232"/>
                </a:cubicBezTo>
                <a:cubicBezTo>
                  <a:pt x="14702" y="28542"/>
                  <a:pt x="14853" y="28625"/>
                  <a:pt x="14853" y="28625"/>
                </a:cubicBezTo>
                <a:cubicBezTo>
                  <a:pt x="14155" y="29501"/>
                  <a:pt x="14155" y="29501"/>
                  <a:pt x="14155" y="29501"/>
                </a:cubicBezTo>
                <a:cubicBezTo>
                  <a:pt x="14155" y="29501"/>
                  <a:pt x="14281" y="29827"/>
                  <a:pt x="14636" y="29849"/>
                </a:cubicBezTo>
                <a:cubicBezTo>
                  <a:pt x="14991" y="29868"/>
                  <a:pt x="15204" y="30081"/>
                  <a:pt x="14789" y="30751"/>
                </a:cubicBezTo>
                <a:cubicBezTo>
                  <a:pt x="14238" y="31640"/>
                  <a:pt x="13151" y="32107"/>
                  <a:pt x="13151" y="32107"/>
                </a:cubicBezTo>
                <a:cubicBezTo>
                  <a:pt x="13151" y="32107"/>
                  <a:pt x="12108" y="32429"/>
                  <a:pt x="11703" y="32303"/>
                </a:cubicBezTo>
                <a:cubicBezTo>
                  <a:pt x="11490" y="32436"/>
                  <a:pt x="11355" y="32308"/>
                  <a:pt x="11355" y="32308"/>
                </a:cubicBezTo>
                <a:cubicBezTo>
                  <a:pt x="11355" y="31418"/>
                  <a:pt x="11355" y="31418"/>
                  <a:pt x="11355" y="31418"/>
                </a:cubicBezTo>
                <a:cubicBezTo>
                  <a:pt x="12794" y="31427"/>
                  <a:pt x="12794" y="31427"/>
                  <a:pt x="12794" y="31427"/>
                </a:cubicBezTo>
                <a:cubicBezTo>
                  <a:pt x="11693" y="28814"/>
                  <a:pt x="11693" y="28814"/>
                  <a:pt x="11693" y="28814"/>
                </a:cubicBezTo>
                <a:cubicBezTo>
                  <a:pt x="12418" y="28814"/>
                  <a:pt x="12418" y="28814"/>
                  <a:pt x="12418" y="28814"/>
                </a:cubicBezTo>
                <a:cubicBezTo>
                  <a:pt x="11471" y="26539"/>
                  <a:pt x="11471" y="26539"/>
                  <a:pt x="11471" y="26539"/>
                </a:cubicBezTo>
                <a:cubicBezTo>
                  <a:pt x="12053" y="26539"/>
                  <a:pt x="12053" y="26539"/>
                  <a:pt x="12053" y="26539"/>
                </a:cubicBezTo>
                <a:cubicBezTo>
                  <a:pt x="10649" y="23694"/>
                  <a:pt x="10649" y="23694"/>
                  <a:pt x="10649" y="23694"/>
                </a:cubicBezTo>
                <a:cubicBezTo>
                  <a:pt x="8969" y="26539"/>
                  <a:pt x="8969" y="26539"/>
                  <a:pt x="8969" y="26539"/>
                </a:cubicBezTo>
                <a:cubicBezTo>
                  <a:pt x="9778" y="26539"/>
                  <a:pt x="9778" y="26539"/>
                  <a:pt x="9778" y="26539"/>
                </a:cubicBezTo>
                <a:cubicBezTo>
                  <a:pt x="8848" y="28814"/>
                  <a:pt x="8848" y="28814"/>
                  <a:pt x="8848" y="28814"/>
                </a:cubicBezTo>
                <a:cubicBezTo>
                  <a:pt x="9594" y="28814"/>
                  <a:pt x="9594" y="28814"/>
                  <a:pt x="9594" y="28814"/>
                </a:cubicBezTo>
                <a:cubicBezTo>
                  <a:pt x="8287" y="31427"/>
                  <a:pt x="8287" y="31427"/>
                  <a:pt x="8287" y="31427"/>
                </a:cubicBezTo>
                <a:cubicBezTo>
                  <a:pt x="10126" y="31427"/>
                  <a:pt x="10126" y="31427"/>
                  <a:pt x="10126" y="31427"/>
                </a:cubicBezTo>
                <a:cubicBezTo>
                  <a:pt x="10391" y="32325"/>
                  <a:pt x="9651" y="32737"/>
                  <a:pt x="9601" y="33004"/>
                </a:cubicBezTo>
                <a:cubicBezTo>
                  <a:pt x="9508" y="33508"/>
                  <a:pt x="10126" y="33880"/>
                  <a:pt x="10126" y="33880"/>
                </a:cubicBezTo>
                <a:cubicBezTo>
                  <a:pt x="10126" y="33880"/>
                  <a:pt x="10197" y="35352"/>
                  <a:pt x="10084" y="35717"/>
                </a:cubicBezTo>
                <a:cubicBezTo>
                  <a:pt x="9970" y="36079"/>
                  <a:pt x="9426" y="36154"/>
                  <a:pt x="9426" y="36154"/>
                </a:cubicBezTo>
                <a:cubicBezTo>
                  <a:pt x="9426" y="36154"/>
                  <a:pt x="9492" y="36888"/>
                  <a:pt x="10126" y="37030"/>
                </a:cubicBezTo>
                <a:cubicBezTo>
                  <a:pt x="10126" y="37547"/>
                  <a:pt x="10105" y="38652"/>
                  <a:pt x="10105" y="38652"/>
                </a:cubicBezTo>
                <a:cubicBezTo>
                  <a:pt x="9584" y="39182"/>
                  <a:pt x="9584" y="39182"/>
                  <a:pt x="9584" y="39182"/>
                </a:cubicBezTo>
                <a:cubicBezTo>
                  <a:pt x="10126" y="39658"/>
                  <a:pt x="10126" y="39658"/>
                  <a:pt x="10126" y="39658"/>
                </a:cubicBezTo>
                <a:cubicBezTo>
                  <a:pt x="9809" y="40089"/>
                  <a:pt x="9809" y="40089"/>
                  <a:pt x="9809" y="40089"/>
                </a:cubicBezTo>
                <a:cubicBezTo>
                  <a:pt x="10562" y="40773"/>
                  <a:pt x="10562" y="40773"/>
                  <a:pt x="10562" y="40773"/>
                </a:cubicBezTo>
                <a:cubicBezTo>
                  <a:pt x="11277" y="40084"/>
                  <a:pt x="11277" y="40084"/>
                  <a:pt x="11277" y="40084"/>
                </a:cubicBezTo>
                <a:cubicBezTo>
                  <a:pt x="11002" y="39658"/>
                  <a:pt x="11002" y="39658"/>
                  <a:pt x="11002" y="39658"/>
                </a:cubicBezTo>
                <a:cubicBezTo>
                  <a:pt x="11516" y="39182"/>
                  <a:pt x="11516" y="39182"/>
                  <a:pt x="11516" y="39182"/>
                </a:cubicBezTo>
                <a:cubicBezTo>
                  <a:pt x="11009" y="38652"/>
                  <a:pt x="11009" y="38652"/>
                  <a:pt x="11009" y="38652"/>
                </a:cubicBezTo>
                <a:cubicBezTo>
                  <a:pt x="11009" y="38652"/>
                  <a:pt x="11002" y="37643"/>
                  <a:pt x="11002" y="37381"/>
                </a:cubicBezTo>
                <a:cubicBezTo>
                  <a:pt x="11002" y="37118"/>
                  <a:pt x="13102" y="36505"/>
                  <a:pt x="13102" y="36505"/>
                </a:cubicBezTo>
                <a:cubicBezTo>
                  <a:pt x="13102" y="36505"/>
                  <a:pt x="14463" y="37658"/>
                  <a:pt x="14068" y="38870"/>
                </a:cubicBezTo>
                <a:cubicBezTo>
                  <a:pt x="13772" y="39774"/>
                  <a:pt x="11947" y="41691"/>
                  <a:pt x="11947" y="41691"/>
                </a:cubicBezTo>
                <a:cubicBezTo>
                  <a:pt x="10578" y="43665"/>
                  <a:pt x="11615" y="44186"/>
                  <a:pt x="11873" y="44936"/>
                </a:cubicBezTo>
                <a:cubicBezTo>
                  <a:pt x="12072" y="45521"/>
                  <a:pt x="11544" y="46061"/>
                  <a:pt x="11045" y="46395"/>
                </a:cubicBezTo>
                <a:cubicBezTo>
                  <a:pt x="10126" y="47012"/>
                  <a:pt x="10126" y="47715"/>
                  <a:pt x="10126" y="47715"/>
                </a:cubicBezTo>
                <a:cubicBezTo>
                  <a:pt x="11667" y="47720"/>
                  <a:pt x="11667" y="47720"/>
                  <a:pt x="11667" y="47720"/>
                </a:cubicBezTo>
                <a:cubicBezTo>
                  <a:pt x="13570" y="47720"/>
                  <a:pt x="13570" y="47720"/>
                  <a:pt x="13570" y="47720"/>
                </a:cubicBezTo>
                <a:cubicBezTo>
                  <a:pt x="13857" y="46664"/>
                  <a:pt x="13575" y="45102"/>
                  <a:pt x="13575" y="45102"/>
                </a:cubicBezTo>
                <a:cubicBezTo>
                  <a:pt x="13596" y="42953"/>
                  <a:pt x="15379" y="42811"/>
                  <a:pt x="15379" y="42811"/>
                </a:cubicBezTo>
                <a:cubicBezTo>
                  <a:pt x="15698" y="43440"/>
                  <a:pt x="15859" y="43755"/>
                  <a:pt x="16179" y="44214"/>
                </a:cubicBezTo>
                <a:cubicBezTo>
                  <a:pt x="16858" y="45194"/>
                  <a:pt x="16955" y="46139"/>
                  <a:pt x="16955" y="46139"/>
                </a:cubicBezTo>
                <a:cubicBezTo>
                  <a:pt x="16697" y="46577"/>
                  <a:pt x="16345" y="46811"/>
                  <a:pt x="16070" y="46908"/>
                </a:cubicBezTo>
                <a:cubicBezTo>
                  <a:pt x="15055" y="47273"/>
                  <a:pt x="15379" y="47715"/>
                  <a:pt x="15379" y="47715"/>
                </a:cubicBezTo>
                <a:cubicBezTo>
                  <a:pt x="15398" y="47706"/>
                  <a:pt x="16515" y="47720"/>
                  <a:pt x="16515" y="47720"/>
                </a:cubicBezTo>
                <a:cubicBezTo>
                  <a:pt x="19940" y="47910"/>
                  <a:pt x="19408" y="46312"/>
                  <a:pt x="19408" y="46312"/>
                </a:cubicBezTo>
                <a:cubicBezTo>
                  <a:pt x="18264" y="44813"/>
                  <a:pt x="18629" y="42962"/>
                  <a:pt x="18629" y="42962"/>
                </a:cubicBezTo>
                <a:cubicBezTo>
                  <a:pt x="18629" y="42962"/>
                  <a:pt x="18629" y="42962"/>
                  <a:pt x="18629" y="42962"/>
                </a:cubicBezTo>
                <a:close/>
                <a:moveTo>
                  <a:pt x="26810" y="7709"/>
                </a:moveTo>
                <a:cubicBezTo>
                  <a:pt x="27541" y="4847"/>
                  <a:pt x="27541" y="4847"/>
                  <a:pt x="27541" y="4847"/>
                </a:cubicBezTo>
                <a:cubicBezTo>
                  <a:pt x="21538" y="4847"/>
                  <a:pt x="21538" y="4847"/>
                  <a:pt x="21538" y="4847"/>
                </a:cubicBezTo>
                <a:cubicBezTo>
                  <a:pt x="26810" y="7709"/>
                  <a:pt x="26810" y="7709"/>
                  <a:pt x="26810" y="7709"/>
                </a:cubicBezTo>
                <a:cubicBezTo>
                  <a:pt x="26810" y="7709"/>
                  <a:pt x="26810" y="7709"/>
                  <a:pt x="26810" y="7709"/>
                </a:cubicBezTo>
                <a:close/>
              </a:path>
            </a:pathLst>
          </a:custGeom>
          <a:solidFill>
            <a:schemeClr val="accent6">
              <a:lumMod val="20000"/>
              <a:lumOff val="80000"/>
            </a:schemeClr>
          </a:solidFill>
          <a:ln>
            <a:noFill/>
          </a:ln>
        </p:spPr>
        <p:txBody>
          <a:bodyPr vert="horz" wrap="square" lIns="91440" tIns="45721" rIns="91440" bIns="45721" numCol="1" anchor="t" anchorCtr="0" compatLnSpc="1">
            <a:prstTxWarp prst="textNoShape">
              <a:avLst/>
            </a:prstTxWarp>
          </a:bodyPr>
          <a:lstStyle/>
          <a:p>
            <a:endParaRPr lang="de-DE" sz="1801" dirty="0"/>
          </a:p>
        </p:txBody>
      </p:sp>
      <p:sp>
        <p:nvSpPr>
          <p:cNvPr id="5" name="Rechteck 4">
            <a:extLst>
              <a:ext uri="{FF2B5EF4-FFF2-40B4-BE49-F238E27FC236}">
                <a16:creationId xmlns:a16="http://schemas.microsoft.com/office/drawing/2014/main" id="{10B79B50-0424-4D31-8AE7-7CC4B02231E1}"/>
              </a:ext>
            </a:extLst>
          </p:cNvPr>
          <p:cNvSpPr/>
          <p:nvPr userDrawn="1"/>
        </p:nvSpPr>
        <p:spPr bwMode="gray">
          <a:xfrm>
            <a:off x="0" y="6750000"/>
            <a:ext cx="9144000" cy="10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pic>
        <p:nvPicPr>
          <p:cNvPr id="6" name="Picture 2">
            <a:extLst>
              <a:ext uri="{FF2B5EF4-FFF2-40B4-BE49-F238E27FC236}">
                <a16:creationId xmlns:a16="http://schemas.microsoft.com/office/drawing/2014/main" id="{6B62F34A-EE75-40E6-9F3F-316C859EF3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6948264" y="343999"/>
            <a:ext cx="1944216" cy="733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platzhalter 8"/>
          <p:cNvSpPr>
            <a:spLocks noGrp="1"/>
          </p:cNvSpPr>
          <p:nvPr>
            <p:ph type="body" sz="quarter" idx="10" hasCustomPrompt="1"/>
          </p:nvPr>
        </p:nvSpPr>
        <p:spPr>
          <a:xfrm>
            <a:off x="0" y="2204864"/>
            <a:ext cx="1588311" cy="355276"/>
          </a:xfrm>
          <a:solidFill>
            <a:schemeClr val="tx2"/>
          </a:solidFill>
        </p:spPr>
        <p:txBody>
          <a:bodyPr wrap="none" lIns="468000" tIns="54000" rIns="108000" bIns="54000" anchor="ctr">
            <a:spAutoFit/>
          </a:bodyPr>
          <a:lstStyle>
            <a:lvl1pPr marL="0" indent="0">
              <a:lnSpc>
                <a:spcPct val="100000"/>
              </a:lnSpc>
              <a:spcBef>
                <a:spcPts val="0"/>
              </a:spcBef>
              <a:buFont typeface="Arial" panose="020B0604020202020204" pitchFamily="34" charset="0"/>
              <a:buNone/>
              <a:defRPr sz="1600" baseline="0">
                <a:solidFill>
                  <a:schemeClr val="bg1"/>
                </a:solidFill>
              </a:defRPr>
            </a:lvl1pPr>
            <a:lvl2pPr marL="0" indent="0">
              <a:lnSpc>
                <a:spcPct val="100000"/>
              </a:lnSpc>
              <a:spcBef>
                <a:spcPts val="0"/>
              </a:spcBef>
              <a:buNone/>
              <a:defRPr sz="1600">
                <a:solidFill>
                  <a:schemeClr val="bg1"/>
                </a:solidFill>
              </a:defRPr>
            </a:lvl2pPr>
            <a:lvl3pPr marL="0" indent="0">
              <a:lnSpc>
                <a:spcPct val="100000"/>
              </a:lnSpc>
              <a:spcBef>
                <a:spcPts val="0"/>
              </a:spcBef>
              <a:buNone/>
              <a:defRPr sz="1600">
                <a:solidFill>
                  <a:schemeClr val="bg1"/>
                </a:solidFill>
              </a:defRPr>
            </a:lvl3pPr>
            <a:lvl4pPr marL="0" indent="0">
              <a:lnSpc>
                <a:spcPct val="100000"/>
              </a:lnSpc>
              <a:spcBef>
                <a:spcPts val="0"/>
              </a:spcBef>
              <a:buNone/>
              <a:defRPr sz="1600">
                <a:solidFill>
                  <a:schemeClr val="bg1"/>
                </a:solidFill>
              </a:defRPr>
            </a:lvl4pPr>
            <a:lvl5pPr marL="0" indent="0">
              <a:lnSpc>
                <a:spcPct val="100000"/>
              </a:lnSpc>
              <a:spcBef>
                <a:spcPts val="0"/>
              </a:spcBef>
              <a:buNone/>
              <a:defRPr sz="1600">
                <a:solidFill>
                  <a:schemeClr val="bg1"/>
                </a:solidFill>
              </a:defRPr>
            </a:lvl5pPr>
            <a:lvl6pPr marL="0" indent="0">
              <a:lnSpc>
                <a:spcPct val="100000"/>
              </a:lnSpc>
              <a:spcBef>
                <a:spcPts val="0"/>
              </a:spcBef>
              <a:buNone/>
              <a:defRPr sz="1600">
                <a:solidFill>
                  <a:schemeClr val="bg1"/>
                </a:solidFill>
              </a:defRPr>
            </a:lvl6pPr>
            <a:lvl7pPr marL="0" indent="0">
              <a:lnSpc>
                <a:spcPct val="100000"/>
              </a:lnSpc>
              <a:spcBef>
                <a:spcPts val="0"/>
              </a:spcBef>
              <a:buNone/>
              <a:defRPr sz="1600">
                <a:solidFill>
                  <a:schemeClr val="bg1"/>
                </a:solidFill>
              </a:defRPr>
            </a:lvl7pPr>
            <a:lvl8pPr marL="0" indent="0">
              <a:lnSpc>
                <a:spcPct val="100000"/>
              </a:lnSpc>
              <a:spcBef>
                <a:spcPts val="0"/>
              </a:spcBef>
              <a:buNone/>
              <a:defRPr sz="1600">
                <a:solidFill>
                  <a:schemeClr val="bg1"/>
                </a:solidFill>
              </a:defRPr>
            </a:lvl8pPr>
            <a:lvl9pPr marL="0" indent="0">
              <a:lnSpc>
                <a:spcPct val="100000"/>
              </a:lnSpc>
              <a:spcBef>
                <a:spcPts val="0"/>
              </a:spcBef>
              <a:buNone/>
              <a:defRPr sz="1600">
                <a:solidFill>
                  <a:schemeClr val="bg1"/>
                </a:solidFill>
              </a:defRPr>
            </a:lvl9pPr>
          </a:lstStyle>
          <a:p>
            <a:pPr lvl="0"/>
            <a:r>
              <a:rPr lang="de-DE" noProof="0" dirty="0"/>
              <a:t>Ort, Datum</a:t>
            </a:r>
          </a:p>
        </p:txBody>
      </p:sp>
    </p:spTree>
    <p:extLst>
      <p:ext uri="{BB962C8B-B14F-4D97-AF65-F5344CB8AC3E}">
        <p14:creationId xmlns:p14="http://schemas.microsoft.com/office/powerpoint/2010/main" val="36578007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renner&#10;Section Heading">
    <p:spTree>
      <p:nvGrpSpPr>
        <p:cNvPr id="1" name=""/>
        <p:cNvGrpSpPr/>
        <p:nvPr/>
      </p:nvGrpSpPr>
      <p:grpSpPr>
        <a:xfrm>
          <a:off x="0" y="0"/>
          <a:ext cx="0" cy="0"/>
          <a:chOff x="0" y="0"/>
          <a:chExt cx="0" cy="0"/>
        </a:xfrm>
      </p:grpSpPr>
      <p:sp>
        <p:nvSpPr>
          <p:cNvPr id="3" name="Bildplatzhalter 2"/>
          <p:cNvSpPr>
            <a:spLocks noGrp="1"/>
          </p:cNvSpPr>
          <p:nvPr>
            <p:ph type="pic" sz="quarter" idx="15"/>
          </p:nvPr>
        </p:nvSpPr>
        <p:spPr>
          <a:xfrm>
            <a:off x="0" y="0"/>
            <a:ext cx="9144000" cy="6858000"/>
          </a:xfrm>
          <a:noFill/>
        </p:spPr>
        <p:txBody>
          <a:bodyPr tIns="3024000"/>
          <a:lstStyle>
            <a:lvl1pPr marL="0" indent="0" algn="ctr">
              <a:spcBef>
                <a:spcPts val="0"/>
              </a:spcBef>
              <a:spcAft>
                <a:spcPts val="0"/>
              </a:spcAft>
              <a:buFont typeface="Arial" panose="020B0604020202020204" pitchFamily="34" charset="0"/>
              <a:buNone/>
              <a:defRPr sz="1000" b="0">
                <a:solidFill>
                  <a:schemeClr val="tx1"/>
                </a:solidFill>
              </a:defRPr>
            </a:lvl1pPr>
            <a:lvl2pPr marL="0" indent="0" algn="ctr">
              <a:spcBef>
                <a:spcPts val="0"/>
              </a:spcBef>
              <a:spcAft>
                <a:spcPts val="0"/>
              </a:spcAft>
              <a:buNone/>
              <a:defRPr sz="1000" b="0">
                <a:solidFill>
                  <a:schemeClr val="tx1"/>
                </a:solidFill>
              </a:defRPr>
            </a:lvl2pPr>
            <a:lvl3pPr marL="0" indent="0" algn="ctr">
              <a:spcBef>
                <a:spcPts val="0"/>
              </a:spcBef>
              <a:spcAft>
                <a:spcPts val="0"/>
              </a:spcAft>
              <a:buNone/>
              <a:defRPr sz="1000" b="0">
                <a:solidFill>
                  <a:schemeClr val="tx1"/>
                </a:solidFill>
              </a:defRPr>
            </a:lvl3pPr>
            <a:lvl4pPr marL="0" indent="0" algn="ctr">
              <a:spcBef>
                <a:spcPts val="0"/>
              </a:spcBef>
              <a:spcAft>
                <a:spcPts val="0"/>
              </a:spcAft>
              <a:buNone/>
              <a:defRPr sz="1000" b="0">
                <a:solidFill>
                  <a:schemeClr val="tx1"/>
                </a:solidFill>
              </a:defRPr>
            </a:lvl4pPr>
            <a:lvl5pPr marL="0" indent="0" algn="ctr">
              <a:spcBef>
                <a:spcPts val="0"/>
              </a:spcBef>
              <a:spcAft>
                <a:spcPts val="0"/>
              </a:spcAft>
              <a:buNone/>
              <a:defRPr sz="1000" b="0">
                <a:solidFill>
                  <a:schemeClr val="tx1"/>
                </a:solidFill>
              </a:defRPr>
            </a:lvl5pPr>
            <a:lvl6pPr marL="0" indent="0" algn="ctr">
              <a:spcBef>
                <a:spcPts val="0"/>
              </a:spcBef>
              <a:spcAft>
                <a:spcPts val="0"/>
              </a:spcAft>
              <a:buNone/>
              <a:defRPr sz="1000" b="0">
                <a:solidFill>
                  <a:schemeClr val="tx1"/>
                </a:solidFill>
              </a:defRPr>
            </a:lvl6pPr>
            <a:lvl7pPr marL="0" indent="0" algn="ctr">
              <a:spcBef>
                <a:spcPts val="0"/>
              </a:spcBef>
              <a:spcAft>
                <a:spcPts val="0"/>
              </a:spcAft>
              <a:buNone/>
              <a:defRPr sz="1000" b="0">
                <a:solidFill>
                  <a:schemeClr val="tx1"/>
                </a:solidFill>
              </a:defRPr>
            </a:lvl7pPr>
            <a:lvl8pPr marL="0" indent="0" algn="ctr">
              <a:spcBef>
                <a:spcPts val="0"/>
              </a:spcBef>
              <a:spcAft>
                <a:spcPts val="0"/>
              </a:spcAft>
              <a:buNone/>
              <a:defRPr sz="1000" b="0">
                <a:solidFill>
                  <a:schemeClr val="tx1"/>
                </a:solidFill>
              </a:defRPr>
            </a:lvl8pPr>
            <a:lvl9pPr marL="0" indent="0" algn="ctr">
              <a:spcBef>
                <a:spcPts val="0"/>
              </a:spcBef>
              <a:spcAft>
                <a:spcPts val="0"/>
              </a:spcAft>
              <a:buNone/>
              <a:defRPr sz="1000" b="0">
                <a:solidFill>
                  <a:schemeClr val="tx1"/>
                </a:solidFill>
              </a:defRPr>
            </a:lvl9pPr>
          </a:lstStyle>
          <a:p>
            <a:r>
              <a:rPr lang="en-US"/>
              <a:t>Click icon to add picture</a:t>
            </a:r>
            <a:endParaRPr lang="en-GB" dirty="0"/>
          </a:p>
        </p:txBody>
      </p:sp>
      <p:sp>
        <p:nvSpPr>
          <p:cNvPr id="14" name="Titel 1"/>
          <p:cNvSpPr>
            <a:spLocks noGrp="1"/>
          </p:cNvSpPr>
          <p:nvPr>
            <p:ph type="title" hasCustomPrompt="1"/>
          </p:nvPr>
        </p:nvSpPr>
        <p:spPr bwMode="gray">
          <a:xfrm>
            <a:off x="0" y="2969034"/>
            <a:ext cx="4499992" cy="1279575"/>
          </a:xfrm>
          <a:solidFill>
            <a:schemeClr val="bg1">
              <a:alpha val="80000"/>
            </a:schemeClr>
          </a:solidFill>
          <a:ln>
            <a:noFill/>
          </a:ln>
          <a:effectLst/>
        </p:spPr>
        <p:txBody>
          <a:bodyPr wrap="square" lIns="432000" tIns="360000" rIns="72000" bIns="450000" anchor="b" anchorCtr="0">
            <a:spAutoFit/>
          </a:bodyPr>
          <a:lstStyle>
            <a:lvl1pPr>
              <a:defRPr sz="3000" b="0" cap="none" baseline="0">
                <a:solidFill>
                  <a:schemeClr val="tx1"/>
                </a:solidFill>
              </a:defRPr>
            </a:lvl1pPr>
          </a:lstStyle>
          <a:p>
            <a:r>
              <a:rPr lang="de-DE" dirty="0"/>
              <a:t>Kapitelname</a:t>
            </a:r>
          </a:p>
        </p:txBody>
      </p:sp>
      <p:sp>
        <p:nvSpPr>
          <p:cNvPr id="8" name="Textplatzhalter 4"/>
          <p:cNvSpPr>
            <a:spLocks noGrp="1"/>
          </p:cNvSpPr>
          <p:nvPr>
            <p:ph type="body" sz="quarter" idx="18" hasCustomPrompt="1"/>
          </p:nvPr>
        </p:nvSpPr>
        <p:spPr>
          <a:xfrm>
            <a:off x="467544" y="3990672"/>
            <a:ext cx="504000" cy="86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00"/>
            </a:lvl1pPr>
          </a:lstStyle>
          <a:p>
            <a:pPr lvl="0"/>
            <a:r>
              <a:rPr lang="de-DE" dirty="0"/>
              <a:t> </a:t>
            </a:r>
          </a:p>
        </p:txBody>
      </p:sp>
      <p:sp>
        <p:nvSpPr>
          <p:cNvPr id="5" name="Textplatzhalter 4"/>
          <p:cNvSpPr>
            <a:spLocks noGrp="1"/>
          </p:cNvSpPr>
          <p:nvPr>
            <p:ph type="body" sz="quarter" idx="19" hasCustomPrompt="1"/>
          </p:nvPr>
        </p:nvSpPr>
        <p:spPr>
          <a:xfrm>
            <a:off x="1" y="4249083"/>
            <a:ext cx="4499992" cy="692085"/>
          </a:xfrm>
          <a:solidFill>
            <a:schemeClr val="bg1">
              <a:alpha val="80000"/>
            </a:schemeClr>
          </a:solidFill>
        </p:spPr>
        <p:txBody>
          <a:bodyPr wrap="square" lIns="468000" tIns="108000" rIns="72000" bIns="108000">
            <a:spAutoFit/>
          </a:bodyPr>
          <a:lstStyle>
            <a:lvl1pPr>
              <a:spcBef>
                <a:spcPts val="0"/>
              </a:spcBef>
              <a:defRPr/>
            </a:lvl1pPr>
            <a:lvl3pPr marL="176213" indent="-176213">
              <a:buClr>
                <a:schemeClr val="tx2"/>
              </a:buClr>
              <a:buFont typeface="Arial" panose="020B0604020202020204" pitchFamily="34" charset="0"/>
              <a:buChar char="•"/>
              <a:defRPr/>
            </a:lvl3pPr>
            <a:lvl4pPr marL="176213" indent="-176213">
              <a:buClr>
                <a:schemeClr val="tx2"/>
              </a:buClr>
              <a:buFont typeface="Arial" panose="020B0604020202020204" pitchFamily="34" charset="0"/>
              <a:buChar char="•"/>
              <a:defRPr/>
            </a:lvl4pPr>
            <a:lvl5pPr marL="176213" indent="-176213">
              <a:buClr>
                <a:schemeClr val="tx2"/>
              </a:buClr>
              <a:buFont typeface="Arial" panose="020B0604020202020204" pitchFamily="34" charset="0"/>
              <a:buChar char="•"/>
              <a:defRPr/>
            </a:lvl5pPr>
            <a:lvl6pPr marL="176213" indent="-176213">
              <a:buClr>
                <a:schemeClr val="tx2"/>
              </a:buClr>
              <a:buFont typeface="Arial" panose="020B0604020202020204" pitchFamily="34" charset="0"/>
              <a:buChar char="•"/>
              <a:defRPr/>
            </a:lvl6pPr>
            <a:lvl7pPr marL="176213" indent="-176213">
              <a:buClr>
                <a:schemeClr val="tx2"/>
              </a:buClr>
              <a:buFont typeface="Arial" panose="020B0604020202020204" pitchFamily="34" charset="0"/>
              <a:buChar char="•"/>
              <a:defRPr/>
            </a:lvl7pPr>
            <a:lvl8pPr marL="176213" indent="-176213">
              <a:buClr>
                <a:schemeClr val="tx2"/>
              </a:buClr>
              <a:buFont typeface="Arial" panose="020B0604020202020204" pitchFamily="34" charset="0"/>
              <a:buChar char="•"/>
              <a:defRPr/>
            </a:lvl8pPr>
            <a:lvl9pPr marL="176213" indent="-176213">
              <a:buClr>
                <a:schemeClr val="tx2"/>
              </a:buClr>
              <a:buFont typeface="Arial" panose="020B0604020202020204" pitchFamily="34" charset="0"/>
              <a:buChar char="•"/>
              <a:defRPr/>
            </a:lvl9pPr>
          </a:lstStyle>
          <a:p>
            <a:pPr lvl="0"/>
            <a:r>
              <a:rPr lang="de-DE" noProof="0" dirty="0"/>
              <a:t>Einleitender Text oder Unterkapitel</a:t>
            </a:r>
            <a:br>
              <a:rPr lang="de-DE" noProof="0" dirty="0"/>
            </a:br>
            <a:r>
              <a:rPr lang="de-DE" noProof="0" dirty="0"/>
              <a:t>(Bei Nichtverwendung bitte löschen)</a:t>
            </a:r>
          </a:p>
        </p:txBody>
      </p:sp>
      <p:sp>
        <p:nvSpPr>
          <p:cNvPr id="6" name="Textplatzhalter 3">
            <a:extLst>
              <a:ext uri="{FF2B5EF4-FFF2-40B4-BE49-F238E27FC236}">
                <a16:creationId xmlns:a16="http://schemas.microsoft.com/office/drawing/2014/main" id="{7805F98F-C5A8-4FC2-8CC1-D1D8389AAAB4}"/>
              </a:ext>
            </a:extLst>
          </p:cNvPr>
          <p:cNvSpPr>
            <a:spLocks noGrp="1"/>
          </p:cNvSpPr>
          <p:nvPr>
            <p:ph type="body" sz="quarter" idx="17" hasCustomPrompt="1"/>
          </p:nvPr>
        </p:nvSpPr>
        <p:spPr>
          <a:xfrm>
            <a:off x="7380312" y="6750000"/>
            <a:ext cx="1512000" cy="108000"/>
          </a:xfrm>
          <a:solidFill>
            <a:schemeClr val="tx2"/>
          </a:solidFill>
          <a:ln w="3175">
            <a:solidFill>
              <a:schemeClr val="tx2"/>
            </a:solidFill>
          </a:ln>
        </p:spPr>
        <p:txBody>
          <a:bodyPr/>
          <a:lstStyle>
            <a:lvl1pPr marL="0" indent="0">
              <a:lnSpc>
                <a:spcPct val="100000"/>
              </a:lnSpc>
              <a:spcBef>
                <a:spcPts val="0"/>
              </a:spcBef>
              <a:buFont typeface="Arial" panose="020B0604020202020204" pitchFamily="34" charset="0"/>
              <a:buNone/>
              <a:defRPr/>
            </a:lvl1pPr>
            <a:lvl2pPr marL="0" indent="0">
              <a:lnSpc>
                <a:spcPct val="100000"/>
              </a:lnSpc>
              <a:spcBef>
                <a:spcPts val="0"/>
              </a:spcBef>
              <a:buNone/>
              <a:defRPr/>
            </a:lvl2pPr>
            <a:lvl3pPr marL="0" indent="0">
              <a:lnSpc>
                <a:spcPct val="100000"/>
              </a:lnSpc>
              <a:spcBef>
                <a:spcPts val="0"/>
              </a:spcBef>
              <a:buNone/>
              <a:defRPr/>
            </a:lvl3pPr>
            <a:lvl4pPr marL="0" indent="0">
              <a:lnSpc>
                <a:spcPct val="100000"/>
              </a:lnSpc>
              <a:spcBef>
                <a:spcPts val="0"/>
              </a:spcBef>
              <a:buNone/>
              <a:defRPr/>
            </a:lvl4pPr>
            <a:lvl5pPr marL="0" indent="0">
              <a:lnSpc>
                <a:spcPct val="100000"/>
              </a:lnSpc>
              <a:spcBef>
                <a:spcPts val="0"/>
              </a:spcBef>
              <a:buNone/>
              <a:defRPr/>
            </a:lvl5pPr>
            <a:lvl6pPr marL="0" indent="0">
              <a:lnSpc>
                <a:spcPct val="100000"/>
              </a:lnSpc>
              <a:spcBef>
                <a:spcPts val="0"/>
              </a:spcBef>
              <a:buNone/>
              <a:defRPr/>
            </a:lvl6pPr>
            <a:lvl7pPr marL="0" indent="0">
              <a:lnSpc>
                <a:spcPct val="100000"/>
              </a:lnSpc>
              <a:spcBef>
                <a:spcPts val="0"/>
              </a:spcBef>
              <a:buNone/>
              <a:defRPr/>
            </a:lvl7pPr>
            <a:lvl8pPr marL="0" indent="0">
              <a:lnSpc>
                <a:spcPct val="100000"/>
              </a:lnSpc>
              <a:spcBef>
                <a:spcPts val="0"/>
              </a:spcBef>
              <a:buNone/>
              <a:defRPr/>
            </a:lvl8pPr>
            <a:lvl9pPr marL="0" indent="0">
              <a:lnSpc>
                <a:spcPct val="100000"/>
              </a:lnSpc>
              <a:spcBef>
                <a:spcPts val="0"/>
              </a:spcBef>
              <a:buNone/>
              <a:defRPr/>
            </a:lvl9pPr>
          </a:lstStyle>
          <a:p>
            <a:pPr lvl="0"/>
            <a:r>
              <a:rPr lang="de-DE" dirty="0"/>
              <a:t> </a:t>
            </a:r>
          </a:p>
        </p:txBody>
      </p:sp>
    </p:spTree>
    <p:extLst>
      <p:ext uri="{BB962C8B-B14F-4D97-AF65-F5344CB8AC3E}">
        <p14:creationId xmlns:p14="http://schemas.microsoft.com/office/powerpoint/2010/main" val="26288145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apiteltrenner II&#10;Section Heading II">
    <p:spTree>
      <p:nvGrpSpPr>
        <p:cNvPr id="1" name=""/>
        <p:cNvGrpSpPr/>
        <p:nvPr/>
      </p:nvGrpSpPr>
      <p:grpSpPr>
        <a:xfrm>
          <a:off x="0" y="0"/>
          <a:ext cx="0" cy="0"/>
          <a:chOff x="0" y="0"/>
          <a:chExt cx="0" cy="0"/>
        </a:xfrm>
      </p:grpSpPr>
      <p:sp>
        <p:nvSpPr>
          <p:cNvPr id="7" name="Textplatzhalter 13"/>
          <p:cNvSpPr>
            <a:spLocks noGrp="1"/>
          </p:cNvSpPr>
          <p:nvPr>
            <p:ph type="body" sz="quarter" idx="13" hasCustomPrompt="1"/>
          </p:nvPr>
        </p:nvSpPr>
        <p:spPr bwMode="gray">
          <a:xfrm>
            <a:off x="1692872" y="4149724"/>
            <a:ext cx="4319288" cy="2158999"/>
          </a:xfrm>
          <a:noFill/>
          <a:ln>
            <a:noFill/>
          </a:ln>
          <a:effectLst/>
        </p:spPr>
        <p:txBody>
          <a:bodyPr vert="horz" lIns="0" tIns="0" rIns="0" bIns="0" rtlCol="0" anchor="t" anchorCtr="0">
            <a:noAutofit/>
          </a:bodyPr>
          <a:lstStyle>
            <a:lvl1pPr>
              <a:defRPr lang="de-DE" sz="1400" b="0" dirty="0" smtClean="0">
                <a:solidFill>
                  <a:schemeClr val="tx1"/>
                </a:solidFill>
                <a:latin typeface="+mj-lt"/>
                <a:ea typeface="+mj-ea"/>
                <a:cs typeface="+mj-cs"/>
              </a:defRPr>
            </a:lvl1pPr>
          </a:lstStyle>
          <a:p>
            <a:pPr lvl="0">
              <a:spcBef>
                <a:spcPct val="0"/>
              </a:spcBef>
            </a:pPr>
            <a:r>
              <a:rPr lang="de-DE" dirty="0"/>
              <a:t>Beschreibender Text</a:t>
            </a:r>
          </a:p>
        </p:txBody>
      </p:sp>
      <p:sp>
        <p:nvSpPr>
          <p:cNvPr id="14" name="Titel 1"/>
          <p:cNvSpPr>
            <a:spLocks noGrp="1"/>
          </p:cNvSpPr>
          <p:nvPr>
            <p:ph type="title" hasCustomPrompt="1"/>
          </p:nvPr>
        </p:nvSpPr>
        <p:spPr bwMode="gray">
          <a:xfrm>
            <a:off x="1691767" y="2636902"/>
            <a:ext cx="4320308" cy="1152128"/>
          </a:xfrm>
          <a:noFill/>
          <a:ln>
            <a:noFill/>
          </a:ln>
          <a:effectLst>
            <a:outerShdw blurRad="76200" sx="101000" sy="101000" algn="ctr" rotWithShape="0">
              <a:schemeClr val="tx1">
                <a:alpha val="30000"/>
              </a:schemeClr>
            </a:outerShdw>
          </a:effectLst>
        </p:spPr>
        <p:txBody>
          <a:bodyPr lIns="0" tIns="0" rIns="0" bIns="0" anchor="b" anchorCtr="0"/>
          <a:lstStyle>
            <a:lvl1pPr>
              <a:defRPr sz="3000" b="0" cap="none" baseline="0">
                <a:solidFill>
                  <a:schemeClr val="tx2"/>
                </a:solidFill>
              </a:defRPr>
            </a:lvl1pPr>
          </a:lstStyle>
          <a:p>
            <a:r>
              <a:rPr lang="de-DE" dirty="0"/>
              <a:t>Kapitelname</a:t>
            </a:r>
          </a:p>
        </p:txBody>
      </p:sp>
      <p:sp>
        <p:nvSpPr>
          <p:cNvPr id="8" name="Rechteck 7"/>
          <p:cNvSpPr/>
          <p:nvPr userDrawn="1"/>
        </p:nvSpPr>
        <p:spPr bwMode="gray">
          <a:xfrm>
            <a:off x="7380312" y="6750000"/>
            <a:ext cx="1512000" cy="108000"/>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cxnSp>
        <p:nvCxnSpPr>
          <p:cNvPr id="9" name="Gerader Verbinder 32">
            <a:extLst>
              <a:ext uri="{FF2B5EF4-FFF2-40B4-BE49-F238E27FC236}">
                <a16:creationId xmlns:a16="http://schemas.microsoft.com/office/drawing/2014/main" id="{C0FB00F0-3C96-47BE-BCDC-C0C4238DDD69}"/>
              </a:ext>
            </a:extLst>
          </p:cNvPr>
          <p:cNvCxnSpPr>
            <a:cxnSpLocks/>
          </p:cNvCxnSpPr>
          <p:nvPr userDrawn="1"/>
        </p:nvCxnSpPr>
        <p:spPr bwMode="gray">
          <a:xfrm>
            <a:off x="467717" y="3933046"/>
            <a:ext cx="172819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Gerader Verbinder 34">
            <a:extLst>
              <a:ext uri="{FF2B5EF4-FFF2-40B4-BE49-F238E27FC236}">
                <a16:creationId xmlns:a16="http://schemas.microsoft.com/office/drawing/2014/main" id="{51EBBE15-EB17-403D-B368-50AEAFE4F56C}"/>
              </a:ext>
            </a:extLst>
          </p:cNvPr>
          <p:cNvCxnSpPr/>
          <p:nvPr userDrawn="1"/>
        </p:nvCxnSpPr>
        <p:spPr bwMode="gray">
          <a:xfrm>
            <a:off x="1691853" y="4005064"/>
            <a:ext cx="50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4" hasCustomPrompt="1"/>
          </p:nvPr>
        </p:nvSpPr>
        <p:spPr>
          <a:xfrm>
            <a:off x="467717" y="2636952"/>
            <a:ext cx="1080120" cy="1152525"/>
          </a:xfrm>
        </p:spPr>
        <p:txBody>
          <a:bodyPr wrap="none" tIns="36000" anchor="t" anchorCtr="0"/>
          <a:lstStyle>
            <a:lvl1pPr marL="0" indent="0">
              <a:lnSpc>
                <a:spcPct val="100000"/>
              </a:lnSpc>
              <a:spcBef>
                <a:spcPts val="0"/>
              </a:spcBef>
              <a:spcAft>
                <a:spcPts val="0"/>
              </a:spcAft>
              <a:buFont typeface="Arial" panose="020B0604020202020204" pitchFamily="34" charset="0"/>
              <a:buNone/>
              <a:defRPr sz="8800" b="1">
                <a:solidFill>
                  <a:schemeClr val="tx2"/>
                </a:solidFill>
                <a:latin typeface="Garamond" panose="02020404030301010803" pitchFamily="18" charset="0"/>
              </a:defRPr>
            </a:lvl1pPr>
            <a:lvl2pPr marL="0" indent="0">
              <a:lnSpc>
                <a:spcPct val="100000"/>
              </a:lnSpc>
              <a:spcBef>
                <a:spcPts val="0"/>
              </a:spcBef>
              <a:spcAft>
                <a:spcPts val="0"/>
              </a:spcAft>
              <a:buNone/>
              <a:defRPr sz="8800" b="1">
                <a:solidFill>
                  <a:schemeClr val="tx2"/>
                </a:solidFill>
                <a:latin typeface="Garamond" panose="02020404030301010803" pitchFamily="18" charset="0"/>
              </a:defRPr>
            </a:lvl2pPr>
            <a:lvl3pPr marL="0" indent="0">
              <a:lnSpc>
                <a:spcPct val="100000"/>
              </a:lnSpc>
              <a:spcBef>
                <a:spcPts val="0"/>
              </a:spcBef>
              <a:spcAft>
                <a:spcPts val="0"/>
              </a:spcAft>
              <a:buNone/>
              <a:defRPr sz="8800" b="1">
                <a:solidFill>
                  <a:schemeClr val="tx2"/>
                </a:solidFill>
                <a:latin typeface="Garamond" panose="02020404030301010803" pitchFamily="18" charset="0"/>
              </a:defRPr>
            </a:lvl3pPr>
            <a:lvl4pPr marL="0" indent="0">
              <a:lnSpc>
                <a:spcPct val="100000"/>
              </a:lnSpc>
              <a:spcBef>
                <a:spcPts val="0"/>
              </a:spcBef>
              <a:spcAft>
                <a:spcPts val="0"/>
              </a:spcAft>
              <a:buNone/>
              <a:defRPr sz="8800" b="1">
                <a:solidFill>
                  <a:schemeClr val="tx2"/>
                </a:solidFill>
                <a:latin typeface="Garamond" panose="02020404030301010803" pitchFamily="18" charset="0"/>
              </a:defRPr>
            </a:lvl4pPr>
            <a:lvl5pPr marL="0" indent="0">
              <a:lnSpc>
                <a:spcPct val="100000"/>
              </a:lnSpc>
              <a:spcBef>
                <a:spcPts val="0"/>
              </a:spcBef>
              <a:spcAft>
                <a:spcPts val="0"/>
              </a:spcAft>
              <a:buNone/>
              <a:defRPr sz="8800" b="1">
                <a:solidFill>
                  <a:schemeClr val="tx2"/>
                </a:solidFill>
                <a:latin typeface="Garamond" panose="02020404030301010803" pitchFamily="18" charset="0"/>
              </a:defRPr>
            </a:lvl5pPr>
            <a:lvl6pPr marL="0" indent="0">
              <a:lnSpc>
                <a:spcPct val="100000"/>
              </a:lnSpc>
              <a:spcBef>
                <a:spcPts val="0"/>
              </a:spcBef>
              <a:spcAft>
                <a:spcPts val="0"/>
              </a:spcAft>
              <a:buNone/>
              <a:defRPr sz="8800" b="1">
                <a:solidFill>
                  <a:schemeClr val="tx2"/>
                </a:solidFill>
                <a:latin typeface="Garamond" panose="02020404030301010803" pitchFamily="18" charset="0"/>
              </a:defRPr>
            </a:lvl6pPr>
            <a:lvl7pPr marL="0" indent="0">
              <a:lnSpc>
                <a:spcPct val="100000"/>
              </a:lnSpc>
              <a:spcBef>
                <a:spcPts val="0"/>
              </a:spcBef>
              <a:spcAft>
                <a:spcPts val="0"/>
              </a:spcAft>
              <a:buNone/>
              <a:defRPr sz="8800" b="1">
                <a:solidFill>
                  <a:schemeClr val="tx2"/>
                </a:solidFill>
                <a:latin typeface="Garamond" panose="02020404030301010803" pitchFamily="18" charset="0"/>
              </a:defRPr>
            </a:lvl7pPr>
            <a:lvl8pPr marL="0" indent="0">
              <a:lnSpc>
                <a:spcPct val="100000"/>
              </a:lnSpc>
              <a:spcBef>
                <a:spcPts val="0"/>
              </a:spcBef>
              <a:spcAft>
                <a:spcPts val="0"/>
              </a:spcAft>
              <a:buNone/>
              <a:defRPr sz="8800" b="1">
                <a:solidFill>
                  <a:schemeClr val="tx2"/>
                </a:solidFill>
                <a:latin typeface="Garamond" panose="02020404030301010803" pitchFamily="18" charset="0"/>
              </a:defRPr>
            </a:lvl8pPr>
            <a:lvl9pPr marL="0" indent="0">
              <a:lnSpc>
                <a:spcPct val="100000"/>
              </a:lnSpc>
              <a:spcBef>
                <a:spcPts val="0"/>
              </a:spcBef>
              <a:spcAft>
                <a:spcPts val="0"/>
              </a:spcAft>
              <a:buNone/>
              <a:defRPr sz="8800" b="1">
                <a:solidFill>
                  <a:schemeClr val="tx2"/>
                </a:solidFill>
                <a:latin typeface="Garamond" panose="02020404030301010803" pitchFamily="18" charset="0"/>
              </a:defRPr>
            </a:lvl9pPr>
          </a:lstStyle>
          <a:p>
            <a:pPr lvl="0"/>
            <a:r>
              <a:rPr lang="de-DE" noProof="0" dirty="0"/>
              <a:t>00</a:t>
            </a:r>
          </a:p>
        </p:txBody>
      </p:sp>
      <p:pic>
        <p:nvPicPr>
          <p:cNvPr id="4" name="Grafik 3">
            <a:extLst>
              <a:ext uri="{FF2B5EF4-FFF2-40B4-BE49-F238E27FC236}">
                <a16:creationId xmlns:a16="http://schemas.microsoft.com/office/drawing/2014/main" id="{1A6EB151-3183-4120-87BE-09D416D7F091}"/>
              </a:ext>
            </a:extLst>
          </p:cNvPr>
          <p:cNvPicPr>
            <a:picLocks noChangeAspect="1"/>
          </p:cNvPicPr>
          <p:nvPr userDrawn="1"/>
        </p:nvPicPr>
        <p:blipFill>
          <a:blip r:embed="rId2"/>
          <a:stretch>
            <a:fillRect/>
          </a:stretch>
        </p:blipFill>
        <p:spPr>
          <a:xfrm>
            <a:off x="6146694" y="1098"/>
            <a:ext cx="3008034" cy="5359024"/>
          </a:xfrm>
          <a:prstGeom prst="rect">
            <a:avLst/>
          </a:prstGeom>
        </p:spPr>
      </p:pic>
    </p:spTree>
    <p:extLst>
      <p:ext uri="{BB962C8B-B14F-4D97-AF65-F5344CB8AC3E}">
        <p14:creationId xmlns:p14="http://schemas.microsoft.com/office/powerpoint/2010/main" val="39701925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amp; Inhalt&#10;Title &amp; Content">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7" name="Datumsplatzhalter 6"/>
          <p:cNvSpPr>
            <a:spLocks noGrp="1"/>
          </p:cNvSpPr>
          <p:nvPr>
            <p:ph type="dt" sz="half" idx="10"/>
          </p:nvPr>
        </p:nvSpPr>
        <p:spPr/>
        <p:txBody>
          <a:bodyPr/>
          <a:lstStyle/>
          <a:p>
            <a:r>
              <a:rPr lang="de-DE" noProof="0"/>
              <a:t>TT.MM.JJJJ</a:t>
            </a:r>
            <a:endParaRPr lang="de-DE" noProof="0" dirty="0"/>
          </a:p>
        </p:txBody>
      </p:sp>
      <p:sp>
        <p:nvSpPr>
          <p:cNvPr id="8" name="Fußzeilenplatzhalter 7"/>
          <p:cNvSpPr>
            <a:spLocks noGrp="1"/>
          </p:cNvSpPr>
          <p:nvPr>
            <p:ph type="ftr" sz="quarter" idx="11"/>
          </p:nvPr>
        </p:nvSpPr>
        <p:spPr/>
        <p:txBody>
          <a:bodyPr/>
          <a:lstStyle/>
          <a:p>
            <a:r>
              <a:rPr lang="de-DE" noProof="0"/>
              <a:t>Titel der Präsentation (Fußzeile steuerbar über Einfügen / Kopf- und Fußzeile)</a:t>
            </a:r>
            <a:endParaRPr lang="de-DE" noProof="0" dirty="0"/>
          </a:p>
        </p:txBody>
      </p:sp>
      <p:sp>
        <p:nvSpPr>
          <p:cNvPr id="9" name="Foliennummernplatzhalter 8"/>
          <p:cNvSpPr>
            <a:spLocks noGrp="1"/>
          </p:cNvSpPr>
          <p:nvPr>
            <p:ph type="sldNum" sz="quarter" idx="12"/>
          </p:nvPr>
        </p:nvSpPr>
        <p:spPr/>
        <p:txBody>
          <a:bodyPr/>
          <a:lstStyle/>
          <a:p>
            <a:fld id="{D7FBF016-173F-4D13-AB5B-81861F2E6151}" type="slidenum">
              <a:rPr lang="de-DE" noProof="0" smtClean="0"/>
              <a:pPr/>
              <a:t>‹Nr.›</a:t>
            </a:fld>
            <a:endParaRPr lang="de-DE" noProof="0" dirty="0"/>
          </a:p>
        </p:txBody>
      </p:sp>
      <p:sp>
        <p:nvSpPr>
          <p:cNvPr id="4" name="Titel 3"/>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041273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amp; breite Infobox">
    <p:spTree>
      <p:nvGrpSpPr>
        <p:cNvPr id="1" name=""/>
        <p:cNvGrpSpPr/>
        <p:nvPr/>
      </p:nvGrpSpPr>
      <p:grpSpPr>
        <a:xfrm>
          <a:off x="0" y="0"/>
          <a:ext cx="0" cy="0"/>
          <a:chOff x="0" y="0"/>
          <a:chExt cx="0" cy="0"/>
        </a:xfrm>
      </p:grpSpPr>
      <p:sp>
        <p:nvSpPr>
          <p:cNvPr id="17" name="Textplatzhalter 2">
            <a:extLst>
              <a:ext uri="{FF2B5EF4-FFF2-40B4-BE49-F238E27FC236}">
                <a16:creationId xmlns:a16="http://schemas.microsoft.com/office/drawing/2014/main" id="{0F06B6BB-5279-472B-AD3E-3A9BEA1C2310}"/>
              </a:ext>
            </a:extLst>
          </p:cNvPr>
          <p:cNvSpPr txBox="1">
            <a:spLocks/>
          </p:cNvSpPr>
          <p:nvPr userDrawn="1"/>
        </p:nvSpPr>
        <p:spPr bwMode="gray">
          <a:xfrm>
            <a:off x="6227763" y="1268413"/>
            <a:ext cx="2664717" cy="5040312"/>
          </a:xfrm>
          <a:prstGeom prst="rect">
            <a:avLst/>
          </a:prstGeom>
          <a:solidFill>
            <a:srgbClr val="EDECEB"/>
          </a:solidFill>
        </p:spPr>
        <p:txBody>
          <a:bodyPr lIns="72000" tIns="108000" rIns="72000" bIns="72000"/>
          <a:lstStyle>
            <a:lvl1pPr marL="0" indent="0" algn="l" defTabSz="914400" rtl="0" eaLnBrk="1" latinLnBrk="0" hangingPunct="1">
              <a:lnSpc>
                <a:spcPct val="110000"/>
              </a:lnSpc>
              <a:spcBef>
                <a:spcPts val="300"/>
              </a:spcBef>
              <a:spcAft>
                <a:spcPts val="300"/>
              </a:spcAft>
              <a:buFont typeface="Arial" pitchFamily="34" charset="0"/>
              <a:buNone/>
              <a:defRPr sz="1200" kern="1200">
                <a:solidFill>
                  <a:schemeClr val="tx1"/>
                </a:solidFill>
                <a:latin typeface="+mn-lt"/>
                <a:ea typeface="+mn-ea"/>
                <a:cs typeface="+mn-cs"/>
              </a:defRPr>
            </a:lvl1pPr>
            <a:lvl2pPr marL="108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2pPr>
            <a:lvl3pPr marL="216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3pPr>
            <a:lvl4pPr marL="324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4pPr>
            <a:lvl5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6pPr>
            <a:lvl7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7pPr>
            <a:lvl8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9pPr>
          </a:lstStyle>
          <a:p>
            <a:pPr lvl="0"/>
            <a:endParaRPr lang="de-DE" sz="1100" dirty="0"/>
          </a:p>
        </p:txBody>
      </p:sp>
      <p:sp>
        <p:nvSpPr>
          <p:cNvPr id="2" name="Title 1"/>
          <p:cNvSpPr>
            <a:spLocks noGrp="1"/>
          </p:cNvSpPr>
          <p:nvPr>
            <p:ph type="title" hasCustomPrompt="1"/>
          </p:nvPr>
        </p:nvSpPr>
        <p:spPr/>
        <p:txBody>
          <a:bodyPr/>
          <a:lstStyle>
            <a:lvl1pPr>
              <a:defRPr/>
            </a:lvl1pPr>
          </a:lstStyle>
          <a:p>
            <a:r>
              <a:rPr lang="de-DE" noProof="0" dirty="0"/>
              <a:t>Titelmasterformat durch </a:t>
            </a:r>
            <a:br>
              <a:rPr lang="de-DE" noProof="0" dirty="0"/>
            </a:br>
            <a:r>
              <a:rPr lang="de-DE" noProof="0" dirty="0"/>
              <a:t>Klicken bearbeiten</a:t>
            </a:r>
            <a:endParaRPr lang="de-DE" dirty="0"/>
          </a:p>
        </p:txBody>
      </p:sp>
      <p:sp>
        <p:nvSpPr>
          <p:cNvPr id="3" name="Content Placeholder 2"/>
          <p:cNvSpPr>
            <a:spLocks noGrp="1"/>
          </p:cNvSpPr>
          <p:nvPr>
            <p:ph sz="half" idx="1" hasCustomPrompt="1"/>
          </p:nvPr>
        </p:nvSpPr>
        <p:spPr>
          <a:xfrm>
            <a:off x="250477" y="1268412"/>
            <a:ext cx="5691600" cy="5040000"/>
          </a:xfrm>
        </p:spPr>
        <p:txBody>
          <a:bodyPr vert="horz" lIns="0" tIns="0" rIns="0" bIns="0" rtlCol="0" anchor="t" anchorCtr="0">
            <a:noAutofit/>
          </a:bodyPr>
          <a:lstStyle>
            <a:lvl1pPr>
              <a:defRPr lang="en-US" b="0" dirty="0" smtClean="0"/>
            </a:lvl1pPr>
            <a:lvl2pPr>
              <a:defRPr lang="en-US" dirty="0" smtClean="0"/>
            </a:lvl2pPr>
            <a:lvl3pPr>
              <a:defRPr lang="en-US" dirty="0" smtClean="0"/>
            </a:lvl3pPr>
            <a:lvl4pPr>
              <a:defRPr lang="en-US" dirty="0" smtClean="0"/>
            </a:lvl4pPr>
            <a:lvl5pPr>
              <a:defRPr lang="en-US" dirty="0"/>
            </a:lvl5pPr>
            <a:lvl8pPr>
              <a:defRPr/>
            </a:lvl8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10" name="Rechteck 11">
            <a:extLst>
              <a:ext uri="{FF2B5EF4-FFF2-40B4-BE49-F238E27FC236}">
                <a16:creationId xmlns:a16="http://schemas.microsoft.com/office/drawing/2014/main" id="{21550433-DE1B-4BC1-8DB5-A160683F9EB8}"/>
              </a:ext>
            </a:extLst>
          </p:cNvPr>
          <p:cNvSpPr/>
          <p:nvPr userDrawn="1"/>
        </p:nvSpPr>
        <p:spPr bwMode="gray">
          <a:xfrm>
            <a:off x="6227763" y="1268700"/>
            <a:ext cx="2664717" cy="36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16" name="Textplatzhalter 4">
            <a:extLst>
              <a:ext uri="{FF2B5EF4-FFF2-40B4-BE49-F238E27FC236}">
                <a16:creationId xmlns:a16="http://schemas.microsoft.com/office/drawing/2014/main" id="{951A8FD6-06C3-4963-8467-35347ADFEB13}"/>
              </a:ext>
            </a:extLst>
          </p:cNvPr>
          <p:cNvSpPr>
            <a:spLocks noGrp="1"/>
          </p:cNvSpPr>
          <p:nvPr>
            <p:ph type="body" sz="quarter" idx="13" hasCustomPrompt="1"/>
          </p:nvPr>
        </p:nvSpPr>
        <p:spPr>
          <a:xfrm>
            <a:off x="6227188" y="1268700"/>
            <a:ext cx="2665412" cy="5040312"/>
          </a:xfrm>
        </p:spPr>
        <p:txBody>
          <a:bodyPr lIns="144000" tIns="144000" rIns="144000" bIns="144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5" name="Date Placeholder 4">
            <a:extLst>
              <a:ext uri="{FF2B5EF4-FFF2-40B4-BE49-F238E27FC236}">
                <a16:creationId xmlns:a16="http://schemas.microsoft.com/office/drawing/2014/main" id="{25F92583-3905-47FB-8A22-37DFDA72D078}"/>
              </a:ext>
            </a:extLst>
          </p:cNvPr>
          <p:cNvSpPr>
            <a:spLocks noGrp="1"/>
          </p:cNvSpPr>
          <p:nvPr>
            <p:ph type="dt" sz="half" idx="14"/>
          </p:nvPr>
        </p:nvSpPr>
        <p:spPr/>
        <p:txBody>
          <a:bodyPr/>
          <a:lstStyle/>
          <a:p>
            <a:r>
              <a:rPr lang="en-US"/>
              <a:t> |  | </a:t>
            </a:r>
            <a:endParaRPr lang="de-DE" dirty="0"/>
          </a:p>
        </p:txBody>
      </p:sp>
      <p:sp>
        <p:nvSpPr>
          <p:cNvPr id="6" name="Footer Placeholder 5">
            <a:extLst>
              <a:ext uri="{FF2B5EF4-FFF2-40B4-BE49-F238E27FC236}">
                <a16:creationId xmlns:a16="http://schemas.microsoft.com/office/drawing/2014/main" id="{D7EB6D83-7ED8-4DDA-859C-288E7F6DCC48}"/>
              </a:ext>
            </a:extLst>
          </p:cNvPr>
          <p:cNvSpPr>
            <a:spLocks noGrp="1"/>
          </p:cNvSpPr>
          <p:nvPr>
            <p:ph type="ftr" sz="quarter" idx="15"/>
          </p:nvPr>
        </p:nvSpPr>
        <p:spPr/>
        <p:txBody>
          <a:bodyPr/>
          <a:lstStyle/>
          <a:p>
            <a:endParaRPr lang="de-DE" dirty="0"/>
          </a:p>
        </p:txBody>
      </p:sp>
      <p:sp>
        <p:nvSpPr>
          <p:cNvPr id="7" name="Slide Number Placeholder 6">
            <a:extLst>
              <a:ext uri="{FF2B5EF4-FFF2-40B4-BE49-F238E27FC236}">
                <a16:creationId xmlns:a16="http://schemas.microsoft.com/office/drawing/2014/main" id="{CE838D55-A587-4A64-9A5A-73C25D7CA076}"/>
              </a:ext>
            </a:extLst>
          </p:cNvPr>
          <p:cNvSpPr>
            <a:spLocks noGrp="1"/>
          </p:cNvSpPr>
          <p:nvPr>
            <p:ph type="sldNum" sz="quarter" idx="16"/>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28560196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halt &amp; breite Infobox">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250477" y="1268412"/>
            <a:ext cx="5689713" cy="504031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7" name="Datumsplatzhalter 6"/>
          <p:cNvSpPr>
            <a:spLocks noGrp="1"/>
          </p:cNvSpPr>
          <p:nvPr>
            <p:ph type="dt" sz="half" idx="10"/>
          </p:nvPr>
        </p:nvSpPr>
        <p:spPr/>
        <p:txBody>
          <a:bodyPr/>
          <a:lstStyle/>
          <a:p>
            <a:r>
              <a:rPr lang="de-DE" noProof="0"/>
              <a:t>TT.MM.JJJJ</a:t>
            </a:r>
            <a:endParaRPr lang="de-DE" noProof="0" dirty="0"/>
          </a:p>
        </p:txBody>
      </p:sp>
      <p:sp>
        <p:nvSpPr>
          <p:cNvPr id="8" name="Fußzeilenplatzhalter 7"/>
          <p:cNvSpPr>
            <a:spLocks noGrp="1"/>
          </p:cNvSpPr>
          <p:nvPr>
            <p:ph type="ftr" sz="quarter" idx="11"/>
          </p:nvPr>
        </p:nvSpPr>
        <p:spPr/>
        <p:txBody>
          <a:bodyPr/>
          <a:lstStyle/>
          <a:p>
            <a:r>
              <a:rPr lang="de-DE" noProof="0"/>
              <a:t>Titel der Präsentation (Fußzeile steuerbar über Einfügen / Kopf- und Fußzeile)</a:t>
            </a:r>
            <a:endParaRPr lang="de-DE" noProof="0" dirty="0"/>
          </a:p>
        </p:txBody>
      </p:sp>
      <p:sp>
        <p:nvSpPr>
          <p:cNvPr id="9" name="Foliennummernplatzhalter 8"/>
          <p:cNvSpPr>
            <a:spLocks noGrp="1"/>
          </p:cNvSpPr>
          <p:nvPr>
            <p:ph type="sldNum" sz="quarter" idx="12"/>
          </p:nvPr>
        </p:nvSpPr>
        <p:spPr/>
        <p:txBody>
          <a:bodyPr/>
          <a:lstStyle/>
          <a:p>
            <a:fld id="{D7FBF016-173F-4D13-AB5B-81861F2E6151}" type="slidenum">
              <a:rPr lang="de-DE" noProof="0" smtClean="0"/>
              <a:pPr/>
              <a:t>‹Nr.›</a:t>
            </a:fld>
            <a:endParaRPr lang="de-DE" noProof="0" dirty="0"/>
          </a:p>
        </p:txBody>
      </p:sp>
      <p:sp>
        <p:nvSpPr>
          <p:cNvPr id="4" name="Titel 3"/>
          <p:cNvSpPr>
            <a:spLocks noGrp="1"/>
          </p:cNvSpPr>
          <p:nvPr>
            <p:ph type="title"/>
          </p:nvPr>
        </p:nvSpPr>
        <p:spPr/>
        <p:txBody>
          <a:bodyPr/>
          <a:lstStyle/>
          <a:p>
            <a:r>
              <a:rPr lang="en-US"/>
              <a:t>Click to edit Master title style</a:t>
            </a:r>
            <a:endParaRPr lang="de-DE" dirty="0"/>
          </a:p>
        </p:txBody>
      </p:sp>
      <p:sp>
        <p:nvSpPr>
          <p:cNvPr id="11" name="Textplatzhalter 2">
            <a:extLst>
              <a:ext uri="{FF2B5EF4-FFF2-40B4-BE49-F238E27FC236}">
                <a16:creationId xmlns:a16="http://schemas.microsoft.com/office/drawing/2014/main" id="{06DB59A4-168F-4A1D-979D-435EEF64831B}"/>
              </a:ext>
            </a:extLst>
          </p:cNvPr>
          <p:cNvSpPr txBox="1">
            <a:spLocks/>
          </p:cNvSpPr>
          <p:nvPr userDrawn="1"/>
        </p:nvSpPr>
        <p:spPr bwMode="gray">
          <a:xfrm>
            <a:off x="6227763" y="1268413"/>
            <a:ext cx="2664717" cy="5040312"/>
          </a:xfrm>
          <a:prstGeom prst="rect">
            <a:avLst/>
          </a:prstGeom>
          <a:solidFill>
            <a:srgbClr val="EDECEB"/>
          </a:solidFill>
        </p:spPr>
        <p:txBody>
          <a:bodyPr lIns="72000" tIns="108000" rIns="72000" bIns="72000"/>
          <a:lstStyle>
            <a:lvl1pPr marL="0" indent="0" algn="l" defTabSz="914400" rtl="0" eaLnBrk="1" latinLnBrk="0" hangingPunct="1">
              <a:lnSpc>
                <a:spcPct val="110000"/>
              </a:lnSpc>
              <a:spcBef>
                <a:spcPts val="300"/>
              </a:spcBef>
              <a:spcAft>
                <a:spcPts val="300"/>
              </a:spcAft>
              <a:buFont typeface="Arial" pitchFamily="34" charset="0"/>
              <a:buNone/>
              <a:defRPr sz="1200" kern="1200">
                <a:solidFill>
                  <a:schemeClr val="tx1"/>
                </a:solidFill>
                <a:latin typeface="+mn-lt"/>
                <a:ea typeface="+mn-ea"/>
                <a:cs typeface="+mn-cs"/>
              </a:defRPr>
            </a:lvl1pPr>
            <a:lvl2pPr marL="108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2pPr>
            <a:lvl3pPr marL="216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3pPr>
            <a:lvl4pPr marL="324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4pPr>
            <a:lvl5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6pPr>
            <a:lvl7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7pPr>
            <a:lvl8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9pPr>
          </a:lstStyle>
          <a:p>
            <a:pPr lvl="0"/>
            <a:endParaRPr lang="de-DE" sz="1100" dirty="0"/>
          </a:p>
        </p:txBody>
      </p:sp>
      <p:sp>
        <p:nvSpPr>
          <p:cNvPr id="12" name="Rechteck 11">
            <a:extLst>
              <a:ext uri="{FF2B5EF4-FFF2-40B4-BE49-F238E27FC236}">
                <a16:creationId xmlns:a16="http://schemas.microsoft.com/office/drawing/2014/main" id="{CF987868-9C5C-4614-93BA-B85D81C08110}"/>
              </a:ext>
            </a:extLst>
          </p:cNvPr>
          <p:cNvSpPr/>
          <p:nvPr/>
        </p:nvSpPr>
        <p:spPr bwMode="gray">
          <a:xfrm>
            <a:off x="6227763" y="1268700"/>
            <a:ext cx="2664717" cy="36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5" name="Textplatzhalter 4">
            <a:extLst>
              <a:ext uri="{FF2B5EF4-FFF2-40B4-BE49-F238E27FC236}">
                <a16:creationId xmlns:a16="http://schemas.microsoft.com/office/drawing/2014/main" id="{511FF5F2-A43B-4BA9-8C07-D8C9B75FAE60}"/>
              </a:ext>
            </a:extLst>
          </p:cNvPr>
          <p:cNvSpPr>
            <a:spLocks noGrp="1"/>
          </p:cNvSpPr>
          <p:nvPr>
            <p:ph type="body" sz="quarter" idx="13"/>
          </p:nvPr>
        </p:nvSpPr>
        <p:spPr>
          <a:xfrm>
            <a:off x="6227188" y="1268700"/>
            <a:ext cx="2665412" cy="5040312"/>
          </a:xfrm>
        </p:spPr>
        <p:txBody>
          <a:bodyPr lIns="144000" tIns="144000" rIns="144000" bIns="144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Tree>
    <p:extLst>
      <p:ext uri="{BB962C8B-B14F-4D97-AF65-F5344CB8AC3E}">
        <p14:creationId xmlns:p14="http://schemas.microsoft.com/office/powerpoint/2010/main" val="2417527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fik &amp; breite Infobox">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r>
              <a:rPr lang="de-DE" noProof="0"/>
              <a:t>TT.MM.JJJJ</a:t>
            </a:r>
            <a:endParaRPr lang="de-DE" noProof="0" dirty="0"/>
          </a:p>
        </p:txBody>
      </p:sp>
      <p:sp>
        <p:nvSpPr>
          <p:cNvPr id="8" name="Fußzeilenplatzhalter 7"/>
          <p:cNvSpPr>
            <a:spLocks noGrp="1"/>
          </p:cNvSpPr>
          <p:nvPr>
            <p:ph type="ftr" sz="quarter" idx="11"/>
          </p:nvPr>
        </p:nvSpPr>
        <p:spPr/>
        <p:txBody>
          <a:bodyPr/>
          <a:lstStyle/>
          <a:p>
            <a:r>
              <a:rPr lang="de-DE" noProof="0"/>
              <a:t>Titel der Präsentation (Fußzeile steuerbar über Einfügen / Kopf- und Fußzeile)</a:t>
            </a:r>
            <a:endParaRPr lang="de-DE" noProof="0" dirty="0"/>
          </a:p>
        </p:txBody>
      </p:sp>
      <p:sp>
        <p:nvSpPr>
          <p:cNvPr id="9" name="Foliennummernplatzhalter 8"/>
          <p:cNvSpPr>
            <a:spLocks noGrp="1"/>
          </p:cNvSpPr>
          <p:nvPr>
            <p:ph type="sldNum" sz="quarter" idx="12"/>
          </p:nvPr>
        </p:nvSpPr>
        <p:spPr/>
        <p:txBody>
          <a:bodyPr/>
          <a:lstStyle/>
          <a:p>
            <a:fld id="{D7FBF016-173F-4D13-AB5B-81861F2E6151}" type="slidenum">
              <a:rPr lang="de-DE" noProof="0" smtClean="0"/>
              <a:pPr/>
              <a:t>‹Nr.›</a:t>
            </a:fld>
            <a:endParaRPr lang="de-DE" noProof="0" dirty="0"/>
          </a:p>
        </p:txBody>
      </p:sp>
      <p:sp>
        <p:nvSpPr>
          <p:cNvPr id="4" name="Titel 3"/>
          <p:cNvSpPr>
            <a:spLocks noGrp="1"/>
          </p:cNvSpPr>
          <p:nvPr>
            <p:ph type="title"/>
          </p:nvPr>
        </p:nvSpPr>
        <p:spPr/>
        <p:txBody>
          <a:bodyPr/>
          <a:lstStyle/>
          <a:p>
            <a:r>
              <a:rPr lang="en-US"/>
              <a:t>Click to edit Master title style</a:t>
            </a:r>
            <a:endParaRPr lang="de-DE" dirty="0"/>
          </a:p>
        </p:txBody>
      </p:sp>
      <p:sp>
        <p:nvSpPr>
          <p:cNvPr id="11" name="Textplatzhalter 2">
            <a:extLst>
              <a:ext uri="{FF2B5EF4-FFF2-40B4-BE49-F238E27FC236}">
                <a16:creationId xmlns:a16="http://schemas.microsoft.com/office/drawing/2014/main" id="{06DB59A4-168F-4A1D-979D-435EEF64831B}"/>
              </a:ext>
            </a:extLst>
          </p:cNvPr>
          <p:cNvSpPr txBox="1">
            <a:spLocks/>
          </p:cNvSpPr>
          <p:nvPr userDrawn="1"/>
        </p:nvSpPr>
        <p:spPr bwMode="gray">
          <a:xfrm>
            <a:off x="6227763" y="1268413"/>
            <a:ext cx="2664717" cy="5040312"/>
          </a:xfrm>
          <a:prstGeom prst="rect">
            <a:avLst/>
          </a:prstGeom>
          <a:solidFill>
            <a:srgbClr val="EDECEB"/>
          </a:solidFill>
        </p:spPr>
        <p:txBody>
          <a:bodyPr lIns="72000" tIns="108000" rIns="72000" bIns="72000"/>
          <a:lstStyle>
            <a:lvl1pPr marL="0" indent="0" algn="l" defTabSz="914400" rtl="0" eaLnBrk="1" latinLnBrk="0" hangingPunct="1">
              <a:lnSpc>
                <a:spcPct val="110000"/>
              </a:lnSpc>
              <a:spcBef>
                <a:spcPts val="300"/>
              </a:spcBef>
              <a:spcAft>
                <a:spcPts val="300"/>
              </a:spcAft>
              <a:buFont typeface="Arial" pitchFamily="34" charset="0"/>
              <a:buNone/>
              <a:defRPr sz="1200" kern="1200">
                <a:solidFill>
                  <a:schemeClr val="tx1"/>
                </a:solidFill>
                <a:latin typeface="+mn-lt"/>
                <a:ea typeface="+mn-ea"/>
                <a:cs typeface="+mn-cs"/>
              </a:defRPr>
            </a:lvl1pPr>
            <a:lvl2pPr marL="108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2pPr>
            <a:lvl3pPr marL="216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3pPr>
            <a:lvl4pPr marL="324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4pPr>
            <a:lvl5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6pPr>
            <a:lvl7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7pPr>
            <a:lvl8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9pPr>
          </a:lstStyle>
          <a:p>
            <a:pPr lvl="0"/>
            <a:endParaRPr lang="de-DE" sz="1100" dirty="0"/>
          </a:p>
        </p:txBody>
      </p:sp>
      <p:sp>
        <p:nvSpPr>
          <p:cNvPr id="12" name="Rechteck 11">
            <a:extLst>
              <a:ext uri="{FF2B5EF4-FFF2-40B4-BE49-F238E27FC236}">
                <a16:creationId xmlns:a16="http://schemas.microsoft.com/office/drawing/2014/main" id="{CF987868-9C5C-4614-93BA-B85D81C08110}"/>
              </a:ext>
            </a:extLst>
          </p:cNvPr>
          <p:cNvSpPr/>
          <p:nvPr/>
        </p:nvSpPr>
        <p:spPr bwMode="gray">
          <a:xfrm>
            <a:off x="6227763" y="1268700"/>
            <a:ext cx="2664717" cy="36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5" name="Textplatzhalter 4">
            <a:extLst>
              <a:ext uri="{FF2B5EF4-FFF2-40B4-BE49-F238E27FC236}">
                <a16:creationId xmlns:a16="http://schemas.microsoft.com/office/drawing/2014/main" id="{511FF5F2-A43B-4BA9-8C07-D8C9B75FAE60}"/>
              </a:ext>
            </a:extLst>
          </p:cNvPr>
          <p:cNvSpPr>
            <a:spLocks noGrp="1"/>
          </p:cNvSpPr>
          <p:nvPr>
            <p:ph type="body" sz="quarter" idx="13"/>
          </p:nvPr>
        </p:nvSpPr>
        <p:spPr>
          <a:xfrm>
            <a:off x="6227188" y="1268700"/>
            <a:ext cx="2665412" cy="5040312"/>
          </a:xfrm>
        </p:spPr>
        <p:txBody>
          <a:bodyPr lIns="144000" tIns="144000" rIns="144000" bIns="144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Tree>
    <p:extLst>
      <p:ext uri="{BB962C8B-B14F-4D97-AF65-F5344CB8AC3E}">
        <p14:creationId xmlns:p14="http://schemas.microsoft.com/office/powerpoint/2010/main" val="19430201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halt &amp; schmale Infobox">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250477" y="1268700"/>
            <a:ext cx="6409813" cy="504002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7" name="Datumsplatzhalter 6"/>
          <p:cNvSpPr>
            <a:spLocks noGrp="1"/>
          </p:cNvSpPr>
          <p:nvPr>
            <p:ph type="dt" sz="half" idx="10"/>
          </p:nvPr>
        </p:nvSpPr>
        <p:spPr/>
        <p:txBody>
          <a:bodyPr/>
          <a:lstStyle/>
          <a:p>
            <a:r>
              <a:rPr lang="de-DE" noProof="0"/>
              <a:t>TT.MM.JJJJ</a:t>
            </a:r>
            <a:endParaRPr lang="de-DE" noProof="0" dirty="0"/>
          </a:p>
        </p:txBody>
      </p:sp>
      <p:sp>
        <p:nvSpPr>
          <p:cNvPr id="8" name="Fußzeilenplatzhalter 7"/>
          <p:cNvSpPr>
            <a:spLocks noGrp="1"/>
          </p:cNvSpPr>
          <p:nvPr>
            <p:ph type="ftr" sz="quarter" idx="11"/>
          </p:nvPr>
        </p:nvSpPr>
        <p:spPr/>
        <p:txBody>
          <a:bodyPr/>
          <a:lstStyle/>
          <a:p>
            <a:r>
              <a:rPr lang="de-DE" noProof="0"/>
              <a:t>Titel der Präsentation (Fußzeile steuerbar über Einfügen / Kopf- und Fußzeile)</a:t>
            </a:r>
            <a:endParaRPr lang="de-DE" noProof="0" dirty="0"/>
          </a:p>
        </p:txBody>
      </p:sp>
      <p:sp>
        <p:nvSpPr>
          <p:cNvPr id="9" name="Foliennummernplatzhalter 8"/>
          <p:cNvSpPr>
            <a:spLocks noGrp="1"/>
          </p:cNvSpPr>
          <p:nvPr>
            <p:ph type="sldNum" sz="quarter" idx="12"/>
          </p:nvPr>
        </p:nvSpPr>
        <p:spPr/>
        <p:txBody>
          <a:bodyPr/>
          <a:lstStyle/>
          <a:p>
            <a:fld id="{D7FBF016-173F-4D13-AB5B-81861F2E6151}" type="slidenum">
              <a:rPr lang="de-DE" noProof="0" smtClean="0"/>
              <a:pPr/>
              <a:t>‹Nr.›</a:t>
            </a:fld>
            <a:endParaRPr lang="de-DE" noProof="0" dirty="0"/>
          </a:p>
        </p:txBody>
      </p:sp>
      <p:sp>
        <p:nvSpPr>
          <p:cNvPr id="4" name="Titel 3"/>
          <p:cNvSpPr>
            <a:spLocks noGrp="1"/>
          </p:cNvSpPr>
          <p:nvPr>
            <p:ph type="title"/>
          </p:nvPr>
        </p:nvSpPr>
        <p:spPr/>
        <p:txBody>
          <a:bodyPr/>
          <a:lstStyle/>
          <a:p>
            <a:r>
              <a:rPr lang="en-US"/>
              <a:t>Click to edit Master title style</a:t>
            </a:r>
            <a:endParaRPr lang="de-DE" dirty="0"/>
          </a:p>
        </p:txBody>
      </p:sp>
      <p:sp>
        <p:nvSpPr>
          <p:cNvPr id="11" name="Textplatzhalter 2">
            <a:extLst>
              <a:ext uri="{FF2B5EF4-FFF2-40B4-BE49-F238E27FC236}">
                <a16:creationId xmlns:a16="http://schemas.microsoft.com/office/drawing/2014/main" id="{9BDF3CC6-2231-4806-AF08-EC89CBD59C2E}"/>
              </a:ext>
            </a:extLst>
          </p:cNvPr>
          <p:cNvSpPr txBox="1">
            <a:spLocks/>
          </p:cNvSpPr>
          <p:nvPr/>
        </p:nvSpPr>
        <p:spPr bwMode="gray">
          <a:xfrm>
            <a:off x="6948488" y="1268413"/>
            <a:ext cx="1943992" cy="5040312"/>
          </a:xfrm>
          <a:prstGeom prst="rect">
            <a:avLst/>
          </a:prstGeom>
          <a:solidFill>
            <a:srgbClr val="EDECEB"/>
          </a:solidFill>
        </p:spPr>
        <p:txBody>
          <a:bodyPr lIns="72000" tIns="108000" rIns="72000" bIns="72000"/>
          <a:lstStyle>
            <a:lvl1pPr marL="0" indent="0" algn="l" defTabSz="914400" rtl="0" eaLnBrk="1" latinLnBrk="0" hangingPunct="1">
              <a:lnSpc>
                <a:spcPct val="110000"/>
              </a:lnSpc>
              <a:spcBef>
                <a:spcPts val="300"/>
              </a:spcBef>
              <a:spcAft>
                <a:spcPts val="300"/>
              </a:spcAft>
              <a:buFont typeface="Arial" pitchFamily="34" charset="0"/>
              <a:buNone/>
              <a:defRPr sz="1200" kern="1200">
                <a:solidFill>
                  <a:schemeClr val="tx1"/>
                </a:solidFill>
                <a:latin typeface="+mn-lt"/>
                <a:ea typeface="+mn-ea"/>
                <a:cs typeface="+mn-cs"/>
              </a:defRPr>
            </a:lvl1pPr>
            <a:lvl2pPr marL="108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2pPr>
            <a:lvl3pPr marL="216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3pPr>
            <a:lvl4pPr marL="324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4pPr>
            <a:lvl5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6pPr>
            <a:lvl7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7pPr>
            <a:lvl8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9pPr>
          </a:lstStyle>
          <a:p>
            <a:endParaRPr lang="de-DE" dirty="0"/>
          </a:p>
        </p:txBody>
      </p:sp>
      <p:sp>
        <p:nvSpPr>
          <p:cNvPr id="12" name="Rechteck 11">
            <a:extLst>
              <a:ext uri="{FF2B5EF4-FFF2-40B4-BE49-F238E27FC236}">
                <a16:creationId xmlns:a16="http://schemas.microsoft.com/office/drawing/2014/main" id="{ED8F99FA-DC0E-4EA4-A661-0072F33004CD}"/>
              </a:ext>
            </a:extLst>
          </p:cNvPr>
          <p:cNvSpPr/>
          <p:nvPr/>
        </p:nvSpPr>
        <p:spPr bwMode="gray">
          <a:xfrm>
            <a:off x="6948488" y="1268700"/>
            <a:ext cx="1943992" cy="36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19" name="Textplatzhalter 4">
            <a:extLst>
              <a:ext uri="{FF2B5EF4-FFF2-40B4-BE49-F238E27FC236}">
                <a16:creationId xmlns:a16="http://schemas.microsoft.com/office/drawing/2014/main" id="{D3B3788D-DA69-46D6-A2DB-879BFCB2F414}"/>
              </a:ext>
            </a:extLst>
          </p:cNvPr>
          <p:cNvSpPr>
            <a:spLocks noGrp="1"/>
          </p:cNvSpPr>
          <p:nvPr>
            <p:ph type="body" sz="quarter" idx="13"/>
          </p:nvPr>
        </p:nvSpPr>
        <p:spPr>
          <a:xfrm>
            <a:off x="6948488" y="1268700"/>
            <a:ext cx="1944112" cy="5040312"/>
          </a:xfrm>
        </p:spPr>
        <p:txBody>
          <a:bodyPr lIns="144000" tIns="144000" rIns="144000" bIns="144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Tree>
    <p:extLst>
      <p:ext uri="{BB962C8B-B14F-4D97-AF65-F5344CB8AC3E}">
        <p14:creationId xmlns:p14="http://schemas.microsoft.com/office/powerpoint/2010/main" val="24258128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fik &amp; schmale Infobox">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r>
              <a:rPr lang="de-DE" noProof="0"/>
              <a:t>TT.MM.JJJJ</a:t>
            </a:r>
            <a:endParaRPr lang="de-DE" noProof="0" dirty="0"/>
          </a:p>
        </p:txBody>
      </p:sp>
      <p:sp>
        <p:nvSpPr>
          <p:cNvPr id="8" name="Fußzeilenplatzhalter 7"/>
          <p:cNvSpPr>
            <a:spLocks noGrp="1"/>
          </p:cNvSpPr>
          <p:nvPr>
            <p:ph type="ftr" sz="quarter" idx="11"/>
          </p:nvPr>
        </p:nvSpPr>
        <p:spPr/>
        <p:txBody>
          <a:bodyPr/>
          <a:lstStyle/>
          <a:p>
            <a:r>
              <a:rPr lang="de-DE" noProof="0"/>
              <a:t>Titel der Präsentation (Fußzeile steuerbar über Einfügen / Kopf- und Fußzeile)</a:t>
            </a:r>
            <a:endParaRPr lang="de-DE" noProof="0" dirty="0"/>
          </a:p>
        </p:txBody>
      </p:sp>
      <p:sp>
        <p:nvSpPr>
          <p:cNvPr id="9" name="Foliennummernplatzhalter 8"/>
          <p:cNvSpPr>
            <a:spLocks noGrp="1"/>
          </p:cNvSpPr>
          <p:nvPr>
            <p:ph type="sldNum" sz="quarter" idx="12"/>
          </p:nvPr>
        </p:nvSpPr>
        <p:spPr/>
        <p:txBody>
          <a:bodyPr/>
          <a:lstStyle/>
          <a:p>
            <a:fld id="{D7FBF016-173F-4D13-AB5B-81861F2E6151}" type="slidenum">
              <a:rPr lang="de-DE" noProof="0" smtClean="0"/>
              <a:pPr/>
              <a:t>‹Nr.›</a:t>
            </a:fld>
            <a:endParaRPr lang="de-DE" noProof="0" dirty="0"/>
          </a:p>
        </p:txBody>
      </p:sp>
      <p:sp>
        <p:nvSpPr>
          <p:cNvPr id="4" name="Titel 3"/>
          <p:cNvSpPr>
            <a:spLocks noGrp="1"/>
          </p:cNvSpPr>
          <p:nvPr>
            <p:ph type="title"/>
          </p:nvPr>
        </p:nvSpPr>
        <p:spPr/>
        <p:txBody>
          <a:bodyPr/>
          <a:lstStyle/>
          <a:p>
            <a:r>
              <a:rPr lang="en-US"/>
              <a:t>Click to edit Master title style</a:t>
            </a:r>
            <a:endParaRPr lang="de-DE" dirty="0"/>
          </a:p>
        </p:txBody>
      </p:sp>
      <p:sp>
        <p:nvSpPr>
          <p:cNvPr id="11" name="Textplatzhalter 2">
            <a:extLst>
              <a:ext uri="{FF2B5EF4-FFF2-40B4-BE49-F238E27FC236}">
                <a16:creationId xmlns:a16="http://schemas.microsoft.com/office/drawing/2014/main" id="{9BDF3CC6-2231-4806-AF08-EC89CBD59C2E}"/>
              </a:ext>
            </a:extLst>
          </p:cNvPr>
          <p:cNvSpPr txBox="1">
            <a:spLocks/>
          </p:cNvSpPr>
          <p:nvPr/>
        </p:nvSpPr>
        <p:spPr bwMode="gray">
          <a:xfrm>
            <a:off x="6948488" y="1268413"/>
            <a:ext cx="1943992" cy="5040312"/>
          </a:xfrm>
          <a:prstGeom prst="rect">
            <a:avLst/>
          </a:prstGeom>
          <a:solidFill>
            <a:srgbClr val="EDECEB"/>
          </a:solidFill>
        </p:spPr>
        <p:txBody>
          <a:bodyPr lIns="72000" tIns="108000" rIns="72000" bIns="72000"/>
          <a:lstStyle>
            <a:lvl1pPr marL="0" indent="0" algn="l" defTabSz="914400" rtl="0" eaLnBrk="1" latinLnBrk="0" hangingPunct="1">
              <a:lnSpc>
                <a:spcPct val="110000"/>
              </a:lnSpc>
              <a:spcBef>
                <a:spcPts val="300"/>
              </a:spcBef>
              <a:spcAft>
                <a:spcPts val="300"/>
              </a:spcAft>
              <a:buFont typeface="Arial" pitchFamily="34" charset="0"/>
              <a:buNone/>
              <a:defRPr sz="1200" kern="1200">
                <a:solidFill>
                  <a:schemeClr val="tx1"/>
                </a:solidFill>
                <a:latin typeface="+mn-lt"/>
                <a:ea typeface="+mn-ea"/>
                <a:cs typeface="+mn-cs"/>
              </a:defRPr>
            </a:lvl1pPr>
            <a:lvl2pPr marL="108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2pPr>
            <a:lvl3pPr marL="216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3pPr>
            <a:lvl4pPr marL="324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4pPr>
            <a:lvl5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6pPr>
            <a:lvl7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7pPr>
            <a:lvl8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9pPr>
          </a:lstStyle>
          <a:p>
            <a:endParaRPr lang="de-DE" dirty="0"/>
          </a:p>
        </p:txBody>
      </p:sp>
      <p:sp>
        <p:nvSpPr>
          <p:cNvPr id="12" name="Rechteck 11">
            <a:extLst>
              <a:ext uri="{FF2B5EF4-FFF2-40B4-BE49-F238E27FC236}">
                <a16:creationId xmlns:a16="http://schemas.microsoft.com/office/drawing/2014/main" id="{ED8F99FA-DC0E-4EA4-A661-0072F33004CD}"/>
              </a:ext>
            </a:extLst>
          </p:cNvPr>
          <p:cNvSpPr/>
          <p:nvPr/>
        </p:nvSpPr>
        <p:spPr bwMode="gray">
          <a:xfrm>
            <a:off x="6948488" y="1268700"/>
            <a:ext cx="1943992" cy="36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19" name="Textplatzhalter 4">
            <a:extLst>
              <a:ext uri="{FF2B5EF4-FFF2-40B4-BE49-F238E27FC236}">
                <a16:creationId xmlns:a16="http://schemas.microsoft.com/office/drawing/2014/main" id="{D3B3788D-DA69-46D6-A2DB-879BFCB2F414}"/>
              </a:ext>
            </a:extLst>
          </p:cNvPr>
          <p:cNvSpPr>
            <a:spLocks noGrp="1"/>
          </p:cNvSpPr>
          <p:nvPr>
            <p:ph type="body" sz="quarter" idx="13"/>
          </p:nvPr>
        </p:nvSpPr>
        <p:spPr>
          <a:xfrm>
            <a:off x="6948488" y="1268700"/>
            <a:ext cx="1944112" cy="5040312"/>
          </a:xfrm>
        </p:spPr>
        <p:txBody>
          <a:bodyPr lIns="144000" tIns="144000" rIns="144000" bIns="144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Tree>
    <p:extLst>
      <p:ext uri="{BB962C8B-B14F-4D97-AF65-F5344CB8AC3E}">
        <p14:creationId xmlns:p14="http://schemas.microsoft.com/office/powerpoint/2010/main" val="38950207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Zwei Inhalte&#10;Two Content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250825" y="297447"/>
            <a:ext cx="6480000" cy="611273"/>
          </a:xfrm>
        </p:spPr>
        <p:txBody>
          <a:bodyPr bIns="18000"/>
          <a:lstStyle/>
          <a:p>
            <a:r>
              <a:rPr lang="en-US"/>
              <a:t>Click to edit Master title style</a:t>
            </a:r>
            <a:endParaRPr lang="de-DE" dirty="0"/>
          </a:p>
        </p:txBody>
      </p:sp>
      <p:sp>
        <p:nvSpPr>
          <p:cNvPr id="3" name="Inhaltsplatzhalter 2"/>
          <p:cNvSpPr>
            <a:spLocks noGrp="1"/>
          </p:cNvSpPr>
          <p:nvPr>
            <p:ph sz="half" idx="1"/>
          </p:nvPr>
        </p:nvSpPr>
        <p:spPr bwMode="gray">
          <a:xfrm>
            <a:off x="250824" y="1268413"/>
            <a:ext cx="4176713" cy="5040311"/>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p:cNvSpPr>
            <a:spLocks noGrp="1"/>
          </p:cNvSpPr>
          <p:nvPr>
            <p:ph sz="half" idx="2"/>
          </p:nvPr>
        </p:nvSpPr>
        <p:spPr bwMode="gray">
          <a:xfrm>
            <a:off x="4716464" y="1268413"/>
            <a:ext cx="4168328" cy="5040311"/>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Datumsplatzhalter 7"/>
          <p:cNvSpPr>
            <a:spLocks noGrp="1"/>
          </p:cNvSpPr>
          <p:nvPr>
            <p:ph type="dt" sz="half" idx="10"/>
          </p:nvPr>
        </p:nvSpPr>
        <p:spPr/>
        <p:txBody>
          <a:bodyPr/>
          <a:lstStyle/>
          <a:p>
            <a:r>
              <a:rPr lang="de-DE" noProof="0"/>
              <a:t>TT.MM.JJJJ</a:t>
            </a:r>
            <a:endParaRPr lang="de-DE" noProof="0" dirty="0"/>
          </a:p>
        </p:txBody>
      </p:sp>
      <p:sp>
        <p:nvSpPr>
          <p:cNvPr id="9" name="Fußzeilenplatzhalter 8"/>
          <p:cNvSpPr>
            <a:spLocks noGrp="1"/>
          </p:cNvSpPr>
          <p:nvPr>
            <p:ph type="ftr" sz="quarter" idx="11"/>
          </p:nvPr>
        </p:nvSpPr>
        <p:spPr/>
        <p:txBody>
          <a:bodyPr/>
          <a:lstStyle/>
          <a:p>
            <a:r>
              <a:rPr lang="de-DE" noProof="0"/>
              <a:t>Titel der Präsentation (Fußzeile steuerbar über Einfügen / Kopf- und Fußzeile)</a:t>
            </a:r>
            <a:endParaRPr lang="de-DE" noProof="0" dirty="0"/>
          </a:p>
        </p:txBody>
      </p:sp>
      <p:sp>
        <p:nvSpPr>
          <p:cNvPr id="10" name="Foliennummernplatzhalter 9"/>
          <p:cNvSpPr>
            <a:spLocks noGrp="1"/>
          </p:cNvSpPr>
          <p:nvPr>
            <p:ph type="sldNum" sz="quarter" idx="12"/>
          </p:nvPr>
        </p:nvSpPr>
        <p:spPr/>
        <p:txBody>
          <a:bodyPr/>
          <a:lstStyle/>
          <a:p>
            <a:fld id="{D7FBF016-173F-4D13-AB5B-81861F2E6151}" type="slidenum">
              <a:rPr lang="de-DE" noProof="0" smtClean="0"/>
              <a:pPr/>
              <a:t>‹Nr.›</a:t>
            </a:fld>
            <a:endParaRPr lang="de-DE" noProof="0" dirty="0"/>
          </a:p>
        </p:txBody>
      </p:sp>
    </p:spTree>
    <p:extLst>
      <p:ext uri="{BB962C8B-B14F-4D97-AF65-F5344CB8AC3E}">
        <p14:creationId xmlns:p14="http://schemas.microsoft.com/office/powerpoint/2010/main" val="1905207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Bilder | 1&#10;3 Pictures | 1">
    <p:spTree>
      <p:nvGrpSpPr>
        <p:cNvPr id="1" name=""/>
        <p:cNvGrpSpPr/>
        <p:nvPr/>
      </p:nvGrpSpPr>
      <p:grpSpPr>
        <a:xfrm>
          <a:off x="0" y="0"/>
          <a:ext cx="0" cy="0"/>
          <a:chOff x="0" y="0"/>
          <a:chExt cx="0" cy="0"/>
        </a:xfrm>
      </p:grpSpPr>
      <p:sp>
        <p:nvSpPr>
          <p:cNvPr id="25" name="Bildplatzhalter 5"/>
          <p:cNvSpPr>
            <a:spLocks noGrp="1"/>
          </p:cNvSpPr>
          <p:nvPr>
            <p:ph type="pic" sz="quarter" idx="16" hasCustomPrompt="1"/>
          </p:nvPr>
        </p:nvSpPr>
        <p:spPr>
          <a:xfrm>
            <a:off x="6228184" y="1269378"/>
            <a:ext cx="2664296" cy="1655762"/>
          </a:xfrm>
        </p:spPr>
        <p:txBody>
          <a:bodyPr/>
          <a:lstStyle>
            <a:lvl1pPr>
              <a:defRPr/>
            </a:lvl1pPr>
          </a:lstStyle>
          <a:p>
            <a:endParaRPr/>
          </a:p>
        </p:txBody>
      </p:sp>
      <p:sp>
        <p:nvSpPr>
          <p:cNvPr id="24" name="Bildplatzhalter 5"/>
          <p:cNvSpPr>
            <a:spLocks noGrp="1"/>
          </p:cNvSpPr>
          <p:nvPr>
            <p:ph type="pic" sz="quarter" idx="15" hasCustomPrompt="1"/>
          </p:nvPr>
        </p:nvSpPr>
        <p:spPr>
          <a:xfrm>
            <a:off x="3203848" y="1269378"/>
            <a:ext cx="2736304" cy="1655762"/>
          </a:xfrm>
        </p:spPr>
        <p:txBody>
          <a:bodyPr/>
          <a:lstStyle>
            <a:lvl1pPr>
              <a:defRPr/>
            </a:lvl1pPr>
          </a:lstStyle>
          <a:p>
            <a:endParaRPr/>
          </a:p>
        </p:txBody>
      </p:sp>
      <p:sp>
        <p:nvSpPr>
          <p:cNvPr id="6" name="Bildplatzhalter 5"/>
          <p:cNvSpPr>
            <a:spLocks noGrp="1"/>
          </p:cNvSpPr>
          <p:nvPr>
            <p:ph type="pic" sz="quarter" idx="14" hasCustomPrompt="1"/>
          </p:nvPr>
        </p:nvSpPr>
        <p:spPr>
          <a:xfrm>
            <a:off x="250825" y="1269378"/>
            <a:ext cx="2665413" cy="1655762"/>
          </a:xfrm>
        </p:spPr>
        <p:txBody>
          <a:bodyPr/>
          <a:lstStyle>
            <a:lvl1pPr>
              <a:defRPr/>
            </a:lvl1pPr>
          </a:lstStyle>
          <a:p>
            <a:endParaRPr/>
          </a:p>
        </p:txBody>
      </p:sp>
      <p:sp>
        <p:nvSpPr>
          <p:cNvPr id="17" name="Rechteck 16"/>
          <p:cNvSpPr/>
          <p:nvPr userDrawn="1"/>
        </p:nvSpPr>
        <p:spPr bwMode="gray">
          <a:xfrm>
            <a:off x="250825" y="2925016"/>
            <a:ext cx="2665413"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18" name="Rechteck 17"/>
          <p:cNvSpPr/>
          <p:nvPr userDrawn="1"/>
        </p:nvSpPr>
        <p:spPr bwMode="gray">
          <a:xfrm>
            <a:off x="3203848" y="2925016"/>
            <a:ext cx="2736304" cy="4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19" name="Rechteck 18"/>
          <p:cNvSpPr/>
          <p:nvPr userDrawn="1"/>
        </p:nvSpPr>
        <p:spPr bwMode="gray">
          <a:xfrm>
            <a:off x="6228184" y="2925016"/>
            <a:ext cx="2664296" cy="4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2" name="Titel 1"/>
          <p:cNvSpPr>
            <a:spLocks noGrp="1"/>
          </p:cNvSpPr>
          <p:nvPr>
            <p:ph type="title"/>
          </p:nvPr>
        </p:nvSpPr>
        <p:spPr bwMode="gray"/>
        <p:txBody>
          <a:bodyPr/>
          <a:lstStyle/>
          <a:p>
            <a:r>
              <a:rPr lang="en-US"/>
              <a:t>Click to edit Master title style</a:t>
            </a:r>
            <a:endParaRPr lang="de-DE" dirty="0"/>
          </a:p>
        </p:txBody>
      </p:sp>
      <p:sp>
        <p:nvSpPr>
          <p:cNvPr id="8" name="Datumsplatzhalter 7"/>
          <p:cNvSpPr>
            <a:spLocks noGrp="1"/>
          </p:cNvSpPr>
          <p:nvPr>
            <p:ph type="dt" sz="half" idx="10"/>
          </p:nvPr>
        </p:nvSpPr>
        <p:spPr/>
        <p:txBody>
          <a:bodyPr/>
          <a:lstStyle/>
          <a:p>
            <a:r>
              <a:rPr lang="de-DE" noProof="0"/>
              <a:t>TT.MM.JJJJ</a:t>
            </a:r>
            <a:endParaRPr lang="de-DE" noProof="0" dirty="0"/>
          </a:p>
        </p:txBody>
      </p:sp>
      <p:sp>
        <p:nvSpPr>
          <p:cNvPr id="9" name="Fußzeilenplatzhalter 8"/>
          <p:cNvSpPr>
            <a:spLocks noGrp="1"/>
          </p:cNvSpPr>
          <p:nvPr>
            <p:ph type="ftr" sz="quarter" idx="11"/>
          </p:nvPr>
        </p:nvSpPr>
        <p:spPr/>
        <p:txBody>
          <a:bodyPr/>
          <a:lstStyle/>
          <a:p>
            <a:r>
              <a:rPr lang="de-DE" noProof="0"/>
              <a:t>Titel der Präsentation (Fußzeile steuerbar über Einfügen / Kopf- und Fußzeile)</a:t>
            </a:r>
            <a:endParaRPr lang="de-DE" noProof="0" dirty="0"/>
          </a:p>
        </p:txBody>
      </p:sp>
      <p:sp>
        <p:nvSpPr>
          <p:cNvPr id="10" name="Foliennummernplatzhalter 9"/>
          <p:cNvSpPr>
            <a:spLocks noGrp="1"/>
          </p:cNvSpPr>
          <p:nvPr>
            <p:ph type="sldNum" sz="quarter" idx="12"/>
          </p:nvPr>
        </p:nvSpPr>
        <p:spPr/>
        <p:txBody>
          <a:bodyPr/>
          <a:lstStyle/>
          <a:p>
            <a:fld id="{D7FBF016-173F-4D13-AB5B-81861F2E6151}" type="slidenum">
              <a:rPr lang="de-DE" noProof="0" smtClean="0"/>
              <a:pPr/>
              <a:t>‹Nr.›</a:t>
            </a:fld>
            <a:endParaRPr lang="de-DE" noProof="0" dirty="0"/>
          </a:p>
        </p:txBody>
      </p:sp>
      <p:sp>
        <p:nvSpPr>
          <p:cNvPr id="26" name="Textplatzhalter 6"/>
          <p:cNvSpPr>
            <a:spLocks noGrp="1"/>
          </p:cNvSpPr>
          <p:nvPr>
            <p:ph type="body" sz="quarter" idx="17"/>
          </p:nvPr>
        </p:nvSpPr>
        <p:spPr>
          <a:xfrm>
            <a:off x="251521" y="3141040"/>
            <a:ext cx="2664296" cy="3167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7" name="Textplatzhalter 6"/>
          <p:cNvSpPr>
            <a:spLocks noGrp="1"/>
          </p:cNvSpPr>
          <p:nvPr>
            <p:ph type="body" sz="quarter" idx="18"/>
          </p:nvPr>
        </p:nvSpPr>
        <p:spPr>
          <a:xfrm>
            <a:off x="3203849" y="3141039"/>
            <a:ext cx="2736304" cy="31676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8" name="Textplatzhalter 6"/>
          <p:cNvSpPr>
            <a:spLocks noGrp="1"/>
          </p:cNvSpPr>
          <p:nvPr>
            <p:ph type="body" sz="quarter" idx="19"/>
          </p:nvPr>
        </p:nvSpPr>
        <p:spPr>
          <a:xfrm>
            <a:off x="6228184" y="3141039"/>
            <a:ext cx="2664991" cy="31676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1949071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Bilder | 2&#10;3 Pictures | 2">
    <p:spTree>
      <p:nvGrpSpPr>
        <p:cNvPr id="1" name=""/>
        <p:cNvGrpSpPr/>
        <p:nvPr/>
      </p:nvGrpSpPr>
      <p:grpSpPr>
        <a:xfrm>
          <a:off x="0" y="0"/>
          <a:ext cx="0" cy="0"/>
          <a:chOff x="0" y="0"/>
          <a:chExt cx="0" cy="0"/>
        </a:xfrm>
      </p:grpSpPr>
      <p:sp>
        <p:nvSpPr>
          <p:cNvPr id="25" name="Bildplatzhalter 5"/>
          <p:cNvSpPr>
            <a:spLocks noGrp="1"/>
          </p:cNvSpPr>
          <p:nvPr>
            <p:ph type="pic" sz="quarter" idx="16" hasCustomPrompt="1"/>
          </p:nvPr>
        </p:nvSpPr>
        <p:spPr>
          <a:xfrm>
            <a:off x="251520" y="4581067"/>
            <a:ext cx="1944216" cy="1322335"/>
          </a:xfrm>
        </p:spPr>
        <p:txBody>
          <a:bodyPr/>
          <a:lstStyle>
            <a:lvl1pPr>
              <a:defRPr/>
            </a:lvl1pPr>
          </a:lstStyle>
          <a:p>
            <a:endParaRPr/>
          </a:p>
        </p:txBody>
      </p:sp>
      <p:sp>
        <p:nvSpPr>
          <p:cNvPr id="24" name="Bildplatzhalter 5"/>
          <p:cNvSpPr>
            <a:spLocks noGrp="1"/>
          </p:cNvSpPr>
          <p:nvPr>
            <p:ph type="pic" sz="quarter" idx="15" hasCustomPrompt="1"/>
          </p:nvPr>
        </p:nvSpPr>
        <p:spPr>
          <a:xfrm>
            <a:off x="251520" y="2924883"/>
            <a:ext cx="1944216" cy="1322335"/>
          </a:xfrm>
        </p:spPr>
        <p:txBody>
          <a:bodyPr/>
          <a:lstStyle>
            <a:lvl1pPr>
              <a:defRPr/>
            </a:lvl1pPr>
          </a:lstStyle>
          <a:p>
            <a:endParaRPr dirty="0"/>
          </a:p>
        </p:txBody>
      </p:sp>
      <p:sp>
        <p:nvSpPr>
          <p:cNvPr id="6" name="Bildplatzhalter 5"/>
          <p:cNvSpPr>
            <a:spLocks noGrp="1"/>
          </p:cNvSpPr>
          <p:nvPr>
            <p:ph type="pic" sz="quarter" idx="14" hasCustomPrompt="1"/>
          </p:nvPr>
        </p:nvSpPr>
        <p:spPr>
          <a:xfrm>
            <a:off x="250825" y="1268700"/>
            <a:ext cx="1944911" cy="1322334"/>
          </a:xfrm>
        </p:spPr>
        <p:txBody>
          <a:bodyPr/>
          <a:lstStyle>
            <a:lvl1pPr>
              <a:defRPr/>
            </a:lvl1pPr>
          </a:lstStyle>
          <a:p>
            <a:endParaRPr/>
          </a:p>
        </p:txBody>
      </p:sp>
      <p:sp>
        <p:nvSpPr>
          <p:cNvPr id="2" name="Titel 1"/>
          <p:cNvSpPr>
            <a:spLocks noGrp="1"/>
          </p:cNvSpPr>
          <p:nvPr>
            <p:ph type="title"/>
          </p:nvPr>
        </p:nvSpPr>
        <p:spPr bwMode="gray"/>
        <p:txBody>
          <a:bodyPr/>
          <a:lstStyle/>
          <a:p>
            <a:r>
              <a:rPr lang="en-US"/>
              <a:t>Click to edit Master title style</a:t>
            </a:r>
            <a:endParaRPr lang="de-DE" dirty="0"/>
          </a:p>
        </p:txBody>
      </p:sp>
      <p:sp>
        <p:nvSpPr>
          <p:cNvPr id="8" name="Datumsplatzhalter 7"/>
          <p:cNvSpPr>
            <a:spLocks noGrp="1"/>
          </p:cNvSpPr>
          <p:nvPr>
            <p:ph type="dt" sz="half" idx="10"/>
          </p:nvPr>
        </p:nvSpPr>
        <p:spPr/>
        <p:txBody>
          <a:bodyPr/>
          <a:lstStyle/>
          <a:p>
            <a:r>
              <a:rPr lang="de-DE" noProof="0"/>
              <a:t>TT.MM.JJJJ</a:t>
            </a:r>
            <a:endParaRPr lang="de-DE" noProof="0" dirty="0"/>
          </a:p>
        </p:txBody>
      </p:sp>
      <p:sp>
        <p:nvSpPr>
          <p:cNvPr id="9" name="Fußzeilenplatzhalter 8"/>
          <p:cNvSpPr>
            <a:spLocks noGrp="1"/>
          </p:cNvSpPr>
          <p:nvPr>
            <p:ph type="ftr" sz="quarter" idx="11"/>
          </p:nvPr>
        </p:nvSpPr>
        <p:spPr/>
        <p:txBody>
          <a:bodyPr/>
          <a:lstStyle/>
          <a:p>
            <a:r>
              <a:rPr lang="de-DE" noProof="0"/>
              <a:t>Titel der Präsentation (Fußzeile steuerbar über Einfügen / Kopf- und Fußzeile)</a:t>
            </a:r>
            <a:endParaRPr lang="de-DE" noProof="0" dirty="0"/>
          </a:p>
        </p:txBody>
      </p:sp>
      <p:sp>
        <p:nvSpPr>
          <p:cNvPr id="10" name="Foliennummernplatzhalter 9"/>
          <p:cNvSpPr>
            <a:spLocks noGrp="1"/>
          </p:cNvSpPr>
          <p:nvPr>
            <p:ph type="sldNum" sz="quarter" idx="12"/>
          </p:nvPr>
        </p:nvSpPr>
        <p:spPr/>
        <p:txBody>
          <a:bodyPr/>
          <a:lstStyle/>
          <a:p>
            <a:fld id="{D7FBF016-173F-4D13-AB5B-81861F2E6151}" type="slidenum">
              <a:rPr lang="de-DE" noProof="0" smtClean="0"/>
              <a:pPr/>
              <a:t>‹Nr.›</a:t>
            </a:fld>
            <a:endParaRPr lang="de-DE" noProof="0" dirty="0"/>
          </a:p>
        </p:txBody>
      </p:sp>
      <p:sp>
        <p:nvSpPr>
          <p:cNvPr id="7" name="Textplatzhalter 6"/>
          <p:cNvSpPr>
            <a:spLocks noGrp="1"/>
          </p:cNvSpPr>
          <p:nvPr>
            <p:ph type="body" sz="quarter" idx="17"/>
          </p:nvPr>
        </p:nvSpPr>
        <p:spPr>
          <a:xfrm>
            <a:off x="2484438" y="1268197"/>
            <a:ext cx="6408737" cy="1367885"/>
          </a:xfrm>
        </p:spPr>
        <p:txBody>
          <a:bodyPr t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0" name="Textplatzhalter 6"/>
          <p:cNvSpPr>
            <a:spLocks noGrp="1"/>
          </p:cNvSpPr>
          <p:nvPr>
            <p:ph type="body" sz="quarter" idx="18"/>
          </p:nvPr>
        </p:nvSpPr>
        <p:spPr>
          <a:xfrm>
            <a:off x="2484438" y="2924976"/>
            <a:ext cx="6408737" cy="1367885"/>
          </a:xfrm>
        </p:spPr>
        <p:txBody>
          <a:bodyPr t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1" name="Textplatzhalter 6"/>
          <p:cNvSpPr>
            <a:spLocks noGrp="1"/>
          </p:cNvSpPr>
          <p:nvPr>
            <p:ph type="body" sz="quarter" idx="19"/>
          </p:nvPr>
        </p:nvSpPr>
        <p:spPr>
          <a:xfrm>
            <a:off x="2484438" y="4581160"/>
            <a:ext cx="6408737" cy="1367885"/>
          </a:xfrm>
        </p:spPr>
        <p:txBody>
          <a:bodyPr t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8" name="Rechteck 17"/>
          <p:cNvSpPr/>
          <p:nvPr userDrawn="1">
            <p:custDataLst>
              <p:tags r:id="rId1"/>
            </p:custDataLst>
          </p:nvPr>
        </p:nvSpPr>
        <p:spPr bwMode="gray">
          <a:xfrm>
            <a:off x="250825" y="2591132"/>
            <a:ext cx="1944000"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19" name="Rechteck 18"/>
          <p:cNvSpPr/>
          <p:nvPr userDrawn="1"/>
        </p:nvSpPr>
        <p:spPr bwMode="gray">
          <a:xfrm>
            <a:off x="251521" y="4247316"/>
            <a:ext cx="1944215" cy="4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20" name="Rechteck 19"/>
          <p:cNvSpPr/>
          <p:nvPr userDrawn="1"/>
        </p:nvSpPr>
        <p:spPr bwMode="gray">
          <a:xfrm>
            <a:off x="251520" y="5903500"/>
            <a:ext cx="1944216" cy="4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cxnSp>
        <p:nvCxnSpPr>
          <p:cNvPr id="15" name="Gerader Verbinder 15">
            <a:extLst>
              <a:ext uri="{FF2B5EF4-FFF2-40B4-BE49-F238E27FC236}">
                <a16:creationId xmlns:a16="http://schemas.microsoft.com/office/drawing/2014/main" id="{06312137-4525-4F0E-AB36-CA82FC373C74}"/>
              </a:ext>
            </a:extLst>
          </p:cNvPr>
          <p:cNvCxnSpPr/>
          <p:nvPr userDrawn="1"/>
        </p:nvCxnSpPr>
        <p:spPr bwMode="gray">
          <a:xfrm>
            <a:off x="2483768" y="1268752"/>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06312137-4525-4F0E-AB36-CA82FC373C74}"/>
              </a:ext>
            </a:extLst>
          </p:cNvPr>
          <p:cNvCxnSpPr/>
          <p:nvPr userDrawn="1">
            <p:custDataLst>
              <p:tags r:id="rId2"/>
            </p:custDataLst>
          </p:nvPr>
        </p:nvCxnSpPr>
        <p:spPr bwMode="gray">
          <a:xfrm>
            <a:off x="2483768" y="2924936"/>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Gerader Verbinder 15">
            <a:extLst>
              <a:ext uri="{FF2B5EF4-FFF2-40B4-BE49-F238E27FC236}">
                <a16:creationId xmlns:a16="http://schemas.microsoft.com/office/drawing/2014/main" id="{06312137-4525-4F0E-AB36-CA82FC373C74}"/>
              </a:ext>
            </a:extLst>
          </p:cNvPr>
          <p:cNvCxnSpPr/>
          <p:nvPr userDrawn="1"/>
        </p:nvCxnSpPr>
        <p:spPr bwMode="gray">
          <a:xfrm>
            <a:off x="2483768" y="458112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27227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ur Titel&#10;Title only">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2" name="Datumsplatzhalter 1"/>
          <p:cNvSpPr>
            <a:spLocks noGrp="1"/>
          </p:cNvSpPr>
          <p:nvPr>
            <p:ph type="dt" sz="half" idx="10"/>
          </p:nvPr>
        </p:nvSpPr>
        <p:spPr/>
        <p:txBody>
          <a:bodyPr/>
          <a:lstStyle/>
          <a:p>
            <a:r>
              <a:rPr lang="de-DE" noProof="0"/>
              <a:t>TT.MM.JJJJ</a:t>
            </a:r>
            <a:endParaRPr lang="de-DE" noProof="0" dirty="0"/>
          </a:p>
        </p:txBody>
      </p:sp>
      <p:sp>
        <p:nvSpPr>
          <p:cNvPr id="4" name="Fußzeilenplatzhalter 3"/>
          <p:cNvSpPr>
            <a:spLocks noGrp="1"/>
          </p:cNvSpPr>
          <p:nvPr>
            <p:ph type="ftr" sz="quarter" idx="11"/>
          </p:nvPr>
        </p:nvSpPr>
        <p:spPr/>
        <p:txBody>
          <a:bodyPr/>
          <a:lstStyle/>
          <a:p>
            <a:r>
              <a:rPr lang="de-DE"/>
              <a:t>Titel der Präsentation (Fußzeile steuerbar über Einfügen / Kopf- und Fußzeile)</a:t>
            </a:r>
            <a:endParaRPr lang="de-DE" dirty="0"/>
          </a:p>
        </p:txBody>
      </p:sp>
      <p:sp>
        <p:nvSpPr>
          <p:cNvPr id="5" name="Foliennummernplatzhalter 4"/>
          <p:cNvSpPr>
            <a:spLocks noGrp="1"/>
          </p:cNvSpPr>
          <p:nvPr>
            <p:ph type="sldNum" sz="quarter" idx="12"/>
          </p:nvPr>
        </p:nvSpPr>
        <p:spPr/>
        <p:txBody>
          <a:bodyPr/>
          <a:lstStyle/>
          <a:p>
            <a:fld id="{D7FBF016-173F-4D13-AB5B-81861F2E6151}" type="slidenum">
              <a:rPr lang="de-DE" noProof="0" smtClean="0"/>
              <a:pPr/>
              <a:t>‹Nr.›</a:t>
            </a:fld>
            <a:endParaRPr lang="de-DE" noProof="0" dirty="0"/>
          </a:p>
        </p:txBody>
      </p:sp>
    </p:spTree>
    <p:extLst>
      <p:ext uri="{BB962C8B-B14F-4D97-AF65-F5344CB8AC3E}">
        <p14:creationId xmlns:p14="http://schemas.microsoft.com/office/powerpoint/2010/main" val="33172325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Leer&#10;Blank">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noProof="0"/>
              <a:t>TT.MM.JJJJ</a:t>
            </a:r>
            <a:endParaRPr lang="de-DE" noProof="0" dirty="0"/>
          </a:p>
        </p:txBody>
      </p:sp>
      <p:sp>
        <p:nvSpPr>
          <p:cNvPr id="9" name="Fußzeilenplatzhalter 8"/>
          <p:cNvSpPr>
            <a:spLocks noGrp="1"/>
          </p:cNvSpPr>
          <p:nvPr>
            <p:ph type="ftr" sz="quarter" idx="11"/>
          </p:nvPr>
        </p:nvSpPr>
        <p:spPr/>
        <p:txBody>
          <a:bodyPr/>
          <a:lstStyle/>
          <a:p>
            <a:r>
              <a:rPr lang="de-DE" noProof="0"/>
              <a:t>Titel der Präsentation (Fußzeile steuerbar über Einfügen / Kopf- und Fußzeile)</a:t>
            </a:r>
            <a:endParaRPr lang="de-DE" noProof="0" dirty="0"/>
          </a:p>
        </p:txBody>
      </p:sp>
      <p:sp>
        <p:nvSpPr>
          <p:cNvPr id="10" name="Foliennummernplatzhalter 9"/>
          <p:cNvSpPr>
            <a:spLocks noGrp="1"/>
          </p:cNvSpPr>
          <p:nvPr>
            <p:ph type="sldNum" sz="quarter" idx="12"/>
          </p:nvPr>
        </p:nvSpPr>
        <p:spPr/>
        <p:txBody>
          <a:bodyPr/>
          <a:lstStyle/>
          <a:p>
            <a:fld id="{D7FBF016-173F-4D13-AB5B-81861F2E6151}" type="slidenum">
              <a:rPr lang="de-DE" noProof="0" smtClean="0"/>
              <a:pPr/>
              <a:t>‹Nr.›</a:t>
            </a:fld>
            <a:endParaRPr lang="de-DE" noProof="0" dirty="0"/>
          </a:p>
        </p:txBody>
      </p:sp>
    </p:spTree>
    <p:extLst>
      <p:ext uri="{BB962C8B-B14F-4D97-AF65-F5344CB8AC3E}">
        <p14:creationId xmlns:p14="http://schemas.microsoft.com/office/powerpoint/2010/main" val="24679837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Kontakt Bild&#10;1 Contact Picture">
    <p:spTree>
      <p:nvGrpSpPr>
        <p:cNvPr id="1" name=""/>
        <p:cNvGrpSpPr/>
        <p:nvPr/>
      </p:nvGrpSpPr>
      <p:grpSpPr>
        <a:xfrm>
          <a:off x="0" y="0"/>
          <a:ext cx="0" cy="0"/>
          <a:chOff x="0" y="0"/>
          <a:chExt cx="0" cy="0"/>
        </a:xfrm>
      </p:grpSpPr>
      <p:sp>
        <p:nvSpPr>
          <p:cNvPr id="5" name="Datumsplatzhalter 4"/>
          <p:cNvSpPr>
            <a:spLocks noGrp="1"/>
          </p:cNvSpPr>
          <p:nvPr>
            <p:ph type="dt" sz="half" idx="17"/>
          </p:nvPr>
        </p:nvSpPr>
        <p:spPr/>
        <p:txBody>
          <a:bodyPr/>
          <a:lstStyle/>
          <a:p>
            <a:r>
              <a:rPr lang="de-DE" noProof="0"/>
              <a:t>TT.MM.JJJJ</a:t>
            </a:r>
            <a:endParaRPr lang="de-DE" noProof="0" dirty="0"/>
          </a:p>
        </p:txBody>
      </p:sp>
      <p:sp>
        <p:nvSpPr>
          <p:cNvPr id="6" name="Fußzeilenplatzhalter 5"/>
          <p:cNvSpPr>
            <a:spLocks noGrp="1"/>
          </p:cNvSpPr>
          <p:nvPr>
            <p:ph type="ftr" sz="quarter" idx="18"/>
          </p:nvPr>
        </p:nvSpPr>
        <p:spPr/>
        <p:txBody>
          <a:bodyPr/>
          <a:lstStyle/>
          <a:p>
            <a:r>
              <a:rPr lang="de-DE" noProof="0"/>
              <a:t>Titel der Präsentation (Fußzeile steuerbar über Einfügen / Kopf- und Fußzeile)</a:t>
            </a:r>
            <a:endParaRPr lang="de-DE" noProof="0" dirty="0"/>
          </a:p>
        </p:txBody>
      </p:sp>
      <p:sp>
        <p:nvSpPr>
          <p:cNvPr id="7" name="Foliennummernplatzhalter 6"/>
          <p:cNvSpPr>
            <a:spLocks noGrp="1"/>
          </p:cNvSpPr>
          <p:nvPr>
            <p:ph type="sldNum" sz="quarter" idx="19"/>
          </p:nvPr>
        </p:nvSpPr>
        <p:spPr/>
        <p:txBody>
          <a:bodyPr/>
          <a:lstStyle/>
          <a:p>
            <a:fld id="{D7FBF016-173F-4D13-AB5B-81861F2E6151}" type="slidenum">
              <a:rPr lang="de-DE" noProof="0" smtClean="0"/>
              <a:pPr/>
              <a:t>‹Nr.›</a:t>
            </a:fld>
            <a:endParaRPr lang="de-DE" noProof="0" dirty="0"/>
          </a:p>
        </p:txBody>
      </p:sp>
      <p:sp>
        <p:nvSpPr>
          <p:cNvPr id="10" name="Bildplatzhalter 7"/>
          <p:cNvSpPr>
            <a:spLocks noGrp="1"/>
          </p:cNvSpPr>
          <p:nvPr>
            <p:ph type="pic" sz="quarter" idx="13" hasCustomPrompt="1"/>
          </p:nvPr>
        </p:nvSpPr>
        <p:spPr bwMode="gray">
          <a:xfrm>
            <a:off x="251425" y="1269342"/>
            <a:ext cx="2664813" cy="2450712"/>
          </a:xfrm>
        </p:spPr>
        <p:txBody>
          <a:bodyPr anchor="ctr"/>
          <a:lstStyle>
            <a:lvl1pPr algn="ctr">
              <a:defRPr sz="1100"/>
            </a:lvl1pPr>
          </a:lstStyle>
          <a:p>
            <a:r>
              <a:rPr lang="de-DE" dirty="0"/>
              <a:t>Bildplatzhalter</a:t>
            </a:r>
          </a:p>
        </p:txBody>
      </p:sp>
      <p:sp>
        <p:nvSpPr>
          <p:cNvPr id="11" name="Textplatzhalter 10"/>
          <p:cNvSpPr>
            <a:spLocks noGrp="1"/>
          </p:cNvSpPr>
          <p:nvPr>
            <p:ph type="body" sz="quarter" idx="15" hasCustomPrompt="1"/>
          </p:nvPr>
        </p:nvSpPr>
        <p:spPr bwMode="gray">
          <a:xfrm>
            <a:off x="6012200" y="1268413"/>
            <a:ext cx="2880975" cy="1440487"/>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sp>
        <p:nvSpPr>
          <p:cNvPr id="12" name="Bildplatzhalter 11"/>
          <p:cNvSpPr>
            <a:spLocks noGrp="1"/>
          </p:cNvSpPr>
          <p:nvPr>
            <p:ph type="pic" sz="quarter" idx="16" hasCustomPrompt="1"/>
          </p:nvPr>
        </p:nvSpPr>
        <p:spPr bwMode="gray">
          <a:xfrm>
            <a:off x="4716020" y="1268093"/>
            <a:ext cx="1044000" cy="1440000"/>
          </a:xfrm>
        </p:spPr>
        <p:txBody>
          <a:bodyPr anchor="ctr"/>
          <a:lstStyle>
            <a:lvl1pPr algn="ctr">
              <a:defRPr sz="1100"/>
            </a:lvl1pPr>
          </a:lstStyle>
          <a:p>
            <a:r>
              <a:rPr lang="de-DE" dirty="0"/>
              <a:t>Bildplatzhalter</a:t>
            </a:r>
          </a:p>
        </p:txBody>
      </p:sp>
      <p:cxnSp>
        <p:nvCxnSpPr>
          <p:cNvPr id="14" name="Gerade Verbindung 13"/>
          <p:cNvCxnSpPr/>
          <p:nvPr userDrawn="1"/>
        </p:nvCxnSpPr>
        <p:spPr>
          <a:xfrm>
            <a:off x="6012200" y="1268413"/>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platzhalter 10"/>
          <p:cNvSpPr>
            <a:spLocks noGrp="1"/>
          </p:cNvSpPr>
          <p:nvPr>
            <p:ph type="body" sz="quarter" idx="20" hasCustomPrompt="1"/>
          </p:nvPr>
        </p:nvSpPr>
        <p:spPr bwMode="gray">
          <a:xfrm>
            <a:off x="250825" y="3933070"/>
            <a:ext cx="2665413" cy="2376330"/>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Unternehmen</a:t>
            </a:r>
          </a:p>
          <a:p>
            <a:pPr lvl="2"/>
            <a:r>
              <a:rPr lang="de-DE" dirty="0"/>
              <a:t>Adresse</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p:txBody>
      </p:sp>
      <p:sp>
        <p:nvSpPr>
          <p:cNvPr id="16" name="Rechteck 15"/>
          <p:cNvSpPr/>
          <p:nvPr userDrawn="1"/>
        </p:nvSpPr>
        <p:spPr bwMode="gray">
          <a:xfrm>
            <a:off x="250825" y="3721802"/>
            <a:ext cx="2665413"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2" name="Titel 1"/>
          <p:cNvSpPr>
            <a:spLocks noGrp="1"/>
          </p:cNvSpPr>
          <p:nvPr>
            <p:ph type="title"/>
          </p:nvPr>
        </p:nvSpPr>
        <p:spPr/>
        <p:txBody>
          <a:bodyPr/>
          <a:lstStyle/>
          <a:p>
            <a:r>
              <a:rPr lang="en-US"/>
              <a:t>Click to edit Master title style</a:t>
            </a:r>
            <a:endParaRPr lang="de-DE" dirty="0"/>
          </a:p>
        </p:txBody>
      </p:sp>
      <p:sp>
        <p:nvSpPr>
          <p:cNvPr id="13" name="Rechteck 12">
            <a:extLst>
              <a:ext uri="{FF2B5EF4-FFF2-40B4-BE49-F238E27FC236}">
                <a16:creationId xmlns:a16="http://schemas.microsoft.com/office/drawing/2014/main" id="{744D0F47-F328-4207-9A2A-AA484C39360D}"/>
              </a:ext>
            </a:extLst>
          </p:cNvPr>
          <p:cNvSpPr/>
          <p:nvPr userDrawn="1"/>
        </p:nvSpPr>
        <p:spPr bwMode="gray">
          <a:xfrm>
            <a:off x="4716020" y="2708900"/>
            <a:ext cx="1044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Tree>
    <p:extLst>
      <p:ext uri="{BB962C8B-B14F-4D97-AF65-F5344CB8AC3E}">
        <p14:creationId xmlns:p14="http://schemas.microsoft.com/office/powerpoint/2010/main" val="35303861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fik &amp; breite Infobox">
    <p:spTree>
      <p:nvGrpSpPr>
        <p:cNvPr id="1" name=""/>
        <p:cNvGrpSpPr/>
        <p:nvPr/>
      </p:nvGrpSpPr>
      <p:grpSpPr>
        <a:xfrm>
          <a:off x="0" y="0"/>
          <a:ext cx="0" cy="0"/>
          <a:chOff x="0" y="0"/>
          <a:chExt cx="0" cy="0"/>
        </a:xfrm>
      </p:grpSpPr>
      <p:sp>
        <p:nvSpPr>
          <p:cNvPr id="17" name="Textplatzhalter 2">
            <a:extLst>
              <a:ext uri="{FF2B5EF4-FFF2-40B4-BE49-F238E27FC236}">
                <a16:creationId xmlns:a16="http://schemas.microsoft.com/office/drawing/2014/main" id="{0F06B6BB-5279-472B-AD3E-3A9BEA1C2310}"/>
              </a:ext>
            </a:extLst>
          </p:cNvPr>
          <p:cNvSpPr txBox="1">
            <a:spLocks/>
          </p:cNvSpPr>
          <p:nvPr userDrawn="1"/>
        </p:nvSpPr>
        <p:spPr bwMode="gray">
          <a:xfrm>
            <a:off x="6227763" y="1268413"/>
            <a:ext cx="2664717" cy="5040312"/>
          </a:xfrm>
          <a:prstGeom prst="rect">
            <a:avLst/>
          </a:prstGeom>
          <a:solidFill>
            <a:srgbClr val="EDECEB"/>
          </a:solidFill>
        </p:spPr>
        <p:txBody>
          <a:bodyPr lIns="72000" tIns="108000" rIns="72000" bIns="72000"/>
          <a:lstStyle>
            <a:lvl1pPr marL="0" indent="0" algn="l" defTabSz="914400" rtl="0" eaLnBrk="1" latinLnBrk="0" hangingPunct="1">
              <a:lnSpc>
                <a:spcPct val="110000"/>
              </a:lnSpc>
              <a:spcBef>
                <a:spcPts val="300"/>
              </a:spcBef>
              <a:spcAft>
                <a:spcPts val="300"/>
              </a:spcAft>
              <a:buFont typeface="Arial" pitchFamily="34" charset="0"/>
              <a:buNone/>
              <a:defRPr sz="1200" kern="1200">
                <a:solidFill>
                  <a:schemeClr val="tx1"/>
                </a:solidFill>
                <a:latin typeface="+mn-lt"/>
                <a:ea typeface="+mn-ea"/>
                <a:cs typeface="+mn-cs"/>
              </a:defRPr>
            </a:lvl1pPr>
            <a:lvl2pPr marL="108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2pPr>
            <a:lvl3pPr marL="216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3pPr>
            <a:lvl4pPr marL="324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4pPr>
            <a:lvl5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6pPr>
            <a:lvl7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7pPr>
            <a:lvl8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300"/>
              </a:spcAft>
              <a:buClr>
                <a:schemeClr val="tx2"/>
              </a:buClr>
              <a:buFont typeface="Arial" pitchFamily="34" charset="0"/>
              <a:buChar char="•"/>
              <a:defRPr sz="1200" kern="1200">
                <a:solidFill>
                  <a:schemeClr val="tx1"/>
                </a:solidFill>
                <a:latin typeface="+mn-lt"/>
                <a:ea typeface="+mn-ea"/>
                <a:cs typeface="+mn-cs"/>
              </a:defRPr>
            </a:lvl9pPr>
          </a:lstStyle>
          <a:p>
            <a:pPr lvl="0"/>
            <a:endParaRPr lang="de-DE" sz="1100" dirty="0"/>
          </a:p>
        </p:txBody>
      </p:sp>
      <p:sp>
        <p:nvSpPr>
          <p:cNvPr id="2" name="Title 1"/>
          <p:cNvSpPr>
            <a:spLocks noGrp="1"/>
          </p:cNvSpPr>
          <p:nvPr>
            <p:ph type="title" hasCustomPrompt="1"/>
          </p:nvPr>
        </p:nvSpPr>
        <p:spPr/>
        <p:txBody>
          <a:bodyPr/>
          <a:lstStyle>
            <a:lvl1pPr>
              <a:defRPr/>
            </a:lvl1pPr>
          </a:lstStyle>
          <a:p>
            <a:r>
              <a:rPr lang="de-DE" noProof="0" dirty="0"/>
              <a:t>Titelmasterformat durch </a:t>
            </a:r>
            <a:br>
              <a:rPr lang="de-DE" noProof="0" dirty="0"/>
            </a:br>
            <a:r>
              <a:rPr lang="de-DE" noProof="0" dirty="0"/>
              <a:t>Klicken bearbeiten</a:t>
            </a:r>
            <a:endParaRPr lang="de-DE" dirty="0"/>
          </a:p>
        </p:txBody>
      </p:sp>
      <p:sp>
        <p:nvSpPr>
          <p:cNvPr id="10" name="Rechteck 11">
            <a:extLst>
              <a:ext uri="{FF2B5EF4-FFF2-40B4-BE49-F238E27FC236}">
                <a16:creationId xmlns:a16="http://schemas.microsoft.com/office/drawing/2014/main" id="{21550433-DE1B-4BC1-8DB5-A160683F9EB8}"/>
              </a:ext>
            </a:extLst>
          </p:cNvPr>
          <p:cNvSpPr/>
          <p:nvPr userDrawn="1"/>
        </p:nvSpPr>
        <p:spPr bwMode="gray">
          <a:xfrm>
            <a:off x="6227763" y="1268700"/>
            <a:ext cx="2664717" cy="36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16" name="Textplatzhalter 4">
            <a:extLst>
              <a:ext uri="{FF2B5EF4-FFF2-40B4-BE49-F238E27FC236}">
                <a16:creationId xmlns:a16="http://schemas.microsoft.com/office/drawing/2014/main" id="{951A8FD6-06C3-4963-8467-35347ADFEB13}"/>
              </a:ext>
            </a:extLst>
          </p:cNvPr>
          <p:cNvSpPr>
            <a:spLocks noGrp="1"/>
          </p:cNvSpPr>
          <p:nvPr>
            <p:ph type="body" sz="quarter" idx="13" hasCustomPrompt="1"/>
          </p:nvPr>
        </p:nvSpPr>
        <p:spPr>
          <a:xfrm>
            <a:off x="6227188" y="1268700"/>
            <a:ext cx="2665412" cy="5040312"/>
          </a:xfrm>
        </p:spPr>
        <p:txBody>
          <a:bodyPr lIns="144000" tIns="144000" rIns="144000" bIns="144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5" name="Date Placeholder 4">
            <a:extLst>
              <a:ext uri="{FF2B5EF4-FFF2-40B4-BE49-F238E27FC236}">
                <a16:creationId xmlns:a16="http://schemas.microsoft.com/office/drawing/2014/main" id="{83CC5BC5-B9C5-4602-87C3-2D99106D80D1}"/>
              </a:ext>
            </a:extLst>
          </p:cNvPr>
          <p:cNvSpPr>
            <a:spLocks noGrp="1"/>
          </p:cNvSpPr>
          <p:nvPr>
            <p:ph type="dt" sz="half" idx="14"/>
          </p:nvPr>
        </p:nvSpPr>
        <p:spPr/>
        <p:txBody>
          <a:bodyPr/>
          <a:lstStyle/>
          <a:p>
            <a:r>
              <a:rPr lang="en-US"/>
              <a:t> |  | </a:t>
            </a:r>
            <a:endParaRPr lang="de-DE" dirty="0"/>
          </a:p>
        </p:txBody>
      </p:sp>
      <p:sp>
        <p:nvSpPr>
          <p:cNvPr id="6" name="Footer Placeholder 5">
            <a:extLst>
              <a:ext uri="{FF2B5EF4-FFF2-40B4-BE49-F238E27FC236}">
                <a16:creationId xmlns:a16="http://schemas.microsoft.com/office/drawing/2014/main" id="{3D7112F3-3D99-49E0-A4D3-5573F96B8A7D}"/>
              </a:ext>
            </a:extLst>
          </p:cNvPr>
          <p:cNvSpPr>
            <a:spLocks noGrp="1"/>
          </p:cNvSpPr>
          <p:nvPr>
            <p:ph type="ftr" sz="quarter" idx="15"/>
          </p:nvPr>
        </p:nvSpPr>
        <p:spPr/>
        <p:txBody>
          <a:bodyPr/>
          <a:lstStyle/>
          <a:p>
            <a:endParaRPr lang="de-DE" dirty="0"/>
          </a:p>
        </p:txBody>
      </p:sp>
      <p:sp>
        <p:nvSpPr>
          <p:cNvPr id="7" name="Slide Number Placeholder 6">
            <a:extLst>
              <a:ext uri="{FF2B5EF4-FFF2-40B4-BE49-F238E27FC236}">
                <a16:creationId xmlns:a16="http://schemas.microsoft.com/office/drawing/2014/main" id="{6068DD8D-9AF8-46E9-A754-8A19A2551F72}"/>
              </a:ext>
            </a:extLst>
          </p:cNvPr>
          <p:cNvSpPr>
            <a:spLocks noGrp="1"/>
          </p:cNvSpPr>
          <p:nvPr>
            <p:ph type="sldNum" sz="quarter" idx="16"/>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79786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Kontakte Bild&#10;2 Contacts Picture">
    <p:spTree>
      <p:nvGrpSpPr>
        <p:cNvPr id="1" name=""/>
        <p:cNvGrpSpPr/>
        <p:nvPr/>
      </p:nvGrpSpPr>
      <p:grpSpPr>
        <a:xfrm>
          <a:off x="0" y="0"/>
          <a:ext cx="0" cy="0"/>
          <a:chOff x="0" y="0"/>
          <a:chExt cx="0" cy="0"/>
        </a:xfrm>
      </p:grpSpPr>
      <p:sp>
        <p:nvSpPr>
          <p:cNvPr id="5" name="Datumsplatzhalter 4"/>
          <p:cNvSpPr>
            <a:spLocks noGrp="1"/>
          </p:cNvSpPr>
          <p:nvPr>
            <p:ph type="dt" sz="half" idx="22"/>
          </p:nvPr>
        </p:nvSpPr>
        <p:spPr/>
        <p:txBody>
          <a:bodyPr/>
          <a:lstStyle/>
          <a:p>
            <a:r>
              <a:rPr lang="de-DE" noProof="0"/>
              <a:t>TT.MM.JJJJ</a:t>
            </a:r>
            <a:endParaRPr lang="de-DE" noProof="0" dirty="0"/>
          </a:p>
        </p:txBody>
      </p:sp>
      <p:sp>
        <p:nvSpPr>
          <p:cNvPr id="6" name="Fußzeilenplatzhalter 5"/>
          <p:cNvSpPr>
            <a:spLocks noGrp="1"/>
          </p:cNvSpPr>
          <p:nvPr>
            <p:ph type="ftr" sz="quarter" idx="23"/>
          </p:nvPr>
        </p:nvSpPr>
        <p:spPr/>
        <p:txBody>
          <a:bodyPr/>
          <a:lstStyle/>
          <a:p>
            <a:r>
              <a:rPr lang="de-DE" noProof="0"/>
              <a:t>Titel der Präsentation (Fußzeile steuerbar über Einfügen / Kopf- und Fußzeile)</a:t>
            </a:r>
            <a:endParaRPr lang="de-DE" noProof="0" dirty="0"/>
          </a:p>
        </p:txBody>
      </p:sp>
      <p:sp>
        <p:nvSpPr>
          <p:cNvPr id="7" name="Foliennummernplatzhalter 6"/>
          <p:cNvSpPr>
            <a:spLocks noGrp="1"/>
          </p:cNvSpPr>
          <p:nvPr>
            <p:ph type="sldNum" sz="quarter" idx="24"/>
          </p:nvPr>
        </p:nvSpPr>
        <p:spPr/>
        <p:txBody>
          <a:bodyPr/>
          <a:lstStyle/>
          <a:p>
            <a:fld id="{D7FBF016-173F-4D13-AB5B-81861F2E6151}" type="slidenum">
              <a:rPr lang="de-DE" noProof="0" smtClean="0"/>
              <a:pPr/>
              <a:t>‹Nr.›</a:t>
            </a:fld>
            <a:endParaRPr lang="de-DE" noProof="0" dirty="0"/>
          </a:p>
        </p:txBody>
      </p:sp>
      <p:sp>
        <p:nvSpPr>
          <p:cNvPr id="15" name="Bildplatzhalter 7"/>
          <p:cNvSpPr>
            <a:spLocks noGrp="1"/>
          </p:cNvSpPr>
          <p:nvPr>
            <p:ph type="pic" sz="quarter" idx="13" hasCustomPrompt="1"/>
          </p:nvPr>
        </p:nvSpPr>
        <p:spPr bwMode="gray">
          <a:xfrm>
            <a:off x="251425" y="1269342"/>
            <a:ext cx="2664813" cy="2450712"/>
          </a:xfrm>
        </p:spPr>
        <p:txBody>
          <a:bodyPr anchor="ctr"/>
          <a:lstStyle>
            <a:lvl1pPr algn="ctr">
              <a:defRPr sz="1100"/>
            </a:lvl1pPr>
          </a:lstStyle>
          <a:p>
            <a:r>
              <a:rPr lang="de-DE" dirty="0"/>
              <a:t>Bildplatzhalter</a:t>
            </a:r>
          </a:p>
        </p:txBody>
      </p:sp>
      <p:sp>
        <p:nvSpPr>
          <p:cNvPr id="22" name="Textplatzhalter 10"/>
          <p:cNvSpPr>
            <a:spLocks noGrp="1"/>
          </p:cNvSpPr>
          <p:nvPr>
            <p:ph type="body" sz="quarter" idx="15" hasCustomPrompt="1"/>
          </p:nvPr>
        </p:nvSpPr>
        <p:spPr bwMode="gray">
          <a:xfrm>
            <a:off x="6012200" y="1268413"/>
            <a:ext cx="2880975" cy="1440487"/>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sp>
        <p:nvSpPr>
          <p:cNvPr id="23" name="Bildplatzhalter 11"/>
          <p:cNvSpPr>
            <a:spLocks noGrp="1"/>
          </p:cNvSpPr>
          <p:nvPr>
            <p:ph type="pic" sz="quarter" idx="16" hasCustomPrompt="1"/>
          </p:nvPr>
        </p:nvSpPr>
        <p:spPr bwMode="gray">
          <a:xfrm>
            <a:off x="4716020" y="1268093"/>
            <a:ext cx="1044000" cy="1440000"/>
          </a:xfrm>
        </p:spPr>
        <p:txBody>
          <a:bodyPr anchor="ctr"/>
          <a:lstStyle>
            <a:lvl1pPr algn="ctr">
              <a:defRPr sz="1100"/>
            </a:lvl1pPr>
          </a:lstStyle>
          <a:p>
            <a:r>
              <a:rPr lang="de-DE" dirty="0"/>
              <a:t>Bildplatzhalter</a:t>
            </a:r>
          </a:p>
        </p:txBody>
      </p:sp>
      <p:cxnSp>
        <p:nvCxnSpPr>
          <p:cNvPr id="24" name="Gerade Verbindung 23"/>
          <p:cNvCxnSpPr/>
          <p:nvPr userDrawn="1"/>
        </p:nvCxnSpPr>
        <p:spPr>
          <a:xfrm>
            <a:off x="6012200" y="1268413"/>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Textplatzhalter 10"/>
          <p:cNvSpPr>
            <a:spLocks noGrp="1"/>
          </p:cNvSpPr>
          <p:nvPr>
            <p:ph type="body" sz="quarter" idx="20" hasCustomPrompt="1"/>
          </p:nvPr>
        </p:nvSpPr>
        <p:spPr bwMode="gray">
          <a:xfrm>
            <a:off x="6012200" y="3068950"/>
            <a:ext cx="2880975" cy="1440200"/>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endParaRPr lang="de-DE" dirty="0"/>
          </a:p>
        </p:txBody>
      </p:sp>
      <p:sp>
        <p:nvSpPr>
          <p:cNvPr id="27" name="Textplatzhalter 10"/>
          <p:cNvSpPr>
            <a:spLocks noGrp="1"/>
          </p:cNvSpPr>
          <p:nvPr>
            <p:ph type="body" sz="quarter" idx="25" hasCustomPrompt="1"/>
          </p:nvPr>
        </p:nvSpPr>
        <p:spPr bwMode="gray">
          <a:xfrm>
            <a:off x="250825" y="3933070"/>
            <a:ext cx="2665413" cy="2375655"/>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Unternehmen</a:t>
            </a:r>
          </a:p>
          <a:p>
            <a:pPr lvl="2"/>
            <a:r>
              <a:rPr lang="de-DE" dirty="0"/>
              <a:t>Adresse</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p:txBody>
      </p:sp>
      <p:sp>
        <p:nvSpPr>
          <p:cNvPr id="28" name="Bildplatzhalter 11"/>
          <p:cNvSpPr>
            <a:spLocks noGrp="1"/>
          </p:cNvSpPr>
          <p:nvPr>
            <p:ph type="pic" sz="quarter" idx="26" hasCustomPrompt="1"/>
          </p:nvPr>
        </p:nvSpPr>
        <p:spPr bwMode="gray">
          <a:xfrm>
            <a:off x="4716020" y="3068343"/>
            <a:ext cx="1044000" cy="1440000"/>
          </a:xfrm>
        </p:spPr>
        <p:txBody>
          <a:bodyPr anchor="ctr"/>
          <a:lstStyle>
            <a:lvl1pPr algn="ctr">
              <a:defRPr sz="1100"/>
            </a:lvl1pPr>
          </a:lstStyle>
          <a:p>
            <a:r>
              <a:rPr lang="de-DE" dirty="0"/>
              <a:t>Bildplatzhalter</a:t>
            </a:r>
          </a:p>
        </p:txBody>
      </p:sp>
      <p:cxnSp>
        <p:nvCxnSpPr>
          <p:cNvPr id="29" name="Gerade Verbindung 28"/>
          <p:cNvCxnSpPr/>
          <p:nvPr userDrawn="1"/>
        </p:nvCxnSpPr>
        <p:spPr>
          <a:xfrm>
            <a:off x="6012200" y="3068663"/>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en-US"/>
              <a:t>Click to edit Master title style</a:t>
            </a:r>
            <a:endParaRPr lang="de-DE" dirty="0"/>
          </a:p>
        </p:txBody>
      </p:sp>
      <p:sp>
        <p:nvSpPr>
          <p:cNvPr id="16" name="Rechteck 15"/>
          <p:cNvSpPr/>
          <p:nvPr userDrawn="1"/>
        </p:nvSpPr>
        <p:spPr bwMode="gray">
          <a:xfrm>
            <a:off x="250825" y="3721802"/>
            <a:ext cx="2665413"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18" name="Rechteck 17">
            <a:extLst>
              <a:ext uri="{FF2B5EF4-FFF2-40B4-BE49-F238E27FC236}">
                <a16:creationId xmlns:a16="http://schemas.microsoft.com/office/drawing/2014/main" id="{744D0F47-F328-4207-9A2A-AA484C39360D}"/>
              </a:ext>
            </a:extLst>
          </p:cNvPr>
          <p:cNvSpPr/>
          <p:nvPr userDrawn="1"/>
        </p:nvSpPr>
        <p:spPr bwMode="gray">
          <a:xfrm>
            <a:off x="4716020" y="2708900"/>
            <a:ext cx="1044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19" name="Rechteck 18">
            <a:extLst>
              <a:ext uri="{FF2B5EF4-FFF2-40B4-BE49-F238E27FC236}">
                <a16:creationId xmlns:a16="http://schemas.microsoft.com/office/drawing/2014/main" id="{8E58359F-A9EE-43C0-9AE9-B4FBE79F892E}"/>
              </a:ext>
            </a:extLst>
          </p:cNvPr>
          <p:cNvSpPr/>
          <p:nvPr userDrawn="1"/>
        </p:nvSpPr>
        <p:spPr bwMode="gray">
          <a:xfrm>
            <a:off x="4716020" y="4509150"/>
            <a:ext cx="1044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Tree>
    <p:extLst>
      <p:ext uri="{BB962C8B-B14F-4D97-AF65-F5344CB8AC3E}">
        <p14:creationId xmlns:p14="http://schemas.microsoft.com/office/powerpoint/2010/main" val="4284060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Kontakte Bild&#10;3 Contacts Picture">
    <p:spTree>
      <p:nvGrpSpPr>
        <p:cNvPr id="1" name=""/>
        <p:cNvGrpSpPr/>
        <p:nvPr/>
      </p:nvGrpSpPr>
      <p:grpSpPr>
        <a:xfrm>
          <a:off x="0" y="0"/>
          <a:ext cx="0" cy="0"/>
          <a:chOff x="0" y="0"/>
          <a:chExt cx="0" cy="0"/>
        </a:xfrm>
      </p:grpSpPr>
      <p:sp>
        <p:nvSpPr>
          <p:cNvPr id="5" name="Datumsplatzhalter 4"/>
          <p:cNvSpPr>
            <a:spLocks noGrp="1"/>
          </p:cNvSpPr>
          <p:nvPr>
            <p:ph type="dt" sz="half" idx="26"/>
          </p:nvPr>
        </p:nvSpPr>
        <p:spPr/>
        <p:txBody>
          <a:bodyPr/>
          <a:lstStyle/>
          <a:p>
            <a:r>
              <a:rPr lang="de-DE" noProof="0"/>
              <a:t>TT.MM.JJJJ</a:t>
            </a:r>
            <a:endParaRPr lang="de-DE" noProof="0" dirty="0"/>
          </a:p>
        </p:txBody>
      </p:sp>
      <p:sp>
        <p:nvSpPr>
          <p:cNvPr id="6" name="Fußzeilenplatzhalter 5"/>
          <p:cNvSpPr>
            <a:spLocks noGrp="1"/>
          </p:cNvSpPr>
          <p:nvPr>
            <p:ph type="ftr" sz="quarter" idx="27"/>
          </p:nvPr>
        </p:nvSpPr>
        <p:spPr/>
        <p:txBody>
          <a:bodyPr/>
          <a:lstStyle/>
          <a:p>
            <a:r>
              <a:rPr lang="de-DE" noProof="0"/>
              <a:t>Titel der Präsentation (Fußzeile steuerbar über Einfügen / Kopf- und Fußzeile)</a:t>
            </a:r>
            <a:endParaRPr lang="de-DE" noProof="0" dirty="0"/>
          </a:p>
        </p:txBody>
      </p:sp>
      <p:sp>
        <p:nvSpPr>
          <p:cNvPr id="7" name="Foliennummernplatzhalter 6"/>
          <p:cNvSpPr>
            <a:spLocks noGrp="1"/>
          </p:cNvSpPr>
          <p:nvPr>
            <p:ph type="sldNum" sz="quarter" idx="28"/>
          </p:nvPr>
        </p:nvSpPr>
        <p:spPr/>
        <p:txBody>
          <a:bodyPr/>
          <a:lstStyle/>
          <a:p>
            <a:fld id="{D7FBF016-173F-4D13-AB5B-81861F2E6151}" type="slidenum">
              <a:rPr lang="de-DE" noProof="0" smtClean="0"/>
              <a:pPr/>
              <a:t>‹Nr.›</a:t>
            </a:fld>
            <a:endParaRPr lang="de-DE" noProof="0" dirty="0"/>
          </a:p>
        </p:txBody>
      </p:sp>
      <p:sp>
        <p:nvSpPr>
          <p:cNvPr id="3" name="Titel 2"/>
          <p:cNvSpPr>
            <a:spLocks noGrp="1"/>
          </p:cNvSpPr>
          <p:nvPr>
            <p:ph type="title"/>
          </p:nvPr>
        </p:nvSpPr>
        <p:spPr/>
        <p:txBody>
          <a:bodyPr/>
          <a:lstStyle/>
          <a:p>
            <a:r>
              <a:rPr lang="en-US"/>
              <a:t>Click to edit Master title style</a:t>
            </a:r>
            <a:endParaRPr lang="de-DE" dirty="0"/>
          </a:p>
        </p:txBody>
      </p:sp>
      <p:sp>
        <p:nvSpPr>
          <p:cNvPr id="19" name="Bildplatzhalter 7"/>
          <p:cNvSpPr>
            <a:spLocks noGrp="1"/>
          </p:cNvSpPr>
          <p:nvPr>
            <p:ph type="pic" sz="quarter" idx="13" hasCustomPrompt="1"/>
          </p:nvPr>
        </p:nvSpPr>
        <p:spPr bwMode="gray">
          <a:xfrm>
            <a:off x="251425" y="1269342"/>
            <a:ext cx="2664813" cy="2450712"/>
          </a:xfrm>
        </p:spPr>
        <p:txBody>
          <a:bodyPr anchor="ctr"/>
          <a:lstStyle>
            <a:lvl1pPr algn="ctr">
              <a:defRPr sz="1100"/>
            </a:lvl1pPr>
          </a:lstStyle>
          <a:p>
            <a:r>
              <a:rPr lang="de-DE" dirty="0"/>
              <a:t>Bildplatzhalter</a:t>
            </a:r>
          </a:p>
        </p:txBody>
      </p:sp>
      <p:sp>
        <p:nvSpPr>
          <p:cNvPr id="21" name="Textplatzhalter 10"/>
          <p:cNvSpPr>
            <a:spLocks noGrp="1"/>
          </p:cNvSpPr>
          <p:nvPr>
            <p:ph type="body" sz="quarter" idx="15" hasCustomPrompt="1"/>
          </p:nvPr>
        </p:nvSpPr>
        <p:spPr bwMode="gray">
          <a:xfrm>
            <a:off x="6012200" y="1268413"/>
            <a:ext cx="2880975" cy="1440487"/>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sp>
        <p:nvSpPr>
          <p:cNvPr id="24" name="Bildplatzhalter 11"/>
          <p:cNvSpPr>
            <a:spLocks noGrp="1"/>
          </p:cNvSpPr>
          <p:nvPr>
            <p:ph type="pic" sz="quarter" idx="16" hasCustomPrompt="1"/>
          </p:nvPr>
        </p:nvSpPr>
        <p:spPr bwMode="gray">
          <a:xfrm>
            <a:off x="4716020" y="1268093"/>
            <a:ext cx="1044000" cy="1440000"/>
          </a:xfrm>
        </p:spPr>
        <p:txBody>
          <a:bodyPr anchor="ctr"/>
          <a:lstStyle>
            <a:lvl1pPr algn="ctr">
              <a:defRPr sz="1100"/>
            </a:lvl1pPr>
          </a:lstStyle>
          <a:p>
            <a:r>
              <a:rPr lang="de-DE" dirty="0"/>
              <a:t>Bildplatzhalter</a:t>
            </a:r>
          </a:p>
        </p:txBody>
      </p:sp>
      <p:cxnSp>
        <p:nvCxnSpPr>
          <p:cNvPr id="31" name="Gerade Verbindung 30"/>
          <p:cNvCxnSpPr/>
          <p:nvPr userDrawn="1"/>
        </p:nvCxnSpPr>
        <p:spPr>
          <a:xfrm>
            <a:off x="6012200" y="1268413"/>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platzhalter 10"/>
          <p:cNvSpPr>
            <a:spLocks noGrp="1"/>
          </p:cNvSpPr>
          <p:nvPr>
            <p:ph type="body" sz="quarter" idx="20" hasCustomPrompt="1"/>
          </p:nvPr>
        </p:nvSpPr>
        <p:spPr bwMode="gray">
          <a:xfrm>
            <a:off x="6012200" y="2997569"/>
            <a:ext cx="2880975" cy="1440160"/>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sp>
        <p:nvSpPr>
          <p:cNvPr id="36" name="Rechteck 35"/>
          <p:cNvSpPr/>
          <p:nvPr userDrawn="1"/>
        </p:nvSpPr>
        <p:spPr bwMode="gray">
          <a:xfrm>
            <a:off x="250825" y="3721802"/>
            <a:ext cx="2665413"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37" name="Textplatzhalter 10"/>
          <p:cNvSpPr>
            <a:spLocks noGrp="1"/>
          </p:cNvSpPr>
          <p:nvPr>
            <p:ph type="body" sz="quarter" idx="25" hasCustomPrompt="1"/>
          </p:nvPr>
        </p:nvSpPr>
        <p:spPr bwMode="gray">
          <a:xfrm>
            <a:off x="250825" y="3861060"/>
            <a:ext cx="2665413" cy="2447665"/>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Unternehmen</a:t>
            </a:r>
          </a:p>
          <a:p>
            <a:pPr lvl="2"/>
            <a:r>
              <a:rPr lang="de-DE" dirty="0"/>
              <a:t>Adresse</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endParaRPr lang="de-DE" dirty="0"/>
          </a:p>
        </p:txBody>
      </p:sp>
      <p:sp>
        <p:nvSpPr>
          <p:cNvPr id="38" name="Bildplatzhalter 11"/>
          <p:cNvSpPr>
            <a:spLocks noGrp="1"/>
          </p:cNvSpPr>
          <p:nvPr>
            <p:ph type="pic" sz="quarter" idx="29" hasCustomPrompt="1"/>
          </p:nvPr>
        </p:nvSpPr>
        <p:spPr bwMode="gray">
          <a:xfrm>
            <a:off x="4716020" y="2996952"/>
            <a:ext cx="1044000" cy="1440000"/>
          </a:xfrm>
        </p:spPr>
        <p:txBody>
          <a:bodyPr anchor="ctr"/>
          <a:lstStyle>
            <a:lvl1pPr algn="ctr">
              <a:defRPr sz="1100"/>
            </a:lvl1pPr>
          </a:lstStyle>
          <a:p>
            <a:r>
              <a:rPr lang="de-DE" dirty="0"/>
              <a:t>Bildplatzhalter</a:t>
            </a:r>
          </a:p>
        </p:txBody>
      </p:sp>
      <p:cxnSp>
        <p:nvCxnSpPr>
          <p:cNvPr id="39" name="Gerade Verbindung 38"/>
          <p:cNvCxnSpPr/>
          <p:nvPr userDrawn="1"/>
        </p:nvCxnSpPr>
        <p:spPr>
          <a:xfrm>
            <a:off x="6012200" y="2997272"/>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Textplatzhalter 10"/>
          <p:cNvSpPr>
            <a:spLocks noGrp="1"/>
          </p:cNvSpPr>
          <p:nvPr>
            <p:ph type="body" sz="quarter" idx="30" hasCustomPrompt="1"/>
          </p:nvPr>
        </p:nvSpPr>
        <p:spPr bwMode="gray">
          <a:xfrm>
            <a:off x="6012200" y="4725464"/>
            <a:ext cx="2880975" cy="1440487"/>
          </a:xfrm>
        </p:spPr>
        <p:txBody>
          <a:bodyPr tIns="108000"/>
          <a:lstStyle>
            <a:lvl1pPr>
              <a:lnSpc>
                <a:spcPct val="110000"/>
              </a:lnSpc>
              <a:spcBef>
                <a:spcPts val="0"/>
              </a:spcBef>
              <a:spcAft>
                <a:spcPts val="0"/>
              </a:spcAft>
              <a:defRPr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a:p>
            <a:pPr lvl="1"/>
            <a:endParaRPr lang="de-DE" dirty="0"/>
          </a:p>
          <a:p>
            <a:pPr lvl="2"/>
            <a:r>
              <a:rPr lang="de-DE" dirty="0"/>
              <a:t>Telefon (xxx) xxx xx-x</a:t>
            </a:r>
          </a:p>
          <a:p>
            <a:pPr marL="0" marR="0" lvl="2" indent="0" algn="l" defTabSz="914400" rtl="0" eaLnBrk="1" fontAlgn="auto" latinLnBrk="0" hangingPunct="1">
              <a:lnSpc>
                <a:spcPct val="100000"/>
              </a:lnSpc>
              <a:spcBef>
                <a:spcPts val="0"/>
              </a:spcBef>
              <a:spcAft>
                <a:spcPts val="0"/>
              </a:spcAft>
              <a:buClrTx/>
              <a:buSzTx/>
              <a:buFontTx/>
              <a:buNone/>
              <a:tabLst>
                <a:tab pos="542925" algn="l"/>
              </a:tabLst>
              <a:defRPr/>
            </a:pPr>
            <a:r>
              <a:rPr lang="de-DE" dirty="0"/>
              <a:t>Telefax (xxx) xxx xx-x</a:t>
            </a:r>
          </a:p>
          <a:p>
            <a:pPr lvl="2"/>
            <a:r>
              <a:rPr lang="de-DE" dirty="0"/>
              <a:t>vorname.nachname@berenberg.de</a:t>
            </a:r>
          </a:p>
        </p:txBody>
      </p:sp>
      <p:sp>
        <p:nvSpPr>
          <p:cNvPr id="41" name="Bildplatzhalter 11"/>
          <p:cNvSpPr>
            <a:spLocks noGrp="1"/>
          </p:cNvSpPr>
          <p:nvPr>
            <p:ph type="pic" sz="quarter" idx="31" hasCustomPrompt="1"/>
          </p:nvPr>
        </p:nvSpPr>
        <p:spPr bwMode="gray">
          <a:xfrm>
            <a:off x="4716020" y="4725144"/>
            <a:ext cx="1044000" cy="1440000"/>
          </a:xfrm>
        </p:spPr>
        <p:txBody>
          <a:bodyPr anchor="ctr"/>
          <a:lstStyle>
            <a:lvl1pPr algn="ctr">
              <a:defRPr sz="1100"/>
            </a:lvl1pPr>
          </a:lstStyle>
          <a:p>
            <a:r>
              <a:rPr lang="de-DE" dirty="0"/>
              <a:t>Bildplatzhalter</a:t>
            </a:r>
          </a:p>
        </p:txBody>
      </p:sp>
      <p:cxnSp>
        <p:nvCxnSpPr>
          <p:cNvPr id="42" name="Gerade Verbindung 41"/>
          <p:cNvCxnSpPr/>
          <p:nvPr userDrawn="1"/>
        </p:nvCxnSpPr>
        <p:spPr>
          <a:xfrm>
            <a:off x="6012200" y="4725464"/>
            <a:ext cx="50407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744D0F47-F328-4207-9A2A-AA484C39360D}"/>
              </a:ext>
            </a:extLst>
          </p:cNvPr>
          <p:cNvSpPr/>
          <p:nvPr userDrawn="1"/>
        </p:nvSpPr>
        <p:spPr bwMode="gray">
          <a:xfrm>
            <a:off x="4716020" y="2706539"/>
            <a:ext cx="1044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20" name="Rechteck 19">
            <a:extLst>
              <a:ext uri="{FF2B5EF4-FFF2-40B4-BE49-F238E27FC236}">
                <a16:creationId xmlns:a16="http://schemas.microsoft.com/office/drawing/2014/main" id="{8E58359F-A9EE-43C0-9AE9-B4FBE79F892E}"/>
              </a:ext>
            </a:extLst>
          </p:cNvPr>
          <p:cNvSpPr/>
          <p:nvPr userDrawn="1"/>
        </p:nvSpPr>
        <p:spPr bwMode="gray">
          <a:xfrm>
            <a:off x="4716020" y="4437759"/>
            <a:ext cx="1044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22" name="Rechteck 21">
            <a:extLst>
              <a:ext uri="{FF2B5EF4-FFF2-40B4-BE49-F238E27FC236}">
                <a16:creationId xmlns:a16="http://schemas.microsoft.com/office/drawing/2014/main" id="{D0511F91-6083-4977-8FA7-083A0349E62B}"/>
              </a:ext>
            </a:extLst>
          </p:cNvPr>
          <p:cNvSpPr/>
          <p:nvPr userDrawn="1"/>
        </p:nvSpPr>
        <p:spPr bwMode="gray">
          <a:xfrm>
            <a:off x="4716020" y="6165951"/>
            <a:ext cx="1044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Tree>
    <p:extLst>
      <p:ext uri="{BB962C8B-B14F-4D97-AF65-F5344CB8AC3E}">
        <p14:creationId xmlns:p14="http://schemas.microsoft.com/office/powerpoint/2010/main" val="20905822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Ansprechpartner&#10;3 Contact person">
    <p:spTree>
      <p:nvGrpSpPr>
        <p:cNvPr id="1" name=""/>
        <p:cNvGrpSpPr/>
        <p:nvPr/>
      </p:nvGrpSpPr>
      <p:grpSpPr>
        <a:xfrm>
          <a:off x="0" y="0"/>
          <a:ext cx="0" cy="0"/>
          <a:chOff x="0" y="0"/>
          <a:chExt cx="0" cy="0"/>
        </a:xfrm>
      </p:grpSpPr>
      <p:sp>
        <p:nvSpPr>
          <p:cNvPr id="5" name="Datumsplatzhalter 4"/>
          <p:cNvSpPr>
            <a:spLocks noGrp="1"/>
          </p:cNvSpPr>
          <p:nvPr>
            <p:ph type="dt" sz="half" idx="26"/>
          </p:nvPr>
        </p:nvSpPr>
        <p:spPr/>
        <p:txBody>
          <a:bodyPr/>
          <a:lstStyle/>
          <a:p>
            <a:r>
              <a:rPr lang="de-DE" noProof="0"/>
              <a:t>TT.MM.JJJJ</a:t>
            </a:r>
            <a:endParaRPr lang="de-DE" noProof="0" dirty="0"/>
          </a:p>
        </p:txBody>
      </p:sp>
      <p:sp>
        <p:nvSpPr>
          <p:cNvPr id="6" name="Fußzeilenplatzhalter 5"/>
          <p:cNvSpPr>
            <a:spLocks noGrp="1"/>
          </p:cNvSpPr>
          <p:nvPr>
            <p:ph type="ftr" sz="quarter" idx="27"/>
          </p:nvPr>
        </p:nvSpPr>
        <p:spPr/>
        <p:txBody>
          <a:bodyPr/>
          <a:lstStyle/>
          <a:p>
            <a:r>
              <a:rPr lang="de-DE" noProof="0"/>
              <a:t>Titel der Präsentation (Fußzeile steuerbar über Einfügen / Kopf- und Fußzeile)</a:t>
            </a:r>
            <a:endParaRPr lang="de-DE" noProof="0" dirty="0"/>
          </a:p>
        </p:txBody>
      </p:sp>
      <p:sp>
        <p:nvSpPr>
          <p:cNvPr id="7" name="Foliennummernplatzhalter 6"/>
          <p:cNvSpPr>
            <a:spLocks noGrp="1"/>
          </p:cNvSpPr>
          <p:nvPr>
            <p:ph type="sldNum" sz="quarter" idx="28"/>
          </p:nvPr>
        </p:nvSpPr>
        <p:spPr/>
        <p:txBody>
          <a:bodyPr/>
          <a:lstStyle/>
          <a:p>
            <a:fld id="{D7FBF016-173F-4D13-AB5B-81861F2E6151}" type="slidenum">
              <a:rPr lang="de-DE" noProof="0" smtClean="0"/>
              <a:pPr/>
              <a:t>‹Nr.›</a:t>
            </a:fld>
            <a:endParaRPr lang="de-DE" noProof="0" dirty="0"/>
          </a:p>
        </p:txBody>
      </p:sp>
      <p:sp>
        <p:nvSpPr>
          <p:cNvPr id="3" name="Titel 2"/>
          <p:cNvSpPr>
            <a:spLocks noGrp="1"/>
          </p:cNvSpPr>
          <p:nvPr>
            <p:ph type="title"/>
          </p:nvPr>
        </p:nvSpPr>
        <p:spPr/>
        <p:txBody>
          <a:bodyPr/>
          <a:lstStyle/>
          <a:p>
            <a:r>
              <a:rPr lang="en-US"/>
              <a:t>Click to edit Master title style</a:t>
            </a:r>
            <a:endParaRPr lang="de-DE" dirty="0"/>
          </a:p>
        </p:txBody>
      </p:sp>
      <p:sp>
        <p:nvSpPr>
          <p:cNvPr id="21" name="Textplatzhalter 10"/>
          <p:cNvSpPr>
            <a:spLocks noGrp="1"/>
          </p:cNvSpPr>
          <p:nvPr>
            <p:ph type="body" sz="quarter" idx="15" hasCustomPrompt="1"/>
          </p:nvPr>
        </p:nvSpPr>
        <p:spPr bwMode="gray">
          <a:xfrm>
            <a:off x="1043609" y="1268413"/>
            <a:ext cx="1872630"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0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000">
                <a:solidFill>
                  <a:schemeClr val="tx1"/>
                </a:solidFill>
              </a:defRPr>
            </a:lvl3pPr>
            <a:lvl4pPr marL="0" indent="0">
              <a:lnSpc>
                <a:spcPct val="110000"/>
              </a:lnSpc>
              <a:spcBef>
                <a:spcPts val="0"/>
              </a:spcBef>
              <a:spcAft>
                <a:spcPts val="0"/>
              </a:spcAft>
              <a:buFontTx/>
              <a:buNone/>
              <a:defRPr sz="1000">
                <a:solidFill>
                  <a:schemeClr val="tx1"/>
                </a:solidFill>
              </a:defRPr>
            </a:lvl4pPr>
            <a:lvl5pPr marL="0" indent="0">
              <a:lnSpc>
                <a:spcPct val="110000"/>
              </a:lnSpc>
              <a:spcBef>
                <a:spcPts val="0"/>
              </a:spcBef>
              <a:spcAft>
                <a:spcPts val="0"/>
              </a:spcAft>
              <a:buFontTx/>
              <a:buNone/>
              <a:defRPr sz="1000">
                <a:solidFill>
                  <a:schemeClr val="tx1"/>
                </a:solidFill>
              </a:defRPr>
            </a:lvl5pPr>
            <a:lvl6pPr marL="0" indent="0">
              <a:lnSpc>
                <a:spcPct val="110000"/>
              </a:lnSpc>
              <a:spcBef>
                <a:spcPts val="0"/>
              </a:spcBef>
              <a:spcAft>
                <a:spcPts val="0"/>
              </a:spcAft>
              <a:buFontTx/>
              <a:buNone/>
              <a:defRPr sz="1000">
                <a:solidFill>
                  <a:schemeClr val="tx1"/>
                </a:solidFill>
              </a:defRPr>
            </a:lvl6pPr>
            <a:lvl7pPr marL="0" indent="0">
              <a:lnSpc>
                <a:spcPct val="110000"/>
              </a:lnSpc>
              <a:spcBef>
                <a:spcPts val="0"/>
              </a:spcBef>
              <a:spcAft>
                <a:spcPts val="0"/>
              </a:spcAft>
              <a:buFontTx/>
              <a:buNone/>
              <a:defRPr sz="1000">
                <a:solidFill>
                  <a:schemeClr val="tx1"/>
                </a:solidFill>
              </a:defRPr>
            </a:lvl7pPr>
            <a:lvl8pPr marL="0" indent="0">
              <a:lnSpc>
                <a:spcPct val="110000"/>
              </a:lnSpc>
              <a:spcBef>
                <a:spcPts val="0"/>
              </a:spcBef>
              <a:spcAft>
                <a:spcPts val="0"/>
              </a:spcAft>
              <a:buFontTx/>
              <a:buNone/>
              <a:defRPr sz="1000">
                <a:solidFill>
                  <a:schemeClr val="tx1"/>
                </a:solidFill>
              </a:defRPr>
            </a:lvl8pPr>
            <a:lvl9pPr marL="0" indent="0">
              <a:lnSpc>
                <a:spcPct val="110000"/>
              </a:lnSpc>
              <a:spcBef>
                <a:spcPts val="0"/>
              </a:spcBef>
              <a:spcAft>
                <a:spcPts val="0"/>
              </a:spcAft>
              <a:buFontTx/>
              <a:buNone/>
              <a:defRPr sz="1000">
                <a:solidFill>
                  <a:schemeClr val="tx1"/>
                </a:solidFill>
              </a:defRPr>
            </a:lvl9pPr>
          </a:lstStyle>
          <a:p>
            <a:pPr lvl="0"/>
            <a:r>
              <a:rPr lang="de-DE" dirty="0"/>
              <a:t>Vorname Nachname</a:t>
            </a:r>
          </a:p>
          <a:p>
            <a:pPr lvl="2"/>
            <a:r>
              <a:rPr lang="de-DE" dirty="0"/>
              <a:t>Funktion</a:t>
            </a:r>
          </a:p>
        </p:txBody>
      </p:sp>
      <p:sp>
        <p:nvSpPr>
          <p:cNvPr id="24" name="Bildplatzhalter 11"/>
          <p:cNvSpPr>
            <a:spLocks noGrp="1"/>
          </p:cNvSpPr>
          <p:nvPr>
            <p:ph type="pic" sz="quarter" idx="16" hasCustomPrompt="1"/>
          </p:nvPr>
        </p:nvSpPr>
        <p:spPr bwMode="gray">
          <a:xfrm>
            <a:off x="250825" y="1268413"/>
            <a:ext cx="720775" cy="936451"/>
          </a:xfrm>
          <a:solidFill>
            <a:srgbClr val="EDECEB"/>
          </a:solidFill>
        </p:spPr>
        <p:txBody>
          <a:bodyPr anchor="ctr"/>
          <a:lstStyle>
            <a:lvl1pPr algn="ctr">
              <a:defRPr sz="1100"/>
            </a:lvl1pPr>
          </a:lstStyle>
          <a:p>
            <a:r>
              <a:rPr lang="de-DE" dirty="0"/>
              <a:t>Foto</a:t>
            </a:r>
          </a:p>
        </p:txBody>
      </p:sp>
      <p:sp>
        <p:nvSpPr>
          <p:cNvPr id="35" name="Textplatzhalter 10"/>
          <p:cNvSpPr>
            <a:spLocks noGrp="1"/>
          </p:cNvSpPr>
          <p:nvPr>
            <p:ph type="body" sz="quarter" idx="20" hasCustomPrompt="1"/>
          </p:nvPr>
        </p:nvSpPr>
        <p:spPr bwMode="gray">
          <a:xfrm>
            <a:off x="3995936" y="1268413"/>
            <a:ext cx="1944489"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0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000">
                <a:solidFill>
                  <a:schemeClr val="tx1"/>
                </a:solidFill>
              </a:defRPr>
            </a:lvl3pPr>
            <a:lvl4pPr marL="0" indent="0">
              <a:lnSpc>
                <a:spcPct val="110000"/>
              </a:lnSpc>
              <a:spcBef>
                <a:spcPts val="0"/>
              </a:spcBef>
              <a:spcAft>
                <a:spcPts val="0"/>
              </a:spcAft>
              <a:buFontTx/>
              <a:buNone/>
              <a:defRPr sz="1000">
                <a:solidFill>
                  <a:schemeClr val="tx1"/>
                </a:solidFill>
              </a:defRPr>
            </a:lvl4pPr>
            <a:lvl5pPr marL="0" indent="0">
              <a:lnSpc>
                <a:spcPct val="110000"/>
              </a:lnSpc>
              <a:spcBef>
                <a:spcPts val="0"/>
              </a:spcBef>
              <a:spcAft>
                <a:spcPts val="0"/>
              </a:spcAft>
              <a:buFontTx/>
              <a:buNone/>
              <a:defRPr sz="1000">
                <a:solidFill>
                  <a:schemeClr val="tx1"/>
                </a:solidFill>
              </a:defRPr>
            </a:lvl5pPr>
            <a:lvl6pPr marL="0" indent="0">
              <a:lnSpc>
                <a:spcPct val="110000"/>
              </a:lnSpc>
              <a:spcBef>
                <a:spcPts val="0"/>
              </a:spcBef>
              <a:spcAft>
                <a:spcPts val="0"/>
              </a:spcAft>
              <a:buFontTx/>
              <a:buNone/>
              <a:defRPr sz="1000">
                <a:solidFill>
                  <a:schemeClr val="tx1"/>
                </a:solidFill>
              </a:defRPr>
            </a:lvl6pPr>
            <a:lvl7pPr marL="0" indent="0">
              <a:lnSpc>
                <a:spcPct val="110000"/>
              </a:lnSpc>
              <a:spcBef>
                <a:spcPts val="0"/>
              </a:spcBef>
              <a:spcAft>
                <a:spcPts val="0"/>
              </a:spcAft>
              <a:buFontTx/>
              <a:buNone/>
              <a:defRPr sz="1000">
                <a:solidFill>
                  <a:schemeClr val="tx1"/>
                </a:solidFill>
              </a:defRPr>
            </a:lvl7pPr>
            <a:lvl8pPr marL="0" indent="0">
              <a:lnSpc>
                <a:spcPct val="110000"/>
              </a:lnSpc>
              <a:spcBef>
                <a:spcPts val="0"/>
              </a:spcBef>
              <a:spcAft>
                <a:spcPts val="0"/>
              </a:spcAft>
              <a:buFontTx/>
              <a:buNone/>
              <a:defRPr sz="1000">
                <a:solidFill>
                  <a:schemeClr val="tx1"/>
                </a:solidFill>
              </a:defRPr>
            </a:lvl8pPr>
            <a:lvl9pPr marL="0" indent="0">
              <a:lnSpc>
                <a:spcPct val="110000"/>
              </a:lnSpc>
              <a:spcBef>
                <a:spcPts val="0"/>
              </a:spcBef>
              <a:spcAft>
                <a:spcPts val="0"/>
              </a:spcAft>
              <a:buFontTx/>
              <a:buNone/>
              <a:defRPr sz="1000">
                <a:solidFill>
                  <a:schemeClr val="tx1"/>
                </a:solidFill>
              </a:defRPr>
            </a:lvl9pPr>
          </a:lstStyle>
          <a:p>
            <a:pPr lvl="0"/>
            <a:r>
              <a:rPr lang="de-DE" dirty="0"/>
              <a:t>Vorname Nachname</a:t>
            </a:r>
          </a:p>
          <a:p>
            <a:pPr lvl="2"/>
            <a:r>
              <a:rPr lang="de-DE" dirty="0"/>
              <a:t>Funktion</a:t>
            </a:r>
          </a:p>
        </p:txBody>
      </p:sp>
      <p:sp>
        <p:nvSpPr>
          <p:cNvPr id="38" name="Bildplatzhalter 11"/>
          <p:cNvSpPr>
            <a:spLocks noGrp="1"/>
          </p:cNvSpPr>
          <p:nvPr>
            <p:ph type="pic" sz="quarter" idx="29" hasCustomPrompt="1"/>
          </p:nvPr>
        </p:nvSpPr>
        <p:spPr bwMode="gray">
          <a:xfrm>
            <a:off x="3203848" y="1267272"/>
            <a:ext cx="720080" cy="937592"/>
          </a:xfrm>
          <a:solidFill>
            <a:srgbClr val="EDECEB"/>
          </a:solidFill>
        </p:spPr>
        <p:txBody>
          <a:bodyPr anchor="ctr"/>
          <a:lstStyle>
            <a:lvl1pPr algn="ctr">
              <a:defRPr sz="1100"/>
            </a:lvl1pPr>
          </a:lstStyle>
          <a:p>
            <a:r>
              <a:rPr lang="de-DE" dirty="0"/>
              <a:t>Foto</a:t>
            </a:r>
          </a:p>
        </p:txBody>
      </p:sp>
      <p:sp>
        <p:nvSpPr>
          <p:cNvPr id="40" name="Textplatzhalter 10"/>
          <p:cNvSpPr>
            <a:spLocks noGrp="1"/>
          </p:cNvSpPr>
          <p:nvPr>
            <p:ph type="body" sz="quarter" idx="30" hasCustomPrompt="1"/>
          </p:nvPr>
        </p:nvSpPr>
        <p:spPr bwMode="gray">
          <a:xfrm>
            <a:off x="7020272" y="1268413"/>
            <a:ext cx="1872903"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0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000">
                <a:solidFill>
                  <a:schemeClr val="tx1"/>
                </a:solidFill>
              </a:defRPr>
            </a:lvl3pPr>
            <a:lvl4pPr marL="0" indent="0">
              <a:lnSpc>
                <a:spcPct val="110000"/>
              </a:lnSpc>
              <a:spcBef>
                <a:spcPts val="0"/>
              </a:spcBef>
              <a:spcAft>
                <a:spcPts val="0"/>
              </a:spcAft>
              <a:buFontTx/>
              <a:buNone/>
              <a:defRPr sz="1000">
                <a:solidFill>
                  <a:schemeClr val="tx1"/>
                </a:solidFill>
              </a:defRPr>
            </a:lvl4pPr>
            <a:lvl5pPr marL="0" indent="0">
              <a:lnSpc>
                <a:spcPct val="110000"/>
              </a:lnSpc>
              <a:spcBef>
                <a:spcPts val="0"/>
              </a:spcBef>
              <a:spcAft>
                <a:spcPts val="0"/>
              </a:spcAft>
              <a:buFontTx/>
              <a:buNone/>
              <a:defRPr sz="1000">
                <a:solidFill>
                  <a:schemeClr val="tx1"/>
                </a:solidFill>
              </a:defRPr>
            </a:lvl5pPr>
            <a:lvl6pPr marL="0" indent="0">
              <a:lnSpc>
                <a:spcPct val="110000"/>
              </a:lnSpc>
              <a:spcBef>
                <a:spcPts val="0"/>
              </a:spcBef>
              <a:spcAft>
                <a:spcPts val="0"/>
              </a:spcAft>
              <a:buFontTx/>
              <a:buNone/>
              <a:defRPr sz="1000">
                <a:solidFill>
                  <a:schemeClr val="tx1"/>
                </a:solidFill>
              </a:defRPr>
            </a:lvl6pPr>
            <a:lvl7pPr marL="0" indent="0">
              <a:lnSpc>
                <a:spcPct val="110000"/>
              </a:lnSpc>
              <a:spcBef>
                <a:spcPts val="0"/>
              </a:spcBef>
              <a:spcAft>
                <a:spcPts val="0"/>
              </a:spcAft>
              <a:buFontTx/>
              <a:buNone/>
              <a:defRPr sz="1000">
                <a:solidFill>
                  <a:schemeClr val="tx1"/>
                </a:solidFill>
              </a:defRPr>
            </a:lvl7pPr>
            <a:lvl8pPr marL="0" indent="0">
              <a:lnSpc>
                <a:spcPct val="110000"/>
              </a:lnSpc>
              <a:spcBef>
                <a:spcPts val="0"/>
              </a:spcBef>
              <a:spcAft>
                <a:spcPts val="0"/>
              </a:spcAft>
              <a:buFontTx/>
              <a:buNone/>
              <a:defRPr sz="1000">
                <a:solidFill>
                  <a:schemeClr val="tx1"/>
                </a:solidFill>
              </a:defRPr>
            </a:lvl8pPr>
            <a:lvl9pPr marL="0" indent="0">
              <a:lnSpc>
                <a:spcPct val="110000"/>
              </a:lnSpc>
              <a:spcBef>
                <a:spcPts val="0"/>
              </a:spcBef>
              <a:spcAft>
                <a:spcPts val="0"/>
              </a:spcAft>
              <a:buFontTx/>
              <a:buNone/>
              <a:defRPr sz="1000">
                <a:solidFill>
                  <a:schemeClr val="tx1"/>
                </a:solidFill>
              </a:defRPr>
            </a:lvl9pPr>
          </a:lstStyle>
          <a:p>
            <a:pPr lvl="0"/>
            <a:r>
              <a:rPr lang="de-DE" dirty="0"/>
              <a:t>Vorname Nachname</a:t>
            </a:r>
          </a:p>
          <a:p>
            <a:pPr lvl="2"/>
            <a:r>
              <a:rPr lang="de-DE" dirty="0"/>
              <a:t>Funktion</a:t>
            </a:r>
          </a:p>
        </p:txBody>
      </p:sp>
      <p:sp>
        <p:nvSpPr>
          <p:cNvPr id="41" name="Bildplatzhalter 11"/>
          <p:cNvSpPr>
            <a:spLocks noGrp="1"/>
          </p:cNvSpPr>
          <p:nvPr>
            <p:ph type="pic" sz="quarter" idx="31" hasCustomPrompt="1"/>
          </p:nvPr>
        </p:nvSpPr>
        <p:spPr bwMode="gray">
          <a:xfrm>
            <a:off x="6227763" y="1268413"/>
            <a:ext cx="720501" cy="936451"/>
          </a:xfrm>
          <a:solidFill>
            <a:srgbClr val="EDECEB"/>
          </a:solidFill>
        </p:spPr>
        <p:txBody>
          <a:bodyPr anchor="ctr"/>
          <a:lstStyle>
            <a:lvl1pPr algn="ctr">
              <a:defRPr sz="1100"/>
            </a:lvl1pPr>
          </a:lstStyle>
          <a:p>
            <a:r>
              <a:rPr lang="de-DE" dirty="0"/>
              <a:t>Foto</a:t>
            </a:r>
          </a:p>
        </p:txBody>
      </p:sp>
      <p:sp>
        <p:nvSpPr>
          <p:cNvPr id="18" name="Rechteck 17">
            <a:extLst>
              <a:ext uri="{FF2B5EF4-FFF2-40B4-BE49-F238E27FC236}">
                <a16:creationId xmlns:a16="http://schemas.microsoft.com/office/drawing/2014/main" id="{744D0F47-F328-4207-9A2A-AA484C39360D}"/>
              </a:ext>
            </a:extLst>
          </p:cNvPr>
          <p:cNvSpPr/>
          <p:nvPr userDrawn="1"/>
        </p:nvSpPr>
        <p:spPr bwMode="gray">
          <a:xfrm>
            <a:off x="250825" y="22048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cxnSp>
        <p:nvCxnSpPr>
          <p:cNvPr id="23" name="Gerade Verbindung 22"/>
          <p:cNvCxnSpPr/>
          <p:nvPr userDrawn="1"/>
        </p:nvCxnSpPr>
        <p:spPr bwMode="gray">
          <a:xfrm>
            <a:off x="251520" y="2349417"/>
            <a:ext cx="2664718" cy="1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custDataLst>
              <p:tags r:id="rId1"/>
            </p:custDataLst>
          </p:nvPr>
        </p:nvCxnSpPr>
        <p:spPr bwMode="gray">
          <a:xfrm>
            <a:off x="251520" y="2853486"/>
            <a:ext cx="2664718"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1043608"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3995937"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7020000"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a:off x="3204539" y="2349417"/>
            <a:ext cx="2735886"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3204539" y="2853486"/>
            <a:ext cx="2735867"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6228875" y="2349417"/>
            <a:ext cx="2664718" cy="1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6228875" y="2853486"/>
            <a:ext cx="2664718"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54" name="Rechteck 53">
            <a:extLst>
              <a:ext uri="{FF2B5EF4-FFF2-40B4-BE49-F238E27FC236}">
                <a16:creationId xmlns:a16="http://schemas.microsoft.com/office/drawing/2014/main" id="{744D0F47-F328-4207-9A2A-AA484C39360D}"/>
              </a:ext>
            </a:extLst>
          </p:cNvPr>
          <p:cNvSpPr/>
          <p:nvPr userDrawn="1"/>
        </p:nvSpPr>
        <p:spPr bwMode="gray">
          <a:xfrm>
            <a:off x="3203848" y="22048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55" name="Rechteck 54">
            <a:extLst>
              <a:ext uri="{FF2B5EF4-FFF2-40B4-BE49-F238E27FC236}">
                <a16:creationId xmlns:a16="http://schemas.microsoft.com/office/drawing/2014/main" id="{744D0F47-F328-4207-9A2A-AA484C39360D}"/>
              </a:ext>
            </a:extLst>
          </p:cNvPr>
          <p:cNvSpPr/>
          <p:nvPr userDrawn="1"/>
        </p:nvSpPr>
        <p:spPr bwMode="gray">
          <a:xfrm>
            <a:off x="6227763" y="22048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4" name="Textplatzhalter 3"/>
          <p:cNvSpPr>
            <a:spLocks noGrp="1"/>
          </p:cNvSpPr>
          <p:nvPr>
            <p:ph type="body" sz="quarter" idx="32" hasCustomPrompt="1"/>
          </p:nvPr>
        </p:nvSpPr>
        <p:spPr>
          <a:xfrm>
            <a:off x="240943" y="2348880"/>
            <a:ext cx="2665413" cy="503238"/>
          </a:xfrm>
        </p:spPr>
        <p:txBody>
          <a:bodyPr anchor="ctr"/>
          <a:lstStyle>
            <a:lvl1pPr marL="0" indent="0">
              <a:spcBef>
                <a:spcPts val="0"/>
              </a:spcBef>
              <a:buFont typeface="Arial" panose="020B0604020202020204" pitchFamily="34" charset="0"/>
              <a:buNone/>
              <a:defRPr sz="1000"/>
            </a:lvl1pPr>
            <a:lvl2pPr marL="0" indent="0">
              <a:spcBef>
                <a:spcPts val="0"/>
              </a:spcBef>
              <a:buNone/>
              <a:defRPr sz="1000"/>
            </a:lvl2pPr>
            <a:lvl3pPr marL="0" indent="0">
              <a:spcBef>
                <a:spcPts val="0"/>
              </a:spcBef>
              <a:buNone/>
              <a:defRPr sz="1000"/>
            </a:lvl3pPr>
            <a:lvl4pPr marL="0" indent="0">
              <a:spcBef>
                <a:spcPts val="0"/>
              </a:spcBef>
              <a:buNone/>
              <a:defRPr sz="1000"/>
            </a:lvl4pPr>
            <a:lvl5pPr marL="0" indent="0">
              <a:spcBef>
                <a:spcPts val="0"/>
              </a:spcBef>
              <a:buNone/>
              <a:defRPr sz="1000"/>
            </a:lvl5pPr>
            <a:lvl6pPr marL="0" indent="0">
              <a:spcBef>
                <a:spcPts val="0"/>
              </a:spcBef>
              <a:buNone/>
              <a:defRPr sz="1000"/>
            </a:lvl6pPr>
            <a:lvl7pPr marL="0" indent="0">
              <a:spcBef>
                <a:spcPts val="0"/>
              </a:spcBef>
              <a:buNone/>
              <a:defRPr sz="1000"/>
            </a:lvl7pPr>
            <a:lvl8pPr marL="0" indent="0">
              <a:spcBef>
                <a:spcPts val="0"/>
              </a:spcBef>
              <a:buNone/>
              <a:defRPr sz="1000"/>
            </a:lvl8pPr>
            <a:lvl9pPr marL="0" indent="0">
              <a:spcBef>
                <a:spcPts val="0"/>
              </a:spcBef>
              <a:buNone/>
              <a:defRPr sz="1000"/>
            </a:lvl9pPr>
          </a:lstStyle>
          <a:p>
            <a:pPr lvl="0"/>
            <a:r>
              <a:rPr lang="de-DE" noProof="0" dirty="0"/>
              <a:t>+xx </a:t>
            </a:r>
            <a:r>
              <a:rPr lang="de-DE" noProof="0" dirty="0" err="1"/>
              <a:t>xx</a:t>
            </a:r>
            <a:r>
              <a:rPr lang="de-DE" noProof="0" dirty="0"/>
              <a:t> </a:t>
            </a:r>
            <a:r>
              <a:rPr lang="de-DE" noProof="0" dirty="0" err="1"/>
              <a:t>xxxx</a:t>
            </a:r>
            <a:r>
              <a:rPr lang="de-DE" noProof="0" dirty="0"/>
              <a:t> </a:t>
            </a:r>
            <a:r>
              <a:rPr lang="de-DE" noProof="0" dirty="0" err="1"/>
              <a:t>xxxx</a:t>
            </a:r>
            <a:br>
              <a:rPr lang="de-DE" noProof="0" dirty="0"/>
            </a:br>
            <a:r>
              <a:rPr lang="de-DE" noProof="0" dirty="0"/>
              <a:t>firstname.surname@berenberg.de</a:t>
            </a:r>
          </a:p>
        </p:txBody>
      </p:sp>
      <p:sp>
        <p:nvSpPr>
          <p:cNvPr id="56" name="Textplatzhalter 3"/>
          <p:cNvSpPr>
            <a:spLocks noGrp="1"/>
          </p:cNvSpPr>
          <p:nvPr>
            <p:ph type="body" sz="quarter" idx="33" hasCustomPrompt="1"/>
          </p:nvPr>
        </p:nvSpPr>
        <p:spPr>
          <a:xfrm>
            <a:off x="3203848" y="2349500"/>
            <a:ext cx="2736577" cy="503238"/>
          </a:xfrm>
        </p:spPr>
        <p:txBody>
          <a:bodyPr anchor="ctr"/>
          <a:lstStyle>
            <a:lvl1pPr marL="0" indent="0">
              <a:spcBef>
                <a:spcPts val="0"/>
              </a:spcBef>
              <a:buFont typeface="Arial" panose="020B0604020202020204" pitchFamily="34" charset="0"/>
              <a:buNone/>
              <a:defRPr sz="1000"/>
            </a:lvl1pPr>
            <a:lvl2pPr marL="0" indent="0">
              <a:spcBef>
                <a:spcPts val="0"/>
              </a:spcBef>
              <a:buNone/>
              <a:defRPr sz="1000"/>
            </a:lvl2pPr>
            <a:lvl3pPr marL="0" indent="0">
              <a:spcBef>
                <a:spcPts val="0"/>
              </a:spcBef>
              <a:buNone/>
              <a:defRPr sz="1000"/>
            </a:lvl3pPr>
            <a:lvl4pPr marL="0" indent="0">
              <a:spcBef>
                <a:spcPts val="0"/>
              </a:spcBef>
              <a:buNone/>
              <a:defRPr sz="1000"/>
            </a:lvl4pPr>
            <a:lvl5pPr marL="0" indent="0">
              <a:spcBef>
                <a:spcPts val="0"/>
              </a:spcBef>
              <a:buNone/>
              <a:defRPr sz="1000"/>
            </a:lvl5pPr>
            <a:lvl6pPr marL="0" indent="0">
              <a:spcBef>
                <a:spcPts val="0"/>
              </a:spcBef>
              <a:buNone/>
              <a:defRPr sz="1000"/>
            </a:lvl6pPr>
            <a:lvl7pPr marL="0" indent="0">
              <a:spcBef>
                <a:spcPts val="0"/>
              </a:spcBef>
              <a:buNone/>
              <a:defRPr sz="1000"/>
            </a:lvl7pPr>
            <a:lvl8pPr marL="0" indent="0">
              <a:spcBef>
                <a:spcPts val="0"/>
              </a:spcBef>
              <a:buNone/>
              <a:defRPr sz="1000"/>
            </a:lvl8pPr>
            <a:lvl9pPr marL="0" indent="0">
              <a:spcBef>
                <a:spcPts val="0"/>
              </a:spcBef>
              <a:buNone/>
              <a:defRPr sz="1000"/>
            </a:lvl9pPr>
          </a:lstStyle>
          <a:p>
            <a:pPr lvl="0"/>
            <a:r>
              <a:rPr lang="de-DE" noProof="0" dirty="0"/>
              <a:t>+xx </a:t>
            </a:r>
            <a:r>
              <a:rPr lang="de-DE" noProof="0" dirty="0" err="1"/>
              <a:t>xx</a:t>
            </a:r>
            <a:r>
              <a:rPr lang="de-DE" noProof="0" dirty="0"/>
              <a:t> </a:t>
            </a:r>
            <a:r>
              <a:rPr lang="de-DE" noProof="0" dirty="0" err="1"/>
              <a:t>xxxx</a:t>
            </a:r>
            <a:r>
              <a:rPr lang="de-DE" noProof="0" dirty="0"/>
              <a:t> </a:t>
            </a:r>
            <a:r>
              <a:rPr lang="de-DE" noProof="0" dirty="0" err="1"/>
              <a:t>xxxx</a:t>
            </a:r>
            <a:br>
              <a:rPr lang="de-DE" noProof="0" dirty="0"/>
            </a:br>
            <a:r>
              <a:rPr lang="de-DE" noProof="0" dirty="0"/>
              <a:t>firstname.surname@berenberg.de</a:t>
            </a:r>
          </a:p>
        </p:txBody>
      </p:sp>
      <p:sp>
        <p:nvSpPr>
          <p:cNvPr id="57" name="Textplatzhalter 3"/>
          <p:cNvSpPr>
            <a:spLocks noGrp="1"/>
          </p:cNvSpPr>
          <p:nvPr>
            <p:ph type="body" sz="quarter" idx="34" hasCustomPrompt="1"/>
          </p:nvPr>
        </p:nvSpPr>
        <p:spPr>
          <a:xfrm>
            <a:off x="6227763" y="2349500"/>
            <a:ext cx="2665413" cy="503238"/>
          </a:xfrm>
        </p:spPr>
        <p:txBody>
          <a:bodyPr anchor="ctr"/>
          <a:lstStyle>
            <a:lvl1pPr marL="0" indent="0">
              <a:spcBef>
                <a:spcPts val="0"/>
              </a:spcBef>
              <a:buFont typeface="Arial" panose="020B0604020202020204" pitchFamily="34" charset="0"/>
              <a:buNone/>
              <a:defRPr sz="1000"/>
            </a:lvl1pPr>
            <a:lvl2pPr marL="0" indent="0">
              <a:spcBef>
                <a:spcPts val="0"/>
              </a:spcBef>
              <a:buNone/>
              <a:defRPr sz="1000"/>
            </a:lvl2pPr>
            <a:lvl3pPr marL="0" indent="0">
              <a:spcBef>
                <a:spcPts val="0"/>
              </a:spcBef>
              <a:buNone/>
              <a:defRPr sz="1000"/>
            </a:lvl3pPr>
            <a:lvl4pPr marL="0" indent="0">
              <a:spcBef>
                <a:spcPts val="0"/>
              </a:spcBef>
              <a:buNone/>
              <a:defRPr sz="1000"/>
            </a:lvl4pPr>
            <a:lvl5pPr marL="0" indent="0">
              <a:spcBef>
                <a:spcPts val="0"/>
              </a:spcBef>
              <a:buNone/>
              <a:defRPr sz="1000"/>
            </a:lvl5pPr>
            <a:lvl6pPr marL="0" indent="0">
              <a:spcBef>
                <a:spcPts val="0"/>
              </a:spcBef>
              <a:buNone/>
              <a:defRPr sz="1000"/>
            </a:lvl6pPr>
            <a:lvl7pPr marL="0" indent="0">
              <a:spcBef>
                <a:spcPts val="0"/>
              </a:spcBef>
              <a:buNone/>
              <a:defRPr sz="1000"/>
            </a:lvl7pPr>
            <a:lvl8pPr marL="0" indent="0">
              <a:spcBef>
                <a:spcPts val="0"/>
              </a:spcBef>
              <a:buNone/>
              <a:defRPr sz="1000"/>
            </a:lvl8pPr>
            <a:lvl9pPr marL="0" indent="0">
              <a:spcBef>
                <a:spcPts val="0"/>
              </a:spcBef>
              <a:buNone/>
              <a:defRPr sz="1000"/>
            </a:lvl9pPr>
          </a:lstStyle>
          <a:p>
            <a:pPr lvl="0"/>
            <a:r>
              <a:rPr lang="de-DE" noProof="0" dirty="0"/>
              <a:t>+xx </a:t>
            </a:r>
            <a:r>
              <a:rPr lang="de-DE" noProof="0" dirty="0" err="1"/>
              <a:t>xx</a:t>
            </a:r>
            <a:r>
              <a:rPr lang="de-DE" noProof="0" dirty="0"/>
              <a:t> </a:t>
            </a:r>
            <a:r>
              <a:rPr lang="de-DE" noProof="0" dirty="0" err="1"/>
              <a:t>xxxx</a:t>
            </a:r>
            <a:r>
              <a:rPr lang="de-DE" noProof="0" dirty="0"/>
              <a:t> </a:t>
            </a:r>
            <a:r>
              <a:rPr lang="de-DE" noProof="0" dirty="0" err="1"/>
              <a:t>xxxx</a:t>
            </a:r>
            <a:br>
              <a:rPr lang="de-DE" noProof="0" dirty="0"/>
            </a:br>
            <a:r>
              <a:rPr lang="de-DE" noProof="0" dirty="0"/>
              <a:t>firstname.surname@berenberg.de</a:t>
            </a:r>
          </a:p>
        </p:txBody>
      </p:sp>
      <p:sp>
        <p:nvSpPr>
          <p:cNvPr id="9" name="Textplatzhalter 8"/>
          <p:cNvSpPr>
            <a:spLocks noGrp="1"/>
          </p:cNvSpPr>
          <p:nvPr>
            <p:ph type="body" sz="quarter" idx="35"/>
          </p:nvPr>
        </p:nvSpPr>
        <p:spPr>
          <a:xfrm>
            <a:off x="250825" y="2997200"/>
            <a:ext cx="2665413" cy="3311525"/>
          </a:xfrm>
        </p:spPr>
        <p:txBody>
          <a:bodyPr/>
          <a:lstStyle>
            <a:lvl1pPr>
              <a:defRPr sz="1000"/>
            </a:lvl1pPr>
            <a:lvl2pPr marL="92075" indent="-92075">
              <a:defRPr sz="1000"/>
            </a:lvl2pPr>
            <a:lvl3pPr marL="176213" indent="-84138">
              <a:defRPr sz="1000"/>
            </a:lvl3pPr>
            <a:lvl4pPr marL="268288" indent="-92075">
              <a:defRPr sz="1000"/>
            </a:lvl4pPr>
            <a:lvl5pPr marL="360363" indent="-92075">
              <a:defRPr sz="1000"/>
            </a:lvl5pPr>
            <a:lvl6pPr marL="360363" indent="-92075">
              <a:defRPr sz="1000"/>
            </a:lvl6pPr>
            <a:lvl7pPr marL="360363" indent="-92075">
              <a:defRPr sz="1000"/>
            </a:lvl7pPr>
            <a:lvl8pPr marL="360363" indent="-92075">
              <a:defRPr sz="1000"/>
            </a:lvl8pPr>
            <a:lvl9pPr marL="360363" indent="-92075">
              <a:defRPr sz="1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58" name="Textplatzhalter 8"/>
          <p:cNvSpPr>
            <a:spLocks noGrp="1"/>
          </p:cNvSpPr>
          <p:nvPr>
            <p:ph type="body" sz="quarter" idx="36"/>
          </p:nvPr>
        </p:nvSpPr>
        <p:spPr>
          <a:xfrm>
            <a:off x="3203848" y="2997200"/>
            <a:ext cx="2736577" cy="3311525"/>
          </a:xfrm>
        </p:spPr>
        <p:txBody>
          <a:bodyPr/>
          <a:lstStyle>
            <a:lvl1pPr>
              <a:defRPr sz="1000"/>
            </a:lvl1pPr>
            <a:lvl2pPr marL="92075" indent="-92075">
              <a:defRPr sz="1000"/>
            </a:lvl2pPr>
            <a:lvl3pPr marL="176213" indent="-84138">
              <a:defRPr sz="1000"/>
            </a:lvl3pPr>
            <a:lvl4pPr marL="268288" indent="-92075">
              <a:defRPr sz="1000"/>
            </a:lvl4pPr>
            <a:lvl5pPr marL="360363" indent="-92075">
              <a:defRPr sz="1000"/>
            </a:lvl5pPr>
            <a:lvl6pPr marL="360363" indent="-92075">
              <a:defRPr sz="1000"/>
            </a:lvl6pPr>
            <a:lvl7pPr marL="360363" indent="-92075">
              <a:defRPr sz="1000"/>
            </a:lvl7pPr>
            <a:lvl8pPr marL="360363" indent="-92075">
              <a:defRPr sz="1000"/>
            </a:lvl8pPr>
            <a:lvl9pPr marL="360363" indent="-92075">
              <a:defRPr sz="1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59" name="Textplatzhalter 8"/>
          <p:cNvSpPr>
            <a:spLocks noGrp="1"/>
          </p:cNvSpPr>
          <p:nvPr>
            <p:ph type="body" sz="quarter" idx="37"/>
          </p:nvPr>
        </p:nvSpPr>
        <p:spPr>
          <a:xfrm>
            <a:off x="6227764" y="2997200"/>
            <a:ext cx="2665412" cy="3311525"/>
          </a:xfrm>
        </p:spPr>
        <p:txBody>
          <a:bodyPr/>
          <a:lstStyle>
            <a:lvl1pPr>
              <a:defRPr sz="1000"/>
            </a:lvl1pPr>
            <a:lvl2pPr marL="92075" indent="-92075">
              <a:defRPr sz="1000"/>
            </a:lvl2pPr>
            <a:lvl3pPr marL="176213" indent="-84138">
              <a:defRPr sz="1000"/>
            </a:lvl3pPr>
            <a:lvl4pPr marL="268288" indent="-92075">
              <a:defRPr sz="1000"/>
            </a:lvl4pPr>
            <a:lvl5pPr marL="360363" indent="-92075">
              <a:defRPr sz="1000"/>
            </a:lvl5pPr>
            <a:lvl6pPr marL="360363" indent="-92075">
              <a:defRPr sz="1000"/>
            </a:lvl6pPr>
            <a:lvl7pPr marL="360363" indent="-92075">
              <a:defRPr sz="1000"/>
            </a:lvl7pPr>
            <a:lvl8pPr marL="360363" indent="-92075">
              <a:defRPr sz="1000"/>
            </a:lvl8pPr>
            <a:lvl9pPr marL="360363" indent="-92075">
              <a:defRPr sz="1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Tree>
    <p:extLst>
      <p:ext uri="{BB962C8B-B14F-4D97-AF65-F5344CB8AC3E}">
        <p14:creationId xmlns:p14="http://schemas.microsoft.com/office/powerpoint/2010/main" val="4679534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 Ansprechpartner&#10;8 Contact person">
    <p:spTree>
      <p:nvGrpSpPr>
        <p:cNvPr id="1" name=""/>
        <p:cNvGrpSpPr/>
        <p:nvPr/>
      </p:nvGrpSpPr>
      <p:grpSpPr>
        <a:xfrm>
          <a:off x="0" y="0"/>
          <a:ext cx="0" cy="0"/>
          <a:chOff x="0" y="0"/>
          <a:chExt cx="0" cy="0"/>
        </a:xfrm>
      </p:grpSpPr>
      <p:sp>
        <p:nvSpPr>
          <p:cNvPr id="5" name="Datumsplatzhalter 4"/>
          <p:cNvSpPr>
            <a:spLocks noGrp="1"/>
          </p:cNvSpPr>
          <p:nvPr>
            <p:ph type="dt" sz="half" idx="26"/>
          </p:nvPr>
        </p:nvSpPr>
        <p:spPr/>
        <p:txBody>
          <a:bodyPr/>
          <a:lstStyle/>
          <a:p>
            <a:r>
              <a:rPr lang="de-DE" noProof="0"/>
              <a:t>TT.MM.JJJJ</a:t>
            </a:r>
            <a:endParaRPr lang="de-DE" noProof="0" dirty="0"/>
          </a:p>
        </p:txBody>
      </p:sp>
      <p:sp>
        <p:nvSpPr>
          <p:cNvPr id="6" name="Fußzeilenplatzhalter 5"/>
          <p:cNvSpPr>
            <a:spLocks noGrp="1"/>
          </p:cNvSpPr>
          <p:nvPr>
            <p:ph type="ftr" sz="quarter" idx="27"/>
          </p:nvPr>
        </p:nvSpPr>
        <p:spPr/>
        <p:txBody>
          <a:bodyPr/>
          <a:lstStyle/>
          <a:p>
            <a:r>
              <a:rPr lang="de-DE" noProof="0"/>
              <a:t>Titel der Präsentation (Fußzeile steuerbar über Einfügen / Kopf- und Fußzeile)</a:t>
            </a:r>
            <a:endParaRPr lang="de-DE" noProof="0" dirty="0"/>
          </a:p>
        </p:txBody>
      </p:sp>
      <p:sp>
        <p:nvSpPr>
          <p:cNvPr id="7" name="Foliennummernplatzhalter 6"/>
          <p:cNvSpPr>
            <a:spLocks noGrp="1"/>
          </p:cNvSpPr>
          <p:nvPr>
            <p:ph type="sldNum" sz="quarter" idx="28"/>
          </p:nvPr>
        </p:nvSpPr>
        <p:spPr/>
        <p:txBody>
          <a:bodyPr/>
          <a:lstStyle/>
          <a:p>
            <a:fld id="{D7FBF016-173F-4D13-AB5B-81861F2E6151}" type="slidenum">
              <a:rPr lang="de-DE" noProof="0" smtClean="0"/>
              <a:pPr/>
              <a:t>‹Nr.›</a:t>
            </a:fld>
            <a:endParaRPr lang="de-DE" noProof="0" dirty="0"/>
          </a:p>
        </p:txBody>
      </p:sp>
      <p:sp>
        <p:nvSpPr>
          <p:cNvPr id="3" name="Titel 2"/>
          <p:cNvSpPr>
            <a:spLocks noGrp="1"/>
          </p:cNvSpPr>
          <p:nvPr>
            <p:ph type="title"/>
          </p:nvPr>
        </p:nvSpPr>
        <p:spPr/>
        <p:txBody>
          <a:bodyPr/>
          <a:lstStyle/>
          <a:p>
            <a:r>
              <a:rPr lang="en-US"/>
              <a:t>Click to edit Master title style</a:t>
            </a:r>
            <a:endParaRPr lang="de-DE" dirty="0"/>
          </a:p>
        </p:txBody>
      </p:sp>
      <p:sp>
        <p:nvSpPr>
          <p:cNvPr id="21" name="Textplatzhalter 10"/>
          <p:cNvSpPr>
            <a:spLocks noGrp="1"/>
          </p:cNvSpPr>
          <p:nvPr>
            <p:ph type="body" sz="quarter" idx="15" hasCustomPrompt="1"/>
          </p:nvPr>
        </p:nvSpPr>
        <p:spPr bwMode="gray">
          <a:xfrm>
            <a:off x="1259843" y="1268413"/>
            <a:ext cx="3168141"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0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000">
                <a:solidFill>
                  <a:schemeClr val="tx1"/>
                </a:solidFill>
              </a:defRPr>
            </a:lvl4pPr>
            <a:lvl5pPr marL="0" indent="0">
              <a:lnSpc>
                <a:spcPct val="110000"/>
              </a:lnSpc>
              <a:spcBef>
                <a:spcPts val="0"/>
              </a:spcBef>
              <a:spcAft>
                <a:spcPts val="0"/>
              </a:spcAft>
              <a:buFontTx/>
              <a:buNone/>
              <a:defRPr sz="1000">
                <a:solidFill>
                  <a:schemeClr val="tx1"/>
                </a:solidFill>
              </a:defRPr>
            </a:lvl5pPr>
            <a:lvl6pPr marL="0" indent="0">
              <a:lnSpc>
                <a:spcPct val="110000"/>
              </a:lnSpc>
              <a:spcBef>
                <a:spcPts val="0"/>
              </a:spcBef>
              <a:spcAft>
                <a:spcPts val="0"/>
              </a:spcAft>
              <a:buFontTx/>
              <a:buNone/>
              <a:defRPr sz="1000">
                <a:solidFill>
                  <a:schemeClr val="tx1"/>
                </a:solidFill>
              </a:defRPr>
            </a:lvl6pPr>
            <a:lvl7pPr marL="0" indent="0">
              <a:lnSpc>
                <a:spcPct val="110000"/>
              </a:lnSpc>
              <a:spcBef>
                <a:spcPts val="0"/>
              </a:spcBef>
              <a:spcAft>
                <a:spcPts val="0"/>
              </a:spcAft>
              <a:buFontTx/>
              <a:buNone/>
              <a:defRPr sz="1000">
                <a:solidFill>
                  <a:schemeClr val="tx1"/>
                </a:solidFill>
              </a:defRPr>
            </a:lvl7pPr>
            <a:lvl8pPr marL="0" indent="0">
              <a:lnSpc>
                <a:spcPct val="110000"/>
              </a:lnSpc>
              <a:spcBef>
                <a:spcPts val="0"/>
              </a:spcBef>
              <a:spcAft>
                <a:spcPts val="0"/>
              </a:spcAft>
              <a:buFontTx/>
              <a:buNone/>
              <a:defRPr sz="1000">
                <a:solidFill>
                  <a:schemeClr val="tx1"/>
                </a:solidFill>
              </a:defRPr>
            </a:lvl8pPr>
            <a:lvl9pPr marL="0" indent="0">
              <a:lnSpc>
                <a:spcPct val="110000"/>
              </a:lnSpc>
              <a:spcBef>
                <a:spcPts val="0"/>
              </a:spcBef>
              <a:spcAft>
                <a:spcPts val="0"/>
              </a:spcAft>
              <a:buFontTx/>
              <a:buNone/>
              <a:defRPr sz="1000">
                <a:solidFill>
                  <a:schemeClr val="tx1"/>
                </a:solidFill>
              </a:defRPr>
            </a:lvl9pPr>
          </a:lstStyle>
          <a:p>
            <a:pPr lvl="0"/>
            <a:r>
              <a:rPr lang="de-DE" dirty="0"/>
              <a:t>Vorname Nachname</a:t>
            </a:r>
          </a:p>
          <a:p>
            <a:pPr lvl="2"/>
            <a:r>
              <a:rPr lang="de-DE" dirty="0"/>
              <a:t>Funktion</a:t>
            </a:r>
          </a:p>
        </p:txBody>
      </p:sp>
      <p:sp>
        <p:nvSpPr>
          <p:cNvPr id="24" name="Bildplatzhalter 11"/>
          <p:cNvSpPr>
            <a:spLocks noGrp="1"/>
          </p:cNvSpPr>
          <p:nvPr>
            <p:ph type="pic" sz="quarter" idx="16" hasCustomPrompt="1"/>
          </p:nvPr>
        </p:nvSpPr>
        <p:spPr bwMode="gray">
          <a:xfrm>
            <a:off x="250825" y="1268413"/>
            <a:ext cx="720775" cy="936451"/>
          </a:xfrm>
          <a:solidFill>
            <a:srgbClr val="EDECEB"/>
          </a:solidFill>
        </p:spPr>
        <p:txBody>
          <a:bodyPr anchor="ctr"/>
          <a:lstStyle>
            <a:lvl1pPr algn="ctr">
              <a:defRPr sz="1100"/>
            </a:lvl1pPr>
          </a:lstStyle>
          <a:p>
            <a:r>
              <a:rPr lang="de-DE" dirty="0"/>
              <a:t>Foto</a:t>
            </a:r>
          </a:p>
        </p:txBody>
      </p:sp>
      <p:sp>
        <p:nvSpPr>
          <p:cNvPr id="35" name="Textplatzhalter 10"/>
          <p:cNvSpPr>
            <a:spLocks noGrp="1"/>
          </p:cNvSpPr>
          <p:nvPr>
            <p:ph type="body" sz="quarter" idx="20" hasCustomPrompt="1"/>
          </p:nvPr>
        </p:nvSpPr>
        <p:spPr bwMode="gray">
          <a:xfrm>
            <a:off x="1258514" y="2454090"/>
            <a:ext cx="3169317"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38" name="Bildplatzhalter 11"/>
          <p:cNvSpPr>
            <a:spLocks noGrp="1"/>
          </p:cNvSpPr>
          <p:nvPr>
            <p:ph type="pic" sz="quarter" idx="29" hasCustomPrompt="1"/>
          </p:nvPr>
        </p:nvSpPr>
        <p:spPr bwMode="gray">
          <a:xfrm>
            <a:off x="250825" y="2452949"/>
            <a:ext cx="720080" cy="937592"/>
          </a:xfrm>
          <a:solidFill>
            <a:srgbClr val="EDECEB"/>
          </a:solidFill>
        </p:spPr>
        <p:txBody>
          <a:bodyPr anchor="ctr"/>
          <a:lstStyle>
            <a:lvl1pPr algn="ctr">
              <a:defRPr sz="1100"/>
            </a:lvl1pPr>
          </a:lstStyle>
          <a:p>
            <a:r>
              <a:rPr lang="de-DE" dirty="0"/>
              <a:t>Foto</a:t>
            </a:r>
          </a:p>
        </p:txBody>
      </p:sp>
      <p:sp>
        <p:nvSpPr>
          <p:cNvPr id="40" name="Textplatzhalter 10"/>
          <p:cNvSpPr>
            <a:spLocks noGrp="1"/>
          </p:cNvSpPr>
          <p:nvPr>
            <p:ph type="body" sz="quarter" idx="30" hasCustomPrompt="1"/>
          </p:nvPr>
        </p:nvSpPr>
        <p:spPr bwMode="gray">
          <a:xfrm>
            <a:off x="1258935" y="3645024"/>
            <a:ext cx="3168603"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41" name="Bildplatzhalter 11"/>
          <p:cNvSpPr>
            <a:spLocks noGrp="1"/>
          </p:cNvSpPr>
          <p:nvPr>
            <p:ph type="pic" sz="quarter" idx="31" hasCustomPrompt="1"/>
          </p:nvPr>
        </p:nvSpPr>
        <p:spPr bwMode="gray">
          <a:xfrm>
            <a:off x="250825" y="3645024"/>
            <a:ext cx="720501" cy="936451"/>
          </a:xfrm>
          <a:solidFill>
            <a:srgbClr val="EDECEB"/>
          </a:solidFill>
        </p:spPr>
        <p:txBody>
          <a:bodyPr anchor="ctr"/>
          <a:lstStyle>
            <a:lvl1pPr algn="ctr">
              <a:defRPr sz="1100"/>
            </a:lvl1pPr>
          </a:lstStyle>
          <a:p>
            <a:r>
              <a:rPr lang="de-DE" dirty="0"/>
              <a:t>Foto</a:t>
            </a:r>
          </a:p>
        </p:txBody>
      </p:sp>
      <p:sp>
        <p:nvSpPr>
          <p:cNvPr id="18" name="Rechteck 17">
            <a:extLst>
              <a:ext uri="{FF2B5EF4-FFF2-40B4-BE49-F238E27FC236}">
                <a16:creationId xmlns:a16="http://schemas.microsoft.com/office/drawing/2014/main" id="{744D0F47-F328-4207-9A2A-AA484C39360D}"/>
              </a:ext>
            </a:extLst>
          </p:cNvPr>
          <p:cNvSpPr/>
          <p:nvPr userDrawn="1"/>
        </p:nvSpPr>
        <p:spPr bwMode="gray">
          <a:xfrm>
            <a:off x="250825" y="22048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cxnSp>
        <p:nvCxnSpPr>
          <p:cNvPr id="29"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1259209"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1258515" y="2454377"/>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1258663" y="3645311"/>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4" name="Rechteck 53">
            <a:extLst>
              <a:ext uri="{FF2B5EF4-FFF2-40B4-BE49-F238E27FC236}">
                <a16:creationId xmlns:a16="http://schemas.microsoft.com/office/drawing/2014/main" id="{744D0F47-F328-4207-9A2A-AA484C39360D}"/>
              </a:ext>
            </a:extLst>
          </p:cNvPr>
          <p:cNvSpPr/>
          <p:nvPr userDrawn="1"/>
        </p:nvSpPr>
        <p:spPr bwMode="gray">
          <a:xfrm>
            <a:off x="250825" y="3390541"/>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55" name="Rechteck 54">
            <a:extLst>
              <a:ext uri="{FF2B5EF4-FFF2-40B4-BE49-F238E27FC236}">
                <a16:creationId xmlns:a16="http://schemas.microsoft.com/office/drawing/2014/main" id="{744D0F47-F328-4207-9A2A-AA484C39360D}"/>
              </a:ext>
            </a:extLst>
          </p:cNvPr>
          <p:cNvSpPr/>
          <p:nvPr userDrawn="1"/>
        </p:nvSpPr>
        <p:spPr bwMode="gray">
          <a:xfrm>
            <a:off x="250825" y="4581475"/>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30" name="Textplatzhalter 10"/>
          <p:cNvSpPr>
            <a:spLocks noGrp="1"/>
          </p:cNvSpPr>
          <p:nvPr>
            <p:ph type="body" sz="quarter" idx="32" hasCustomPrompt="1"/>
          </p:nvPr>
        </p:nvSpPr>
        <p:spPr bwMode="gray">
          <a:xfrm>
            <a:off x="1258935" y="4829213"/>
            <a:ext cx="3168603"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31" name="Bildplatzhalter 11"/>
          <p:cNvSpPr>
            <a:spLocks noGrp="1"/>
          </p:cNvSpPr>
          <p:nvPr>
            <p:ph type="pic" sz="quarter" idx="33" hasCustomPrompt="1"/>
          </p:nvPr>
        </p:nvSpPr>
        <p:spPr bwMode="gray">
          <a:xfrm>
            <a:off x="250825" y="4829213"/>
            <a:ext cx="720501" cy="936451"/>
          </a:xfrm>
          <a:solidFill>
            <a:srgbClr val="EDECEB"/>
          </a:solidFill>
        </p:spPr>
        <p:txBody>
          <a:bodyPr anchor="ctr"/>
          <a:lstStyle>
            <a:lvl1pPr algn="ctr">
              <a:defRPr sz="1100"/>
            </a:lvl1pPr>
          </a:lstStyle>
          <a:p>
            <a:r>
              <a:rPr lang="de-DE" dirty="0"/>
              <a:t>Foto</a:t>
            </a:r>
          </a:p>
        </p:txBody>
      </p:sp>
      <p:cxnSp>
        <p:nvCxnSpPr>
          <p:cNvPr id="33"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1258663" y="48295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744D0F47-F328-4207-9A2A-AA484C39360D}"/>
              </a:ext>
            </a:extLst>
          </p:cNvPr>
          <p:cNvSpPr/>
          <p:nvPr userDrawn="1"/>
        </p:nvSpPr>
        <p:spPr bwMode="gray">
          <a:xfrm>
            <a:off x="250825" y="57656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39" name="Textplatzhalter 10"/>
          <p:cNvSpPr>
            <a:spLocks noGrp="1"/>
          </p:cNvSpPr>
          <p:nvPr>
            <p:ph type="body" sz="quarter" idx="34" hasCustomPrompt="1"/>
          </p:nvPr>
        </p:nvSpPr>
        <p:spPr bwMode="gray">
          <a:xfrm>
            <a:off x="5724847" y="1268413"/>
            <a:ext cx="3168141"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42" name="Bildplatzhalter 11"/>
          <p:cNvSpPr>
            <a:spLocks noGrp="1"/>
          </p:cNvSpPr>
          <p:nvPr>
            <p:ph type="pic" sz="quarter" idx="35" hasCustomPrompt="1"/>
          </p:nvPr>
        </p:nvSpPr>
        <p:spPr bwMode="gray">
          <a:xfrm>
            <a:off x="4716463" y="1268413"/>
            <a:ext cx="720775" cy="936451"/>
          </a:xfrm>
          <a:solidFill>
            <a:srgbClr val="EDECEB"/>
          </a:solidFill>
        </p:spPr>
        <p:txBody>
          <a:bodyPr anchor="ctr"/>
          <a:lstStyle>
            <a:lvl1pPr algn="ctr">
              <a:defRPr sz="1100"/>
            </a:lvl1pPr>
          </a:lstStyle>
          <a:p>
            <a:r>
              <a:rPr lang="de-DE" dirty="0"/>
              <a:t>Foto</a:t>
            </a:r>
          </a:p>
        </p:txBody>
      </p:sp>
      <p:sp>
        <p:nvSpPr>
          <p:cNvPr id="44" name="Textplatzhalter 10"/>
          <p:cNvSpPr>
            <a:spLocks noGrp="1"/>
          </p:cNvSpPr>
          <p:nvPr>
            <p:ph type="body" sz="quarter" idx="36" hasCustomPrompt="1"/>
          </p:nvPr>
        </p:nvSpPr>
        <p:spPr bwMode="gray">
          <a:xfrm>
            <a:off x="5724152" y="2454090"/>
            <a:ext cx="3169317"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0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46" name="Bildplatzhalter 11"/>
          <p:cNvSpPr>
            <a:spLocks noGrp="1"/>
          </p:cNvSpPr>
          <p:nvPr>
            <p:ph type="pic" sz="quarter" idx="37" hasCustomPrompt="1"/>
          </p:nvPr>
        </p:nvSpPr>
        <p:spPr bwMode="gray">
          <a:xfrm>
            <a:off x="4716463" y="2452949"/>
            <a:ext cx="720080" cy="937592"/>
          </a:xfrm>
          <a:solidFill>
            <a:srgbClr val="EDECEB"/>
          </a:solidFill>
        </p:spPr>
        <p:txBody>
          <a:bodyPr anchor="ctr"/>
          <a:lstStyle>
            <a:lvl1pPr algn="ctr">
              <a:defRPr sz="1100"/>
            </a:lvl1pPr>
          </a:lstStyle>
          <a:p>
            <a:r>
              <a:rPr lang="de-DE" dirty="0"/>
              <a:t>Foto</a:t>
            </a:r>
          </a:p>
        </p:txBody>
      </p:sp>
      <p:sp>
        <p:nvSpPr>
          <p:cNvPr id="48" name="Textplatzhalter 10"/>
          <p:cNvSpPr>
            <a:spLocks noGrp="1"/>
          </p:cNvSpPr>
          <p:nvPr>
            <p:ph type="body" sz="quarter" idx="38" hasCustomPrompt="1"/>
          </p:nvPr>
        </p:nvSpPr>
        <p:spPr bwMode="gray">
          <a:xfrm>
            <a:off x="5724573" y="3645024"/>
            <a:ext cx="3168603"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p:txBody>
      </p:sp>
      <p:sp>
        <p:nvSpPr>
          <p:cNvPr id="50" name="Bildplatzhalter 11"/>
          <p:cNvSpPr>
            <a:spLocks noGrp="1"/>
          </p:cNvSpPr>
          <p:nvPr>
            <p:ph type="pic" sz="quarter" idx="39" hasCustomPrompt="1"/>
          </p:nvPr>
        </p:nvSpPr>
        <p:spPr bwMode="gray">
          <a:xfrm>
            <a:off x="4716463" y="3645024"/>
            <a:ext cx="720501" cy="936451"/>
          </a:xfrm>
          <a:solidFill>
            <a:srgbClr val="EDECEB"/>
          </a:solidFill>
        </p:spPr>
        <p:txBody>
          <a:bodyPr anchor="ctr"/>
          <a:lstStyle>
            <a:lvl1pPr algn="ctr">
              <a:defRPr sz="1100"/>
            </a:lvl1pPr>
          </a:lstStyle>
          <a:p>
            <a:r>
              <a:rPr lang="de-DE" dirty="0"/>
              <a:t>Foto</a:t>
            </a:r>
          </a:p>
        </p:txBody>
      </p:sp>
      <p:sp>
        <p:nvSpPr>
          <p:cNvPr id="51" name="Rechteck 50">
            <a:extLst>
              <a:ext uri="{FF2B5EF4-FFF2-40B4-BE49-F238E27FC236}">
                <a16:creationId xmlns:a16="http://schemas.microsoft.com/office/drawing/2014/main" id="{744D0F47-F328-4207-9A2A-AA484C39360D}"/>
              </a:ext>
            </a:extLst>
          </p:cNvPr>
          <p:cNvSpPr/>
          <p:nvPr userDrawn="1"/>
        </p:nvSpPr>
        <p:spPr bwMode="gray">
          <a:xfrm>
            <a:off x="4716463" y="22048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cxnSp>
        <p:nvCxnSpPr>
          <p:cNvPr id="52"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5724847"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5724153" y="2454377"/>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5724301" y="3645311"/>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61" name="Rechteck 60">
            <a:extLst>
              <a:ext uri="{FF2B5EF4-FFF2-40B4-BE49-F238E27FC236}">
                <a16:creationId xmlns:a16="http://schemas.microsoft.com/office/drawing/2014/main" id="{744D0F47-F328-4207-9A2A-AA484C39360D}"/>
              </a:ext>
            </a:extLst>
          </p:cNvPr>
          <p:cNvSpPr/>
          <p:nvPr userDrawn="1"/>
        </p:nvSpPr>
        <p:spPr bwMode="gray">
          <a:xfrm>
            <a:off x="4716463" y="3390541"/>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62" name="Rechteck 61">
            <a:extLst>
              <a:ext uri="{FF2B5EF4-FFF2-40B4-BE49-F238E27FC236}">
                <a16:creationId xmlns:a16="http://schemas.microsoft.com/office/drawing/2014/main" id="{744D0F47-F328-4207-9A2A-AA484C39360D}"/>
              </a:ext>
            </a:extLst>
          </p:cNvPr>
          <p:cNvSpPr/>
          <p:nvPr userDrawn="1"/>
        </p:nvSpPr>
        <p:spPr bwMode="gray">
          <a:xfrm>
            <a:off x="4716463" y="4581475"/>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63" name="Textplatzhalter 10"/>
          <p:cNvSpPr>
            <a:spLocks noGrp="1"/>
          </p:cNvSpPr>
          <p:nvPr>
            <p:ph type="body" sz="quarter" idx="40" hasCustomPrompt="1"/>
          </p:nvPr>
        </p:nvSpPr>
        <p:spPr bwMode="gray">
          <a:xfrm>
            <a:off x="5724573" y="4829213"/>
            <a:ext cx="3168603" cy="936451"/>
          </a:xfrm>
        </p:spPr>
        <p:txBody>
          <a:bodyPr tIns="108000"/>
          <a:lstStyle>
            <a:lvl1pPr>
              <a:spcBef>
                <a:spcPts val="0"/>
              </a:spcBef>
              <a:spcAft>
                <a:spcPts val="0"/>
              </a:spcAft>
              <a:defRPr sz="1200" b="1">
                <a:solidFill>
                  <a:schemeClr val="tx1"/>
                </a:solidFill>
              </a:defRPr>
            </a:lvl1pPr>
            <a:lvl2pPr marL="0" indent="0">
              <a:lnSpc>
                <a:spcPct val="110000"/>
              </a:lnSpc>
              <a:spcBef>
                <a:spcPts val="0"/>
              </a:spcBef>
              <a:spcAft>
                <a:spcPts val="0"/>
              </a:spcAft>
              <a:buFontTx/>
              <a:buNone/>
              <a:defRPr sz="1200" b="0">
                <a:solidFill>
                  <a:schemeClr val="tx1"/>
                </a:solidFill>
              </a:defRPr>
            </a:lvl2pPr>
            <a:lvl3pPr marL="0" marR="0" indent="0" algn="l" defTabSz="914400" rtl="0" eaLnBrk="1" fontAlgn="auto" latinLnBrk="0" hangingPunct="1">
              <a:lnSpc>
                <a:spcPct val="110000"/>
              </a:lnSpc>
              <a:spcBef>
                <a:spcPts val="0"/>
              </a:spcBef>
              <a:spcAft>
                <a:spcPts val="0"/>
              </a:spcAft>
              <a:buClrTx/>
              <a:buSzTx/>
              <a:buFontTx/>
              <a:buNone/>
              <a:tabLst>
                <a:tab pos="542925" algn="l"/>
              </a:tabLst>
              <a:defRPr sz="1200">
                <a:solidFill>
                  <a:schemeClr val="tx1"/>
                </a:solidFill>
              </a:defRPr>
            </a:lvl3pPr>
            <a:lvl4pPr marL="0" indent="0">
              <a:lnSpc>
                <a:spcPct val="110000"/>
              </a:lnSpc>
              <a:spcBef>
                <a:spcPts val="0"/>
              </a:spcBef>
              <a:spcAft>
                <a:spcPts val="0"/>
              </a:spcAft>
              <a:buFontTx/>
              <a:buNone/>
              <a:defRPr sz="1200">
                <a:solidFill>
                  <a:schemeClr val="tx1"/>
                </a:solidFill>
              </a:defRPr>
            </a:lvl4pPr>
            <a:lvl5pPr marL="0" indent="0">
              <a:lnSpc>
                <a:spcPct val="110000"/>
              </a:lnSpc>
              <a:spcBef>
                <a:spcPts val="0"/>
              </a:spcBef>
              <a:spcAft>
                <a:spcPts val="0"/>
              </a:spcAft>
              <a:buFontTx/>
              <a:buNone/>
              <a:defRPr sz="1200">
                <a:solidFill>
                  <a:schemeClr val="tx1"/>
                </a:solidFill>
              </a:defRPr>
            </a:lvl5pPr>
            <a:lvl6pPr marL="0" indent="0">
              <a:lnSpc>
                <a:spcPct val="110000"/>
              </a:lnSpc>
              <a:spcBef>
                <a:spcPts val="0"/>
              </a:spcBef>
              <a:spcAft>
                <a:spcPts val="0"/>
              </a:spcAft>
              <a:buFontTx/>
              <a:buNone/>
              <a:defRPr sz="1200">
                <a:solidFill>
                  <a:schemeClr val="tx1"/>
                </a:solidFill>
              </a:defRPr>
            </a:lvl6pPr>
            <a:lvl7pPr marL="0" indent="0">
              <a:lnSpc>
                <a:spcPct val="110000"/>
              </a:lnSpc>
              <a:spcBef>
                <a:spcPts val="0"/>
              </a:spcBef>
              <a:spcAft>
                <a:spcPts val="0"/>
              </a:spcAft>
              <a:buFontTx/>
              <a:buNone/>
              <a:defRPr sz="1200">
                <a:solidFill>
                  <a:schemeClr val="tx1"/>
                </a:solidFill>
              </a:defRPr>
            </a:lvl7pPr>
            <a:lvl8pPr marL="0" indent="0">
              <a:lnSpc>
                <a:spcPct val="110000"/>
              </a:lnSpc>
              <a:spcBef>
                <a:spcPts val="0"/>
              </a:spcBef>
              <a:spcAft>
                <a:spcPts val="0"/>
              </a:spcAft>
              <a:buFontTx/>
              <a:buNone/>
              <a:defRPr sz="1200">
                <a:solidFill>
                  <a:schemeClr val="tx1"/>
                </a:solidFill>
              </a:defRPr>
            </a:lvl8pPr>
            <a:lvl9pPr marL="0" indent="0">
              <a:lnSpc>
                <a:spcPct val="110000"/>
              </a:lnSpc>
              <a:spcBef>
                <a:spcPts val="0"/>
              </a:spcBef>
              <a:spcAft>
                <a:spcPts val="0"/>
              </a:spcAft>
              <a:buFontTx/>
              <a:buNone/>
              <a:defRPr sz="1200">
                <a:solidFill>
                  <a:schemeClr val="tx1"/>
                </a:solidFill>
              </a:defRPr>
            </a:lvl9pPr>
          </a:lstStyle>
          <a:p>
            <a:pPr lvl="0"/>
            <a:r>
              <a:rPr lang="de-DE" dirty="0"/>
              <a:t>Vorname Nachname</a:t>
            </a:r>
          </a:p>
          <a:p>
            <a:pPr lvl="2"/>
            <a:r>
              <a:rPr lang="de-DE" dirty="0"/>
              <a:t>Funktion</a:t>
            </a:r>
          </a:p>
        </p:txBody>
      </p:sp>
      <p:sp>
        <p:nvSpPr>
          <p:cNvPr id="64" name="Bildplatzhalter 11"/>
          <p:cNvSpPr>
            <a:spLocks noGrp="1"/>
          </p:cNvSpPr>
          <p:nvPr>
            <p:ph type="pic" sz="quarter" idx="41" hasCustomPrompt="1"/>
          </p:nvPr>
        </p:nvSpPr>
        <p:spPr bwMode="gray">
          <a:xfrm>
            <a:off x="4716463" y="4829213"/>
            <a:ext cx="720501" cy="936451"/>
          </a:xfrm>
          <a:solidFill>
            <a:srgbClr val="EDECEB"/>
          </a:solidFill>
        </p:spPr>
        <p:txBody>
          <a:bodyPr anchor="ctr"/>
          <a:lstStyle>
            <a:lvl1pPr algn="ctr">
              <a:defRPr sz="1100"/>
            </a:lvl1pPr>
          </a:lstStyle>
          <a:p>
            <a:r>
              <a:rPr lang="de-DE" dirty="0"/>
              <a:t>Foto</a:t>
            </a:r>
          </a:p>
        </p:txBody>
      </p:sp>
      <p:cxnSp>
        <p:nvCxnSpPr>
          <p:cNvPr id="65" name="Gerader Verbinder 44">
            <a:extLst>
              <a:ext uri="{FF2B5EF4-FFF2-40B4-BE49-F238E27FC236}">
                <a16:creationId xmlns:a16="http://schemas.microsoft.com/office/drawing/2014/main" id="{176C6F7F-A1E7-4403-8F99-C8600A1BB456}"/>
              </a:ext>
            </a:extLst>
          </p:cNvPr>
          <p:cNvCxnSpPr>
            <a:cxnSpLocks/>
          </p:cNvCxnSpPr>
          <p:nvPr userDrawn="1"/>
        </p:nvCxnSpPr>
        <p:spPr bwMode="gray">
          <a:xfrm>
            <a:off x="5724301" y="48295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744D0F47-F328-4207-9A2A-AA484C39360D}"/>
              </a:ext>
            </a:extLst>
          </p:cNvPr>
          <p:cNvSpPr/>
          <p:nvPr userDrawn="1"/>
        </p:nvSpPr>
        <p:spPr bwMode="gray">
          <a:xfrm>
            <a:off x="4716463" y="5765664"/>
            <a:ext cx="720000" cy="39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Tree>
    <p:extLst>
      <p:ext uri="{BB962C8B-B14F-4D97-AF65-F5344CB8AC3E}">
        <p14:creationId xmlns:p14="http://schemas.microsoft.com/office/powerpoint/2010/main" val="28155988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3 Bilder | 2&#10;3 Pictures | 2">
    <p:spTree>
      <p:nvGrpSpPr>
        <p:cNvPr id="1" name=""/>
        <p:cNvGrpSpPr/>
        <p:nvPr/>
      </p:nvGrpSpPr>
      <p:grpSpPr>
        <a:xfrm>
          <a:off x="0" y="0"/>
          <a:ext cx="0" cy="0"/>
          <a:chOff x="0" y="0"/>
          <a:chExt cx="0" cy="0"/>
        </a:xfrm>
      </p:grpSpPr>
      <p:sp>
        <p:nvSpPr>
          <p:cNvPr id="24" name="Bildplatzhalter 5"/>
          <p:cNvSpPr>
            <a:spLocks noGrp="1"/>
          </p:cNvSpPr>
          <p:nvPr>
            <p:ph type="pic" sz="quarter" idx="15" hasCustomPrompt="1"/>
          </p:nvPr>
        </p:nvSpPr>
        <p:spPr>
          <a:xfrm>
            <a:off x="251520" y="4580047"/>
            <a:ext cx="1944216" cy="1322335"/>
          </a:xfrm>
        </p:spPr>
        <p:txBody>
          <a:bodyPr/>
          <a:lstStyle>
            <a:lvl1pPr>
              <a:defRPr/>
            </a:lvl1pPr>
          </a:lstStyle>
          <a:p>
            <a:endParaRPr dirty="0"/>
          </a:p>
        </p:txBody>
      </p:sp>
      <p:sp>
        <p:nvSpPr>
          <p:cNvPr id="6" name="Bildplatzhalter 5"/>
          <p:cNvSpPr>
            <a:spLocks noGrp="1"/>
          </p:cNvSpPr>
          <p:nvPr>
            <p:ph type="pic" sz="quarter" idx="14" hasCustomPrompt="1"/>
          </p:nvPr>
        </p:nvSpPr>
        <p:spPr>
          <a:xfrm>
            <a:off x="250825" y="2923864"/>
            <a:ext cx="1944911" cy="1322334"/>
          </a:xfrm>
        </p:spPr>
        <p:txBody>
          <a:bodyPr/>
          <a:lstStyle>
            <a:lvl1pPr>
              <a:defRPr/>
            </a:lvl1pPr>
          </a:lstStyle>
          <a:p>
            <a:endParaRPr/>
          </a:p>
        </p:txBody>
      </p:sp>
      <p:sp>
        <p:nvSpPr>
          <p:cNvPr id="2" name="Titel 1"/>
          <p:cNvSpPr>
            <a:spLocks noGrp="1"/>
          </p:cNvSpPr>
          <p:nvPr>
            <p:ph type="title"/>
          </p:nvPr>
        </p:nvSpPr>
        <p:spPr bwMode="gray"/>
        <p:txBody>
          <a:bodyPr/>
          <a:lstStyle/>
          <a:p>
            <a:r>
              <a:rPr lang="en-US"/>
              <a:t>Click to edit Master title style</a:t>
            </a:r>
            <a:endParaRPr lang="de-DE" dirty="0"/>
          </a:p>
        </p:txBody>
      </p:sp>
      <p:sp>
        <p:nvSpPr>
          <p:cNvPr id="8" name="Datumsplatzhalter 7"/>
          <p:cNvSpPr>
            <a:spLocks noGrp="1"/>
          </p:cNvSpPr>
          <p:nvPr>
            <p:ph type="dt" sz="half" idx="10"/>
          </p:nvPr>
        </p:nvSpPr>
        <p:spPr/>
        <p:txBody>
          <a:bodyPr/>
          <a:lstStyle/>
          <a:p>
            <a:r>
              <a:rPr lang="de-DE" noProof="0" dirty="0"/>
              <a:t>05.12.2018</a:t>
            </a:r>
          </a:p>
        </p:txBody>
      </p:sp>
      <p:sp>
        <p:nvSpPr>
          <p:cNvPr id="9" name="Fußzeilenplatzhalter 8"/>
          <p:cNvSpPr>
            <a:spLocks noGrp="1"/>
          </p:cNvSpPr>
          <p:nvPr>
            <p:ph type="ftr" sz="quarter" idx="11"/>
          </p:nvPr>
        </p:nvSpPr>
        <p:spPr/>
        <p:txBody>
          <a:bodyPr/>
          <a:lstStyle/>
          <a:p>
            <a:r>
              <a:rPr lang="de-DE" noProof="0" dirty="0"/>
              <a:t>Titel der Präsentation</a:t>
            </a:r>
          </a:p>
        </p:txBody>
      </p:sp>
      <p:sp>
        <p:nvSpPr>
          <p:cNvPr id="10" name="Foliennummernplatzhalter 9"/>
          <p:cNvSpPr>
            <a:spLocks noGrp="1"/>
          </p:cNvSpPr>
          <p:nvPr>
            <p:ph type="sldNum" sz="quarter" idx="12"/>
          </p:nvPr>
        </p:nvSpPr>
        <p:spPr/>
        <p:txBody>
          <a:bodyPr/>
          <a:lstStyle/>
          <a:p>
            <a:fld id="{D7FBF016-173F-4D13-AB5B-81861F2E6151}" type="slidenum">
              <a:rPr lang="de-DE" noProof="0" smtClean="0"/>
              <a:pPr/>
              <a:t>‹Nr.›</a:t>
            </a:fld>
            <a:endParaRPr lang="de-DE" noProof="0" dirty="0"/>
          </a:p>
        </p:txBody>
      </p:sp>
      <p:sp>
        <p:nvSpPr>
          <p:cNvPr id="7" name="Textplatzhalter 6"/>
          <p:cNvSpPr>
            <a:spLocks noGrp="1"/>
          </p:cNvSpPr>
          <p:nvPr>
            <p:ph type="body" sz="quarter" idx="17"/>
          </p:nvPr>
        </p:nvSpPr>
        <p:spPr>
          <a:xfrm>
            <a:off x="2484438" y="2923361"/>
            <a:ext cx="6408737" cy="1367885"/>
          </a:xfrm>
        </p:spPr>
        <p:txBody>
          <a:bodyPr t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0" name="Textplatzhalter 6"/>
          <p:cNvSpPr>
            <a:spLocks noGrp="1"/>
          </p:cNvSpPr>
          <p:nvPr>
            <p:ph type="body" sz="quarter" idx="18"/>
          </p:nvPr>
        </p:nvSpPr>
        <p:spPr>
          <a:xfrm>
            <a:off x="2484438" y="4580140"/>
            <a:ext cx="6408737" cy="1367885"/>
          </a:xfrm>
        </p:spPr>
        <p:txBody>
          <a:bodyPr t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8" name="Rechteck 17"/>
          <p:cNvSpPr/>
          <p:nvPr userDrawn="1">
            <p:custDataLst>
              <p:tags r:id="rId1"/>
            </p:custDataLst>
          </p:nvPr>
        </p:nvSpPr>
        <p:spPr bwMode="gray">
          <a:xfrm>
            <a:off x="250825" y="4246296"/>
            <a:ext cx="1944000"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19" name="Rechteck 18"/>
          <p:cNvSpPr/>
          <p:nvPr userDrawn="1"/>
        </p:nvSpPr>
        <p:spPr bwMode="gray">
          <a:xfrm>
            <a:off x="251521" y="5902480"/>
            <a:ext cx="1944215" cy="4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cxnSp>
        <p:nvCxnSpPr>
          <p:cNvPr id="15" name="Gerader Verbinder 15">
            <a:extLst>
              <a:ext uri="{FF2B5EF4-FFF2-40B4-BE49-F238E27FC236}">
                <a16:creationId xmlns:a16="http://schemas.microsoft.com/office/drawing/2014/main" id="{06312137-4525-4F0E-AB36-CA82FC373C74}"/>
              </a:ext>
            </a:extLst>
          </p:cNvPr>
          <p:cNvCxnSpPr/>
          <p:nvPr userDrawn="1"/>
        </p:nvCxnSpPr>
        <p:spPr bwMode="gray">
          <a:xfrm>
            <a:off x="2483768" y="2923916"/>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06312137-4525-4F0E-AB36-CA82FC373C74}"/>
              </a:ext>
            </a:extLst>
          </p:cNvPr>
          <p:cNvCxnSpPr/>
          <p:nvPr userDrawn="1">
            <p:custDataLst>
              <p:tags r:id="rId2"/>
            </p:custDataLst>
          </p:nvPr>
        </p:nvCxnSpPr>
        <p:spPr bwMode="gray">
          <a:xfrm>
            <a:off x="2483768" y="45801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Bildplatzhalter 5"/>
          <p:cNvSpPr>
            <a:spLocks noGrp="1"/>
          </p:cNvSpPr>
          <p:nvPr>
            <p:ph type="pic" sz="quarter" idx="19" hasCustomPrompt="1"/>
          </p:nvPr>
        </p:nvSpPr>
        <p:spPr>
          <a:xfrm>
            <a:off x="251520" y="1269263"/>
            <a:ext cx="1944911" cy="1322334"/>
          </a:xfrm>
        </p:spPr>
        <p:txBody>
          <a:bodyPr/>
          <a:lstStyle>
            <a:lvl1pPr>
              <a:defRPr/>
            </a:lvl1pPr>
          </a:lstStyle>
          <a:p>
            <a:endParaRPr/>
          </a:p>
        </p:txBody>
      </p:sp>
      <p:sp>
        <p:nvSpPr>
          <p:cNvPr id="17" name="Textplatzhalter 6"/>
          <p:cNvSpPr>
            <a:spLocks noGrp="1"/>
          </p:cNvSpPr>
          <p:nvPr>
            <p:ph type="body" sz="quarter" idx="20"/>
          </p:nvPr>
        </p:nvSpPr>
        <p:spPr>
          <a:xfrm>
            <a:off x="2485133" y="1268760"/>
            <a:ext cx="6408737" cy="1367885"/>
          </a:xfrm>
        </p:spPr>
        <p:txBody>
          <a:bodyPr t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0" name="Rechteck 19"/>
          <p:cNvSpPr/>
          <p:nvPr userDrawn="1">
            <p:custDataLst>
              <p:tags r:id="rId3"/>
            </p:custDataLst>
          </p:nvPr>
        </p:nvSpPr>
        <p:spPr bwMode="gray">
          <a:xfrm>
            <a:off x="251520" y="2591695"/>
            <a:ext cx="1944000"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cxnSp>
        <p:nvCxnSpPr>
          <p:cNvPr id="21" name="Gerader Verbinder 15">
            <a:extLst>
              <a:ext uri="{FF2B5EF4-FFF2-40B4-BE49-F238E27FC236}">
                <a16:creationId xmlns:a16="http://schemas.microsoft.com/office/drawing/2014/main" id="{06312137-4525-4F0E-AB36-CA82FC373C74}"/>
              </a:ext>
            </a:extLst>
          </p:cNvPr>
          <p:cNvCxnSpPr/>
          <p:nvPr userDrawn="1"/>
        </p:nvCxnSpPr>
        <p:spPr bwMode="gray">
          <a:xfrm>
            <a:off x="2484463" y="1269315"/>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6912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Datumsplatzhalter 2"/>
          <p:cNvSpPr>
            <a:spLocks noGrp="1"/>
          </p:cNvSpPr>
          <p:nvPr>
            <p:ph type="dt" sz="half" idx="10"/>
          </p:nvPr>
        </p:nvSpPr>
        <p:spPr/>
        <p:txBody>
          <a:bodyPr/>
          <a:lstStyle/>
          <a:p>
            <a:r>
              <a:rPr lang="de-DE" noProof="0"/>
              <a:t>05.12.2018</a:t>
            </a:r>
            <a:endParaRPr lang="de-DE" noProof="0" dirty="0"/>
          </a:p>
        </p:txBody>
      </p:sp>
      <p:sp>
        <p:nvSpPr>
          <p:cNvPr id="4" name="Fußzeilenplatzhalter 3"/>
          <p:cNvSpPr>
            <a:spLocks noGrp="1"/>
          </p:cNvSpPr>
          <p:nvPr>
            <p:ph type="ftr" sz="quarter" idx="11"/>
          </p:nvPr>
        </p:nvSpPr>
        <p:spPr/>
        <p:txBody>
          <a:bodyPr/>
          <a:lstStyle/>
          <a:p>
            <a:r>
              <a:rPr lang="de-DE" noProof="0"/>
              <a:t>Titel der Präsentation</a:t>
            </a:r>
            <a:endParaRPr lang="de-DE" noProof="0" dirty="0"/>
          </a:p>
        </p:txBody>
      </p:sp>
      <p:sp>
        <p:nvSpPr>
          <p:cNvPr id="5" name="Foliennummernplatzhalter 4"/>
          <p:cNvSpPr>
            <a:spLocks noGrp="1"/>
          </p:cNvSpPr>
          <p:nvPr>
            <p:ph type="sldNum" sz="quarter" idx="12"/>
          </p:nvPr>
        </p:nvSpPr>
        <p:spPr/>
        <p:txBody>
          <a:bodyPr/>
          <a:lstStyle/>
          <a:p>
            <a:fld id="{D7FBF016-173F-4D13-AB5B-81861F2E6151}" type="slidenum">
              <a:rPr lang="de-DE" noProof="0" smtClean="0"/>
              <a:pPr/>
              <a:t>‹Nr.›</a:t>
            </a:fld>
            <a:endParaRPr lang="de-DE" noProof="0" dirty="0"/>
          </a:p>
        </p:txBody>
      </p:sp>
    </p:spTree>
    <p:extLst>
      <p:ext uri="{BB962C8B-B14F-4D97-AF65-F5344CB8AC3E}">
        <p14:creationId xmlns:p14="http://schemas.microsoft.com/office/powerpoint/2010/main" val="1488643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amp; schmale Infobox">
    <p:spTree>
      <p:nvGrpSpPr>
        <p:cNvPr id="1" name=""/>
        <p:cNvGrpSpPr/>
        <p:nvPr/>
      </p:nvGrpSpPr>
      <p:grpSpPr>
        <a:xfrm>
          <a:off x="0" y="0"/>
          <a:ext cx="0" cy="0"/>
          <a:chOff x="0" y="0"/>
          <a:chExt cx="0" cy="0"/>
        </a:xfrm>
      </p:grpSpPr>
      <p:sp>
        <p:nvSpPr>
          <p:cNvPr id="17" name="Textplatzhalter 2">
            <a:extLst>
              <a:ext uri="{FF2B5EF4-FFF2-40B4-BE49-F238E27FC236}">
                <a16:creationId xmlns:a16="http://schemas.microsoft.com/office/drawing/2014/main" id="{0F06B6BB-5279-472B-AD3E-3A9BEA1C2310}"/>
              </a:ext>
            </a:extLst>
          </p:cNvPr>
          <p:cNvSpPr txBox="1">
            <a:spLocks/>
          </p:cNvSpPr>
          <p:nvPr userDrawn="1"/>
        </p:nvSpPr>
        <p:spPr bwMode="gray">
          <a:xfrm>
            <a:off x="6948488" y="1268413"/>
            <a:ext cx="1943992" cy="5040312"/>
          </a:xfrm>
          <a:prstGeom prst="rect">
            <a:avLst/>
          </a:prstGeom>
          <a:solidFill>
            <a:srgbClr val="EDECEB"/>
          </a:solidFill>
        </p:spPr>
        <p:txBody>
          <a:bodyPr lIns="72000" tIns="108000" rIns="72000" bIns="72000"/>
          <a:lstStyle>
            <a:defPPr>
              <a:defRPr lang="de-DE"/>
            </a:defPPr>
            <a:lvl1pPr indent="0" defTabSz="914400" fontAlgn="base">
              <a:lnSpc>
                <a:spcPct val="110000"/>
              </a:lnSpc>
              <a:spcBef>
                <a:spcPts val="300"/>
              </a:spcBef>
              <a:spcAft>
                <a:spcPts val="300"/>
              </a:spcAft>
              <a:buFont typeface="Arial" pitchFamily="34" charset="0"/>
              <a:buNone/>
              <a:defRPr sz="1200"/>
            </a:lvl1pPr>
            <a:lvl2pPr marL="108000" indent="-108000" defTabSz="914400" fontAlgn="base">
              <a:lnSpc>
                <a:spcPct val="110000"/>
              </a:lnSpc>
              <a:spcBef>
                <a:spcPts val="300"/>
              </a:spcBef>
              <a:spcAft>
                <a:spcPts val="300"/>
              </a:spcAft>
              <a:buClr>
                <a:schemeClr val="tx2"/>
              </a:buClr>
              <a:buFont typeface="Arial" pitchFamily="34" charset="0"/>
              <a:buChar char="•"/>
              <a:defRPr sz="1200"/>
            </a:lvl2pPr>
            <a:lvl3pPr marL="216000" indent="-108000" defTabSz="914400" fontAlgn="base">
              <a:lnSpc>
                <a:spcPct val="110000"/>
              </a:lnSpc>
              <a:spcBef>
                <a:spcPts val="300"/>
              </a:spcBef>
              <a:spcAft>
                <a:spcPts val="300"/>
              </a:spcAft>
              <a:buClr>
                <a:schemeClr val="tx2"/>
              </a:buClr>
              <a:buFont typeface="Arial" pitchFamily="34" charset="0"/>
              <a:buChar char="•"/>
              <a:defRPr sz="1200"/>
            </a:lvl3pPr>
            <a:lvl4pPr marL="324000" indent="-108000" defTabSz="914400" fontAlgn="base">
              <a:lnSpc>
                <a:spcPct val="110000"/>
              </a:lnSpc>
              <a:spcBef>
                <a:spcPts val="300"/>
              </a:spcBef>
              <a:spcAft>
                <a:spcPts val="300"/>
              </a:spcAft>
              <a:buClr>
                <a:schemeClr val="tx2"/>
              </a:buClr>
              <a:buFont typeface="Arial" pitchFamily="34" charset="0"/>
              <a:buChar char="•"/>
              <a:defRPr sz="1200"/>
            </a:lvl4pPr>
            <a:lvl5pPr marL="432000" indent="-108000" defTabSz="914400" fontAlgn="base">
              <a:lnSpc>
                <a:spcPct val="110000"/>
              </a:lnSpc>
              <a:spcBef>
                <a:spcPts val="300"/>
              </a:spcBef>
              <a:spcAft>
                <a:spcPts val="300"/>
              </a:spcAft>
              <a:buClr>
                <a:schemeClr val="tx2"/>
              </a:buClr>
              <a:buFont typeface="Arial" pitchFamily="34" charset="0"/>
              <a:buChar char="•"/>
              <a:defRPr sz="1200"/>
            </a:lvl5pPr>
            <a:lvl6pPr marL="432000" indent="-108000" defTabSz="914400">
              <a:lnSpc>
                <a:spcPct val="110000"/>
              </a:lnSpc>
              <a:spcBef>
                <a:spcPts val="300"/>
              </a:spcBef>
              <a:spcAft>
                <a:spcPts val="300"/>
              </a:spcAft>
              <a:buClr>
                <a:schemeClr val="tx2"/>
              </a:buClr>
              <a:buFont typeface="Arial" pitchFamily="34" charset="0"/>
              <a:buChar char="•"/>
              <a:defRPr sz="1200"/>
            </a:lvl6pPr>
            <a:lvl7pPr marL="432000" indent="-108000" defTabSz="914400">
              <a:lnSpc>
                <a:spcPct val="110000"/>
              </a:lnSpc>
              <a:spcBef>
                <a:spcPts val="300"/>
              </a:spcBef>
              <a:spcAft>
                <a:spcPts val="300"/>
              </a:spcAft>
              <a:buClr>
                <a:schemeClr val="tx2"/>
              </a:buClr>
              <a:buFont typeface="Arial" pitchFamily="34" charset="0"/>
              <a:buChar char="•"/>
              <a:defRPr sz="1200"/>
            </a:lvl7pPr>
            <a:lvl8pPr marL="432000" indent="-108000" defTabSz="914400">
              <a:lnSpc>
                <a:spcPct val="110000"/>
              </a:lnSpc>
              <a:spcBef>
                <a:spcPts val="300"/>
              </a:spcBef>
              <a:spcAft>
                <a:spcPts val="300"/>
              </a:spcAft>
              <a:buClr>
                <a:schemeClr val="tx2"/>
              </a:buClr>
              <a:buFont typeface="Arial" pitchFamily="34" charset="0"/>
              <a:buChar char="•"/>
              <a:defRPr sz="1200"/>
            </a:lvl8pPr>
            <a:lvl9pPr marL="432000" indent="-108000" defTabSz="914400">
              <a:lnSpc>
                <a:spcPct val="110000"/>
              </a:lnSpc>
              <a:spcBef>
                <a:spcPts val="300"/>
              </a:spcBef>
              <a:spcAft>
                <a:spcPts val="300"/>
              </a:spcAft>
              <a:buClr>
                <a:schemeClr val="tx2"/>
              </a:buClr>
              <a:buFont typeface="Arial" pitchFamily="34" charset="0"/>
              <a:buChar char="•"/>
              <a:defRPr sz="1200"/>
            </a:lvl9pPr>
          </a:lstStyle>
          <a:p>
            <a:pPr lvl="0"/>
            <a:endParaRPr lang="de-DE" dirty="0"/>
          </a:p>
        </p:txBody>
      </p:sp>
      <p:sp>
        <p:nvSpPr>
          <p:cNvPr id="2" name="Title 1"/>
          <p:cNvSpPr>
            <a:spLocks noGrp="1"/>
          </p:cNvSpPr>
          <p:nvPr>
            <p:ph type="title" hasCustomPrompt="1"/>
          </p:nvPr>
        </p:nvSpPr>
        <p:spPr/>
        <p:txBody>
          <a:bodyPr/>
          <a:lstStyle>
            <a:lvl1pPr>
              <a:defRPr/>
            </a:lvl1pPr>
          </a:lstStyle>
          <a:p>
            <a:r>
              <a:rPr lang="de-DE" noProof="0" dirty="0"/>
              <a:t>Titelmasterformat durch </a:t>
            </a:r>
            <a:br>
              <a:rPr lang="de-DE" noProof="0" dirty="0"/>
            </a:br>
            <a:r>
              <a:rPr lang="de-DE" noProof="0" dirty="0"/>
              <a:t>Klicken bearbeiten</a:t>
            </a:r>
            <a:endParaRPr lang="de-DE" dirty="0"/>
          </a:p>
        </p:txBody>
      </p:sp>
      <p:sp>
        <p:nvSpPr>
          <p:cNvPr id="3" name="Content Placeholder 2"/>
          <p:cNvSpPr>
            <a:spLocks noGrp="1"/>
          </p:cNvSpPr>
          <p:nvPr>
            <p:ph sz="half" idx="1" hasCustomPrompt="1"/>
          </p:nvPr>
        </p:nvSpPr>
        <p:spPr>
          <a:xfrm>
            <a:off x="250825" y="1268413"/>
            <a:ext cx="6516688" cy="5040313"/>
          </a:xfrm>
        </p:spPr>
        <p:txBody>
          <a:bodyPr vert="horz" lIns="0" tIns="0" rIns="0" bIns="0" rtlCol="0" anchor="t" anchorCtr="0">
            <a:noAutofit/>
          </a:bodyPr>
          <a:lstStyle>
            <a:lvl1pPr>
              <a:defRPr lang="en-US" b="0" dirty="0" smtClean="0"/>
            </a:lvl1pPr>
            <a:lvl2pPr>
              <a:defRPr lang="en-US" dirty="0" smtClean="0"/>
            </a:lvl2pPr>
            <a:lvl3pPr>
              <a:defRPr lang="en-US" dirty="0" smtClean="0"/>
            </a:lvl3pPr>
            <a:lvl4pPr>
              <a:defRPr lang="en-US" dirty="0" smtClean="0"/>
            </a:lvl4pPr>
            <a:lvl5pPr>
              <a:defRPr lang="en-US" dirty="0"/>
            </a:lvl5pPr>
            <a:lvl8pPr>
              <a:defRPr/>
            </a:lvl8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16" name="Textplatzhalter 4">
            <a:extLst>
              <a:ext uri="{FF2B5EF4-FFF2-40B4-BE49-F238E27FC236}">
                <a16:creationId xmlns:a16="http://schemas.microsoft.com/office/drawing/2014/main" id="{951A8FD6-06C3-4963-8467-35347ADFEB13}"/>
              </a:ext>
            </a:extLst>
          </p:cNvPr>
          <p:cNvSpPr>
            <a:spLocks noGrp="1"/>
          </p:cNvSpPr>
          <p:nvPr>
            <p:ph type="body" sz="quarter" idx="13" hasCustomPrompt="1"/>
          </p:nvPr>
        </p:nvSpPr>
        <p:spPr>
          <a:xfrm>
            <a:off x="6948488" y="1268700"/>
            <a:ext cx="1944112" cy="5040312"/>
          </a:xfrm>
        </p:spPr>
        <p:txBody>
          <a:bodyPr lIns="144000" tIns="144000" rIns="144000" bIns="144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13" name="Rechteck 11">
            <a:extLst>
              <a:ext uri="{FF2B5EF4-FFF2-40B4-BE49-F238E27FC236}">
                <a16:creationId xmlns:a16="http://schemas.microsoft.com/office/drawing/2014/main" id="{10F24173-0A2A-4C5C-A4A4-B26F220EABFB}"/>
              </a:ext>
            </a:extLst>
          </p:cNvPr>
          <p:cNvSpPr/>
          <p:nvPr userDrawn="1"/>
        </p:nvSpPr>
        <p:spPr bwMode="gray">
          <a:xfrm>
            <a:off x="6948488" y="1268700"/>
            <a:ext cx="1943992" cy="36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5" name="Date Placeholder 4">
            <a:extLst>
              <a:ext uri="{FF2B5EF4-FFF2-40B4-BE49-F238E27FC236}">
                <a16:creationId xmlns:a16="http://schemas.microsoft.com/office/drawing/2014/main" id="{8E799188-F539-4F02-A0F2-F64E3CC4BA91}"/>
              </a:ext>
            </a:extLst>
          </p:cNvPr>
          <p:cNvSpPr>
            <a:spLocks noGrp="1"/>
          </p:cNvSpPr>
          <p:nvPr>
            <p:ph type="dt" sz="half" idx="14"/>
          </p:nvPr>
        </p:nvSpPr>
        <p:spPr/>
        <p:txBody>
          <a:bodyPr/>
          <a:lstStyle/>
          <a:p>
            <a:r>
              <a:rPr lang="en-US"/>
              <a:t> |  | </a:t>
            </a:r>
            <a:endParaRPr lang="de-DE" dirty="0"/>
          </a:p>
        </p:txBody>
      </p:sp>
      <p:sp>
        <p:nvSpPr>
          <p:cNvPr id="6" name="Footer Placeholder 5">
            <a:extLst>
              <a:ext uri="{FF2B5EF4-FFF2-40B4-BE49-F238E27FC236}">
                <a16:creationId xmlns:a16="http://schemas.microsoft.com/office/drawing/2014/main" id="{1E0C23B6-5B90-4E92-9ACC-1651827C3B0C}"/>
              </a:ext>
            </a:extLst>
          </p:cNvPr>
          <p:cNvSpPr>
            <a:spLocks noGrp="1"/>
          </p:cNvSpPr>
          <p:nvPr>
            <p:ph type="ftr" sz="quarter" idx="15"/>
          </p:nvPr>
        </p:nvSpPr>
        <p:spPr/>
        <p:txBody>
          <a:bodyPr/>
          <a:lstStyle/>
          <a:p>
            <a:endParaRPr lang="de-DE" dirty="0"/>
          </a:p>
        </p:txBody>
      </p:sp>
      <p:sp>
        <p:nvSpPr>
          <p:cNvPr id="7" name="Slide Number Placeholder 6">
            <a:extLst>
              <a:ext uri="{FF2B5EF4-FFF2-40B4-BE49-F238E27FC236}">
                <a16:creationId xmlns:a16="http://schemas.microsoft.com/office/drawing/2014/main" id="{310DC37A-E222-4479-962E-A4ED331E42F2}"/>
              </a:ext>
            </a:extLst>
          </p:cNvPr>
          <p:cNvSpPr>
            <a:spLocks noGrp="1"/>
          </p:cNvSpPr>
          <p:nvPr>
            <p:ph type="sldNum" sz="quarter" idx="16"/>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784136910"/>
      </p:ext>
    </p:extLst>
  </p:cSld>
  <p:clrMapOvr>
    <a:masterClrMapping/>
  </p:clrMapOvr>
  <p:extLst>
    <p:ext uri="{DCECCB84-F9BA-43D5-87BE-67443E8EF086}">
      <p15:sldGuideLst xmlns:p15="http://schemas.microsoft.com/office/powerpoint/2012/main">
        <p15:guide id="1" pos="4263" userDrawn="1">
          <p15:clr>
            <a:srgbClr val="FBAE40"/>
          </p15:clr>
        </p15:guide>
        <p15:guide id="2" pos="437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fik &amp; schmale Infobox">
    <p:spTree>
      <p:nvGrpSpPr>
        <p:cNvPr id="1" name=""/>
        <p:cNvGrpSpPr/>
        <p:nvPr/>
      </p:nvGrpSpPr>
      <p:grpSpPr>
        <a:xfrm>
          <a:off x="0" y="0"/>
          <a:ext cx="0" cy="0"/>
          <a:chOff x="0" y="0"/>
          <a:chExt cx="0" cy="0"/>
        </a:xfrm>
      </p:grpSpPr>
      <p:sp>
        <p:nvSpPr>
          <p:cNvPr id="17" name="Textplatzhalter 2">
            <a:extLst>
              <a:ext uri="{FF2B5EF4-FFF2-40B4-BE49-F238E27FC236}">
                <a16:creationId xmlns:a16="http://schemas.microsoft.com/office/drawing/2014/main" id="{0F06B6BB-5279-472B-AD3E-3A9BEA1C2310}"/>
              </a:ext>
            </a:extLst>
          </p:cNvPr>
          <p:cNvSpPr txBox="1">
            <a:spLocks/>
          </p:cNvSpPr>
          <p:nvPr userDrawn="1"/>
        </p:nvSpPr>
        <p:spPr bwMode="gray">
          <a:xfrm>
            <a:off x="6948488" y="1268413"/>
            <a:ext cx="1943992" cy="5040312"/>
          </a:xfrm>
          <a:prstGeom prst="rect">
            <a:avLst/>
          </a:prstGeom>
          <a:solidFill>
            <a:srgbClr val="EDECEB"/>
          </a:solidFill>
        </p:spPr>
        <p:txBody>
          <a:bodyPr lIns="72000" tIns="108000" rIns="72000" bIns="72000"/>
          <a:lstStyle>
            <a:defPPr>
              <a:defRPr lang="de-DE"/>
            </a:defPPr>
            <a:lvl1pPr indent="0" defTabSz="914400" fontAlgn="base">
              <a:lnSpc>
                <a:spcPct val="110000"/>
              </a:lnSpc>
              <a:spcBef>
                <a:spcPts val="300"/>
              </a:spcBef>
              <a:spcAft>
                <a:spcPts val="300"/>
              </a:spcAft>
              <a:buFont typeface="Arial" pitchFamily="34" charset="0"/>
              <a:buNone/>
              <a:defRPr sz="1200"/>
            </a:lvl1pPr>
            <a:lvl2pPr marL="108000" indent="-108000" defTabSz="914400" fontAlgn="base">
              <a:lnSpc>
                <a:spcPct val="110000"/>
              </a:lnSpc>
              <a:spcBef>
                <a:spcPts val="300"/>
              </a:spcBef>
              <a:spcAft>
                <a:spcPts val="300"/>
              </a:spcAft>
              <a:buClr>
                <a:schemeClr val="tx2"/>
              </a:buClr>
              <a:buFont typeface="Arial" pitchFamily="34" charset="0"/>
              <a:buChar char="•"/>
              <a:defRPr sz="1200"/>
            </a:lvl2pPr>
            <a:lvl3pPr marL="216000" indent="-108000" defTabSz="914400" fontAlgn="base">
              <a:lnSpc>
                <a:spcPct val="110000"/>
              </a:lnSpc>
              <a:spcBef>
                <a:spcPts val="300"/>
              </a:spcBef>
              <a:spcAft>
                <a:spcPts val="300"/>
              </a:spcAft>
              <a:buClr>
                <a:schemeClr val="tx2"/>
              </a:buClr>
              <a:buFont typeface="Arial" pitchFamily="34" charset="0"/>
              <a:buChar char="•"/>
              <a:defRPr sz="1200"/>
            </a:lvl3pPr>
            <a:lvl4pPr marL="324000" indent="-108000" defTabSz="914400" fontAlgn="base">
              <a:lnSpc>
                <a:spcPct val="110000"/>
              </a:lnSpc>
              <a:spcBef>
                <a:spcPts val="300"/>
              </a:spcBef>
              <a:spcAft>
                <a:spcPts val="300"/>
              </a:spcAft>
              <a:buClr>
                <a:schemeClr val="tx2"/>
              </a:buClr>
              <a:buFont typeface="Arial" pitchFamily="34" charset="0"/>
              <a:buChar char="•"/>
              <a:defRPr sz="1200"/>
            </a:lvl4pPr>
            <a:lvl5pPr marL="432000" indent="-108000" defTabSz="914400" fontAlgn="base">
              <a:lnSpc>
                <a:spcPct val="110000"/>
              </a:lnSpc>
              <a:spcBef>
                <a:spcPts val="300"/>
              </a:spcBef>
              <a:spcAft>
                <a:spcPts val="300"/>
              </a:spcAft>
              <a:buClr>
                <a:schemeClr val="tx2"/>
              </a:buClr>
              <a:buFont typeface="Arial" pitchFamily="34" charset="0"/>
              <a:buChar char="•"/>
              <a:defRPr sz="1200"/>
            </a:lvl5pPr>
            <a:lvl6pPr marL="432000" indent="-108000" defTabSz="914400">
              <a:lnSpc>
                <a:spcPct val="110000"/>
              </a:lnSpc>
              <a:spcBef>
                <a:spcPts val="300"/>
              </a:spcBef>
              <a:spcAft>
                <a:spcPts val="300"/>
              </a:spcAft>
              <a:buClr>
                <a:schemeClr val="tx2"/>
              </a:buClr>
              <a:buFont typeface="Arial" pitchFamily="34" charset="0"/>
              <a:buChar char="•"/>
              <a:defRPr sz="1200"/>
            </a:lvl6pPr>
            <a:lvl7pPr marL="432000" indent="-108000" defTabSz="914400">
              <a:lnSpc>
                <a:spcPct val="110000"/>
              </a:lnSpc>
              <a:spcBef>
                <a:spcPts val="300"/>
              </a:spcBef>
              <a:spcAft>
                <a:spcPts val="300"/>
              </a:spcAft>
              <a:buClr>
                <a:schemeClr val="tx2"/>
              </a:buClr>
              <a:buFont typeface="Arial" pitchFamily="34" charset="0"/>
              <a:buChar char="•"/>
              <a:defRPr sz="1200"/>
            </a:lvl7pPr>
            <a:lvl8pPr marL="432000" indent="-108000" defTabSz="914400">
              <a:lnSpc>
                <a:spcPct val="110000"/>
              </a:lnSpc>
              <a:spcBef>
                <a:spcPts val="300"/>
              </a:spcBef>
              <a:spcAft>
                <a:spcPts val="300"/>
              </a:spcAft>
              <a:buClr>
                <a:schemeClr val="tx2"/>
              </a:buClr>
              <a:buFont typeface="Arial" pitchFamily="34" charset="0"/>
              <a:buChar char="•"/>
              <a:defRPr sz="1200"/>
            </a:lvl8pPr>
            <a:lvl9pPr marL="432000" indent="-108000" defTabSz="914400">
              <a:lnSpc>
                <a:spcPct val="110000"/>
              </a:lnSpc>
              <a:spcBef>
                <a:spcPts val="300"/>
              </a:spcBef>
              <a:spcAft>
                <a:spcPts val="300"/>
              </a:spcAft>
              <a:buClr>
                <a:schemeClr val="tx2"/>
              </a:buClr>
              <a:buFont typeface="Arial" pitchFamily="34" charset="0"/>
              <a:buChar char="•"/>
              <a:defRPr sz="1200"/>
            </a:lvl9pPr>
          </a:lstStyle>
          <a:p>
            <a:pPr lvl="0"/>
            <a:endParaRPr lang="de-DE" dirty="0"/>
          </a:p>
        </p:txBody>
      </p:sp>
      <p:sp>
        <p:nvSpPr>
          <p:cNvPr id="2" name="Title 1"/>
          <p:cNvSpPr>
            <a:spLocks noGrp="1"/>
          </p:cNvSpPr>
          <p:nvPr>
            <p:ph type="title" hasCustomPrompt="1"/>
          </p:nvPr>
        </p:nvSpPr>
        <p:spPr/>
        <p:txBody>
          <a:bodyPr/>
          <a:lstStyle>
            <a:lvl1pPr>
              <a:defRPr/>
            </a:lvl1pPr>
          </a:lstStyle>
          <a:p>
            <a:r>
              <a:rPr lang="de-DE" noProof="0" dirty="0"/>
              <a:t>Titelmasterformat durch </a:t>
            </a:r>
            <a:br>
              <a:rPr lang="de-DE" noProof="0" dirty="0"/>
            </a:br>
            <a:r>
              <a:rPr lang="de-DE" noProof="0" dirty="0"/>
              <a:t>Klicken bearbeiten</a:t>
            </a:r>
            <a:endParaRPr lang="de-DE" dirty="0"/>
          </a:p>
        </p:txBody>
      </p:sp>
      <p:sp>
        <p:nvSpPr>
          <p:cNvPr id="16" name="Textplatzhalter 4">
            <a:extLst>
              <a:ext uri="{FF2B5EF4-FFF2-40B4-BE49-F238E27FC236}">
                <a16:creationId xmlns:a16="http://schemas.microsoft.com/office/drawing/2014/main" id="{951A8FD6-06C3-4963-8467-35347ADFEB13}"/>
              </a:ext>
            </a:extLst>
          </p:cNvPr>
          <p:cNvSpPr>
            <a:spLocks noGrp="1"/>
          </p:cNvSpPr>
          <p:nvPr>
            <p:ph type="body" sz="quarter" idx="13" hasCustomPrompt="1"/>
          </p:nvPr>
        </p:nvSpPr>
        <p:spPr>
          <a:xfrm>
            <a:off x="6948488" y="1268700"/>
            <a:ext cx="1944112" cy="5040312"/>
          </a:xfrm>
        </p:spPr>
        <p:txBody>
          <a:bodyPr lIns="144000" tIns="144000" rIns="144000" bIns="144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13" name="Rechteck 11">
            <a:extLst>
              <a:ext uri="{FF2B5EF4-FFF2-40B4-BE49-F238E27FC236}">
                <a16:creationId xmlns:a16="http://schemas.microsoft.com/office/drawing/2014/main" id="{10F24173-0A2A-4C5C-A4A4-B26F220EABFB}"/>
              </a:ext>
            </a:extLst>
          </p:cNvPr>
          <p:cNvSpPr/>
          <p:nvPr userDrawn="1"/>
        </p:nvSpPr>
        <p:spPr bwMode="gray">
          <a:xfrm>
            <a:off x="6948488" y="1268700"/>
            <a:ext cx="1943992" cy="36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5" name="Date Placeholder 4">
            <a:extLst>
              <a:ext uri="{FF2B5EF4-FFF2-40B4-BE49-F238E27FC236}">
                <a16:creationId xmlns:a16="http://schemas.microsoft.com/office/drawing/2014/main" id="{FF78955D-5B84-44C8-84BD-399232D751A9}"/>
              </a:ext>
            </a:extLst>
          </p:cNvPr>
          <p:cNvSpPr>
            <a:spLocks noGrp="1"/>
          </p:cNvSpPr>
          <p:nvPr>
            <p:ph type="dt" sz="half" idx="14"/>
          </p:nvPr>
        </p:nvSpPr>
        <p:spPr/>
        <p:txBody>
          <a:bodyPr/>
          <a:lstStyle/>
          <a:p>
            <a:r>
              <a:rPr lang="en-US"/>
              <a:t> |  | </a:t>
            </a:r>
            <a:endParaRPr lang="de-DE" dirty="0"/>
          </a:p>
        </p:txBody>
      </p:sp>
      <p:sp>
        <p:nvSpPr>
          <p:cNvPr id="6" name="Footer Placeholder 5">
            <a:extLst>
              <a:ext uri="{FF2B5EF4-FFF2-40B4-BE49-F238E27FC236}">
                <a16:creationId xmlns:a16="http://schemas.microsoft.com/office/drawing/2014/main" id="{6E69EDB0-42A4-493C-AAE2-6106A8B2DD10}"/>
              </a:ext>
            </a:extLst>
          </p:cNvPr>
          <p:cNvSpPr>
            <a:spLocks noGrp="1"/>
          </p:cNvSpPr>
          <p:nvPr>
            <p:ph type="ftr" sz="quarter" idx="15"/>
          </p:nvPr>
        </p:nvSpPr>
        <p:spPr/>
        <p:txBody>
          <a:bodyPr/>
          <a:lstStyle/>
          <a:p>
            <a:endParaRPr lang="de-DE" dirty="0"/>
          </a:p>
        </p:txBody>
      </p:sp>
      <p:sp>
        <p:nvSpPr>
          <p:cNvPr id="7" name="Slide Number Placeholder 6">
            <a:extLst>
              <a:ext uri="{FF2B5EF4-FFF2-40B4-BE49-F238E27FC236}">
                <a16:creationId xmlns:a16="http://schemas.microsoft.com/office/drawing/2014/main" id="{5534244A-780C-4F00-A64B-1AF9546DB3DA}"/>
              </a:ext>
            </a:extLst>
          </p:cNvPr>
          <p:cNvSpPr>
            <a:spLocks noGrp="1"/>
          </p:cNvSpPr>
          <p:nvPr>
            <p:ph type="sldNum" sz="quarter" idx="16"/>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17773867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63A6E-68E8-4C9B-A96B-807805C700A2}"/>
              </a:ext>
            </a:extLst>
          </p:cNvPr>
          <p:cNvSpPr>
            <a:spLocks noGrp="1"/>
          </p:cNvSpPr>
          <p:nvPr>
            <p:ph type="title" hasCustomPrompt="1"/>
          </p:nvPr>
        </p:nvSpPr>
        <p:spPr/>
        <p:txBody>
          <a:bodyPr/>
          <a:lstStyle/>
          <a:p>
            <a:r>
              <a:rPr lang="de-DE" noProof="0" dirty="0"/>
              <a:t>Titelmasterformat durch </a:t>
            </a:r>
            <a:br>
              <a:rPr lang="de-DE" noProof="0" dirty="0"/>
            </a:br>
            <a:r>
              <a:rPr lang="de-DE" noProof="0" dirty="0"/>
              <a:t>Klicken bearbeiten</a:t>
            </a:r>
            <a:endParaRPr lang="de-DE" dirty="0"/>
          </a:p>
        </p:txBody>
      </p:sp>
      <p:sp>
        <p:nvSpPr>
          <p:cNvPr id="6" name="Inhaltsplatzhalter 2">
            <a:extLst>
              <a:ext uri="{FF2B5EF4-FFF2-40B4-BE49-F238E27FC236}">
                <a16:creationId xmlns:a16="http://schemas.microsoft.com/office/drawing/2014/main" id="{84BA3844-D249-45D3-A552-3FC61F370570}"/>
              </a:ext>
            </a:extLst>
          </p:cNvPr>
          <p:cNvSpPr>
            <a:spLocks noGrp="1"/>
          </p:cNvSpPr>
          <p:nvPr>
            <p:ph sz="half" idx="1" hasCustomPrompt="1"/>
          </p:nvPr>
        </p:nvSpPr>
        <p:spPr bwMode="gray">
          <a:xfrm>
            <a:off x="250824" y="1268413"/>
            <a:ext cx="4176713" cy="504031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7" name="Inhaltsplatzhalter 3">
            <a:extLst>
              <a:ext uri="{FF2B5EF4-FFF2-40B4-BE49-F238E27FC236}">
                <a16:creationId xmlns:a16="http://schemas.microsoft.com/office/drawing/2014/main" id="{6BF6BE99-F104-4C36-890E-EF2F4510FAF2}"/>
              </a:ext>
            </a:extLst>
          </p:cNvPr>
          <p:cNvSpPr>
            <a:spLocks noGrp="1"/>
          </p:cNvSpPr>
          <p:nvPr>
            <p:ph sz="half" idx="2" hasCustomPrompt="1"/>
          </p:nvPr>
        </p:nvSpPr>
        <p:spPr bwMode="gray">
          <a:xfrm>
            <a:off x="4716463" y="1268413"/>
            <a:ext cx="4176711" cy="504031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3" name="Date Placeholder 2">
            <a:extLst>
              <a:ext uri="{FF2B5EF4-FFF2-40B4-BE49-F238E27FC236}">
                <a16:creationId xmlns:a16="http://schemas.microsoft.com/office/drawing/2014/main" id="{3419F4D2-E51C-4321-A952-5092C615CCFE}"/>
              </a:ext>
            </a:extLst>
          </p:cNvPr>
          <p:cNvSpPr>
            <a:spLocks noGrp="1"/>
          </p:cNvSpPr>
          <p:nvPr>
            <p:ph type="dt" sz="half" idx="10"/>
          </p:nvPr>
        </p:nvSpPr>
        <p:spPr/>
        <p:txBody>
          <a:bodyPr/>
          <a:lstStyle/>
          <a:p>
            <a:r>
              <a:rPr lang="en-US"/>
              <a:t> |  | </a:t>
            </a:r>
            <a:endParaRPr lang="de-DE" dirty="0"/>
          </a:p>
        </p:txBody>
      </p:sp>
      <p:sp>
        <p:nvSpPr>
          <p:cNvPr id="4" name="Footer Placeholder 3">
            <a:extLst>
              <a:ext uri="{FF2B5EF4-FFF2-40B4-BE49-F238E27FC236}">
                <a16:creationId xmlns:a16="http://schemas.microsoft.com/office/drawing/2014/main" id="{C8323224-2FD1-469B-B31A-5167FF08778A}"/>
              </a:ext>
            </a:extLst>
          </p:cNvPr>
          <p:cNvSpPr>
            <a:spLocks noGrp="1"/>
          </p:cNvSpPr>
          <p:nvPr>
            <p:ph type="ftr" sz="quarter" idx="11"/>
          </p:nvPr>
        </p:nvSpPr>
        <p:spPr/>
        <p:txBody>
          <a:bodyPr/>
          <a:lstStyle/>
          <a:p>
            <a:endParaRPr lang="de-DE" dirty="0"/>
          </a:p>
        </p:txBody>
      </p:sp>
      <p:sp>
        <p:nvSpPr>
          <p:cNvPr id="5" name="Slide Number Placeholder 4">
            <a:extLst>
              <a:ext uri="{FF2B5EF4-FFF2-40B4-BE49-F238E27FC236}">
                <a16:creationId xmlns:a16="http://schemas.microsoft.com/office/drawing/2014/main" id="{793D656C-B600-4153-B33F-D543D1666037}"/>
              </a:ext>
            </a:extLst>
          </p:cNvPr>
          <p:cNvSpPr>
            <a:spLocks noGrp="1"/>
          </p:cNvSpPr>
          <p:nvPr>
            <p:ph type="sldNum" sz="quarter" idx="12"/>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22666303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Bilder |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Titelmasterformat durch </a:t>
            </a:r>
            <a:br>
              <a:rPr lang="de-DE" noProof="0" dirty="0"/>
            </a:br>
            <a:r>
              <a:rPr lang="de-DE" noProof="0" dirty="0"/>
              <a:t>Klicken bearbeiten</a:t>
            </a:r>
            <a:endParaRPr lang="de-DE" dirty="0"/>
          </a:p>
        </p:txBody>
      </p:sp>
      <p:sp>
        <p:nvSpPr>
          <p:cNvPr id="6" name="Bildplatzhalter 5">
            <a:extLst>
              <a:ext uri="{FF2B5EF4-FFF2-40B4-BE49-F238E27FC236}">
                <a16:creationId xmlns:a16="http://schemas.microsoft.com/office/drawing/2014/main" id="{BDD62FCB-FA44-4CB6-826E-65BF3AC823E6}"/>
              </a:ext>
            </a:extLst>
          </p:cNvPr>
          <p:cNvSpPr>
            <a:spLocks noGrp="1"/>
          </p:cNvSpPr>
          <p:nvPr>
            <p:ph type="pic" sz="quarter" idx="16" hasCustomPrompt="1"/>
          </p:nvPr>
        </p:nvSpPr>
        <p:spPr>
          <a:xfrm>
            <a:off x="6228184" y="1269378"/>
            <a:ext cx="2664296" cy="1655762"/>
          </a:xfrm>
        </p:spPr>
        <p:txBody>
          <a:bodyPr/>
          <a:lstStyle>
            <a:lvl1pPr>
              <a:defRPr/>
            </a:lvl1pPr>
          </a:lstStyle>
          <a:p>
            <a:r>
              <a:rPr lang="de-DE" dirty="0"/>
              <a:t>   </a:t>
            </a:r>
          </a:p>
        </p:txBody>
      </p:sp>
      <p:sp>
        <p:nvSpPr>
          <p:cNvPr id="7" name="Bildplatzhalter 5">
            <a:extLst>
              <a:ext uri="{FF2B5EF4-FFF2-40B4-BE49-F238E27FC236}">
                <a16:creationId xmlns:a16="http://schemas.microsoft.com/office/drawing/2014/main" id="{D186EF0A-AD13-4B3B-9CAF-B52DDE61D5D9}"/>
              </a:ext>
            </a:extLst>
          </p:cNvPr>
          <p:cNvSpPr>
            <a:spLocks noGrp="1"/>
          </p:cNvSpPr>
          <p:nvPr>
            <p:ph type="pic" sz="quarter" idx="15" hasCustomPrompt="1"/>
          </p:nvPr>
        </p:nvSpPr>
        <p:spPr>
          <a:xfrm>
            <a:off x="3203848" y="1269378"/>
            <a:ext cx="2736304" cy="1655762"/>
          </a:xfrm>
        </p:spPr>
        <p:txBody>
          <a:bodyPr/>
          <a:lstStyle>
            <a:lvl1pPr>
              <a:defRPr/>
            </a:lvl1pPr>
          </a:lstStyle>
          <a:p>
            <a:r>
              <a:rPr lang="de-DE" dirty="0"/>
              <a:t>  </a:t>
            </a:r>
          </a:p>
        </p:txBody>
      </p:sp>
      <p:sp>
        <p:nvSpPr>
          <p:cNvPr id="8" name="Bildplatzhalter 5">
            <a:extLst>
              <a:ext uri="{FF2B5EF4-FFF2-40B4-BE49-F238E27FC236}">
                <a16:creationId xmlns:a16="http://schemas.microsoft.com/office/drawing/2014/main" id="{B4BE70E2-5004-490E-9395-43C11265B9E4}"/>
              </a:ext>
            </a:extLst>
          </p:cNvPr>
          <p:cNvSpPr>
            <a:spLocks noGrp="1"/>
          </p:cNvSpPr>
          <p:nvPr>
            <p:ph type="pic" sz="quarter" idx="14" hasCustomPrompt="1"/>
          </p:nvPr>
        </p:nvSpPr>
        <p:spPr>
          <a:xfrm>
            <a:off x="250825" y="1269378"/>
            <a:ext cx="2665413" cy="1655762"/>
          </a:xfrm>
        </p:spPr>
        <p:txBody>
          <a:bodyPr/>
          <a:lstStyle>
            <a:lvl1pPr>
              <a:defRPr/>
            </a:lvl1pPr>
          </a:lstStyle>
          <a:p>
            <a:r>
              <a:rPr lang="de-DE" dirty="0"/>
              <a:t>  </a:t>
            </a:r>
          </a:p>
        </p:txBody>
      </p:sp>
      <p:sp>
        <p:nvSpPr>
          <p:cNvPr id="9" name="Rechteck 16">
            <a:extLst>
              <a:ext uri="{FF2B5EF4-FFF2-40B4-BE49-F238E27FC236}">
                <a16:creationId xmlns:a16="http://schemas.microsoft.com/office/drawing/2014/main" id="{DE826B69-8788-4A91-BE31-E479937B1E9A}"/>
              </a:ext>
            </a:extLst>
          </p:cNvPr>
          <p:cNvSpPr/>
          <p:nvPr userDrawn="1"/>
        </p:nvSpPr>
        <p:spPr bwMode="gray">
          <a:xfrm>
            <a:off x="250825" y="2925016"/>
            <a:ext cx="2665413"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10" name="Rechteck 17">
            <a:extLst>
              <a:ext uri="{FF2B5EF4-FFF2-40B4-BE49-F238E27FC236}">
                <a16:creationId xmlns:a16="http://schemas.microsoft.com/office/drawing/2014/main" id="{A85A4771-FF22-40B2-B25D-D067F696BA69}"/>
              </a:ext>
            </a:extLst>
          </p:cNvPr>
          <p:cNvSpPr/>
          <p:nvPr userDrawn="1"/>
        </p:nvSpPr>
        <p:spPr bwMode="gray">
          <a:xfrm>
            <a:off x="3203848" y="2925016"/>
            <a:ext cx="2736304" cy="4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11" name="Rechteck 18">
            <a:extLst>
              <a:ext uri="{FF2B5EF4-FFF2-40B4-BE49-F238E27FC236}">
                <a16:creationId xmlns:a16="http://schemas.microsoft.com/office/drawing/2014/main" id="{2C987782-607B-483B-8114-7FDFD87AE341}"/>
              </a:ext>
            </a:extLst>
          </p:cNvPr>
          <p:cNvSpPr/>
          <p:nvPr userDrawn="1"/>
        </p:nvSpPr>
        <p:spPr bwMode="gray">
          <a:xfrm>
            <a:off x="6228184" y="2925016"/>
            <a:ext cx="2664296" cy="4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12" name="Textplatzhalter 6">
            <a:extLst>
              <a:ext uri="{FF2B5EF4-FFF2-40B4-BE49-F238E27FC236}">
                <a16:creationId xmlns:a16="http://schemas.microsoft.com/office/drawing/2014/main" id="{B03B396B-5AA5-4143-9704-B042C02EBB77}"/>
              </a:ext>
            </a:extLst>
          </p:cNvPr>
          <p:cNvSpPr>
            <a:spLocks noGrp="1"/>
          </p:cNvSpPr>
          <p:nvPr>
            <p:ph type="body" sz="quarter" idx="17" hasCustomPrompt="1"/>
          </p:nvPr>
        </p:nvSpPr>
        <p:spPr>
          <a:xfrm>
            <a:off x="251521" y="3141040"/>
            <a:ext cx="2664296" cy="3167684"/>
          </a:xfrm>
        </p:spPr>
        <p:txBody>
          <a:bodyPr/>
          <a:lstStyle>
            <a:lvl1pPr>
              <a:defRPr/>
            </a:lvl1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3" name="Textplatzhalter 6">
            <a:extLst>
              <a:ext uri="{FF2B5EF4-FFF2-40B4-BE49-F238E27FC236}">
                <a16:creationId xmlns:a16="http://schemas.microsoft.com/office/drawing/2014/main" id="{007076FA-6498-47CE-973B-D92B6B2BBD48}"/>
              </a:ext>
            </a:extLst>
          </p:cNvPr>
          <p:cNvSpPr>
            <a:spLocks noGrp="1"/>
          </p:cNvSpPr>
          <p:nvPr>
            <p:ph type="body" sz="quarter" idx="18" hasCustomPrompt="1"/>
          </p:nvPr>
        </p:nvSpPr>
        <p:spPr>
          <a:xfrm>
            <a:off x="3203849" y="3141039"/>
            <a:ext cx="2736304" cy="3167685"/>
          </a:xfrm>
        </p:spPr>
        <p:txBody>
          <a:bodyPr/>
          <a:lstStyle>
            <a:lvl1pPr>
              <a:defRPr/>
            </a:lvl1pPr>
            <a:lvl5pPr marL="720000" indent="-180000">
              <a:buFont typeface="Symbol" panose="05050102010706020507" pitchFamily="18" charset="2"/>
              <a:buChar char="-"/>
              <a:defRPr/>
            </a:lvl5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4" name="Textplatzhalter 6">
            <a:extLst>
              <a:ext uri="{FF2B5EF4-FFF2-40B4-BE49-F238E27FC236}">
                <a16:creationId xmlns:a16="http://schemas.microsoft.com/office/drawing/2014/main" id="{9E43E835-BF5E-4B84-A2AD-EE932D984E98}"/>
              </a:ext>
            </a:extLst>
          </p:cNvPr>
          <p:cNvSpPr>
            <a:spLocks noGrp="1"/>
          </p:cNvSpPr>
          <p:nvPr>
            <p:ph type="body" sz="quarter" idx="19" hasCustomPrompt="1"/>
          </p:nvPr>
        </p:nvSpPr>
        <p:spPr>
          <a:xfrm>
            <a:off x="6228184" y="3141039"/>
            <a:ext cx="2664991" cy="3167685"/>
          </a:xfrm>
        </p:spPr>
        <p:txBody>
          <a:bodyPr/>
          <a:lstStyle>
            <a:lvl1pPr>
              <a:defRPr/>
            </a:lvl1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 name="Date Placeholder 2">
            <a:extLst>
              <a:ext uri="{FF2B5EF4-FFF2-40B4-BE49-F238E27FC236}">
                <a16:creationId xmlns:a16="http://schemas.microsoft.com/office/drawing/2014/main" id="{85E713AA-DEC9-4DF4-BCAE-7C4F5B9014BC}"/>
              </a:ext>
            </a:extLst>
          </p:cNvPr>
          <p:cNvSpPr>
            <a:spLocks noGrp="1"/>
          </p:cNvSpPr>
          <p:nvPr>
            <p:ph type="dt" sz="half" idx="20"/>
          </p:nvPr>
        </p:nvSpPr>
        <p:spPr/>
        <p:txBody>
          <a:bodyPr/>
          <a:lstStyle/>
          <a:p>
            <a:r>
              <a:rPr lang="en-US"/>
              <a:t> |  | </a:t>
            </a:r>
            <a:endParaRPr lang="de-DE" dirty="0"/>
          </a:p>
        </p:txBody>
      </p:sp>
      <p:sp>
        <p:nvSpPr>
          <p:cNvPr id="4" name="Footer Placeholder 3">
            <a:extLst>
              <a:ext uri="{FF2B5EF4-FFF2-40B4-BE49-F238E27FC236}">
                <a16:creationId xmlns:a16="http://schemas.microsoft.com/office/drawing/2014/main" id="{C8F74803-A9F9-401E-B6C9-2947FEAD6CAD}"/>
              </a:ext>
            </a:extLst>
          </p:cNvPr>
          <p:cNvSpPr>
            <a:spLocks noGrp="1"/>
          </p:cNvSpPr>
          <p:nvPr>
            <p:ph type="ftr" sz="quarter" idx="21"/>
          </p:nvPr>
        </p:nvSpPr>
        <p:spPr/>
        <p:txBody>
          <a:bodyPr/>
          <a:lstStyle/>
          <a:p>
            <a:endParaRPr lang="de-DE" dirty="0"/>
          </a:p>
        </p:txBody>
      </p:sp>
      <p:sp>
        <p:nvSpPr>
          <p:cNvPr id="5" name="Slide Number Placeholder 4">
            <a:extLst>
              <a:ext uri="{FF2B5EF4-FFF2-40B4-BE49-F238E27FC236}">
                <a16:creationId xmlns:a16="http://schemas.microsoft.com/office/drawing/2014/main" id="{63A0B1B4-B3E6-4684-862F-95AA4E51B238}"/>
              </a:ext>
            </a:extLst>
          </p:cNvPr>
          <p:cNvSpPr>
            <a:spLocks noGrp="1"/>
          </p:cNvSpPr>
          <p:nvPr>
            <p:ph type="sldNum" sz="quarter" idx="22"/>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1380034087"/>
      </p:ext>
    </p:extLst>
  </p:cSld>
  <p:clrMapOvr>
    <a:masterClrMapping/>
  </p:clrMapOvr>
  <p:extLst>
    <p:ext uri="{DCECCB84-F9BA-43D5-87BE-67443E8EF086}">
      <p15:sldGuideLst xmlns:p15="http://schemas.microsoft.com/office/powerpoint/2012/main">
        <p15:guide id="1" orient="horz" pos="1979" userDrawn="1">
          <p15:clr>
            <a:srgbClr val="FBAE40"/>
          </p15:clr>
        </p15:guide>
        <p15:guide id="2" orient="horz" pos="184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Bilder | 2">
    <p:spTree>
      <p:nvGrpSpPr>
        <p:cNvPr id="1" name=""/>
        <p:cNvGrpSpPr/>
        <p:nvPr/>
      </p:nvGrpSpPr>
      <p:grpSpPr>
        <a:xfrm>
          <a:off x="0" y="0"/>
          <a:ext cx="0" cy="0"/>
          <a:chOff x="0" y="0"/>
          <a:chExt cx="0" cy="0"/>
        </a:xfrm>
      </p:grpSpPr>
      <p:sp>
        <p:nvSpPr>
          <p:cNvPr id="25" name="Bildplatzhalter 5"/>
          <p:cNvSpPr>
            <a:spLocks noGrp="1"/>
          </p:cNvSpPr>
          <p:nvPr>
            <p:ph type="pic" sz="quarter" idx="16" hasCustomPrompt="1"/>
          </p:nvPr>
        </p:nvSpPr>
        <p:spPr>
          <a:xfrm>
            <a:off x="251520" y="4581067"/>
            <a:ext cx="1944216" cy="1322335"/>
          </a:xfrm>
        </p:spPr>
        <p:txBody>
          <a:bodyPr/>
          <a:lstStyle>
            <a:lvl1pPr>
              <a:defRPr/>
            </a:lvl1pPr>
          </a:lstStyle>
          <a:p>
            <a:r>
              <a:rPr lang="de-DE" dirty="0"/>
              <a:t>   </a:t>
            </a:r>
          </a:p>
        </p:txBody>
      </p:sp>
      <p:sp>
        <p:nvSpPr>
          <p:cNvPr id="24" name="Bildplatzhalter 5"/>
          <p:cNvSpPr>
            <a:spLocks noGrp="1"/>
          </p:cNvSpPr>
          <p:nvPr>
            <p:ph type="pic" sz="quarter" idx="15" hasCustomPrompt="1"/>
          </p:nvPr>
        </p:nvSpPr>
        <p:spPr>
          <a:xfrm>
            <a:off x="251520" y="2924883"/>
            <a:ext cx="1944216" cy="1322335"/>
          </a:xfrm>
        </p:spPr>
        <p:txBody>
          <a:bodyPr/>
          <a:lstStyle>
            <a:lvl1pPr>
              <a:defRPr/>
            </a:lvl1pPr>
          </a:lstStyle>
          <a:p>
            <a:r>
              <a:rPr lang="de-DE" dirty="0"/>
              <a:t>   </a:t>
            </a:r>
          </a:p>
        </p:txBody>
      </p:sp>
      <p:sp>
        <p:nvSpPr>
          <p:cNvPr id="6" name="Bildplatzhalter 5"/>
          <p:cNvSpPr>
            <a:spLocks noGrp="1"/>
          </p:cNvSpPr>
          <p:nvPr>
            <p:ph type="pic" sz="quarter" idx="14" hasCustomPrompt="1"/>
          </p:nvPr>
        </p:nvSpPr>
        <p:spPr>
          <a:xfrm>
            <a:off x="250825" y="1268700"/>
            <a:ext cx="1944911" cy="1322334"/>
          </a:xfrm>
        </p:spPr>
        <p:txBody>
          <a:bodyPr/>
          <a:lstStyle>
            <a:lvl1pPr>
              <a:defRPr/>
            </a:lvl1pPr>
          </a:lstStyle>
          <a:p>
            <a:r>
              <a:rPr lang="de-DE" dirty="0"/>
              <a:t>  </a:t>
            </a:r>
          </a:p>
        </p:txBody>
      </p:sp>
      <p:sp>
        <p:nvSpPr>
          <p:cNvPr id="2" name="Titel 1"/>
          <p:cNvSpPr>
            <a:spLocks noGrp="1"/>
          </p:cNvSpPr>
          <p:nvPr>
            <p:ph type="title" hasCustomPrompt="1"/>
          </p:nvPr>
        </p:nvSpPr>
        <p:spPr bwMode="gray"/>
        <p:txBody>
          <a:bodyPr/>
          <a:lstStyle/>
          <a:p>
            <a:r>
              <a:rPr lang="de-DE" noProof="0" dirty="0"/>
              <a:t>Titelmasterformat durch </a:t>
            </a:r>
            <a:br>
              <a:rPr lang="de-DE" noProof="0" dirty="0"/>
            </a:br>
            <a:r>
              <a:rPr lang="de-DE" noProof="0" dirty="0"/>
              <a:t>Klicken bearbeiten</a:t>
            </a:r>
            <a:endParaRPr lang="de-DE" dirty="0"/>
          </a:p>
        </p:txBody>
      </p:sp>
      <p:sp>
        <p:nvSpPr>
          <p:cNvPr id="7" name="Textplatzhalter 6"/>
          <p:cNvSpPr>
            <a:spLocks noGrp="1"/>
          </p:cNvSpPr>
          <p:nvPr>
            <p:ph type="body" sz="quarter" idx="17" hasCustomPrompt="1"/>
          </p:nvPr>
        </p:nvSpPr>
        <p:spPr>
          <a:xfrm>
            <a:off x="2484438" y="1268197"/>
            <a:ext cx="6408737" cy="1367885"/>
          </a:xfrm>
        </p:spPr>
        <p:txBody>
          <a:bodyPr tIns="108000"/>
          <a:lstStyle>
            <a:lvl1pPr>
              <a:defRPr/>
            </a:lvl1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p:txBody>
      </p:sp>
      <p:sp>
        <p:nvSpPr>
          <p:cNvPr id="30" name="Textplatzhalter 6"/>
          <p:cNvSpPr>
            <a:spLocks noGrp="1"/>
          </p:cNvSpPr>
          <p:nvPr>
            <p:ph type="body" sz="quarter" idx="18" hasCustomPrompt="1"/>
          </p:nvPr>
        </p:nvSpPr>
        <p:spPr>
          <a:xfrm>
            <a:off x="2484438" y="2924976"/>
            <a:ext cx="6408737" cy="1367289"/>
          </a:xfrm>
        </p:spPr>
        <p:txBody>
          <a:bodyPr tIns="108000"/>
          <a:lstStyle>
            <a:lvl1pPr>
              <a:defRPr/>
            </a:lvl1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p:txBody>
      </p:sp>
      <p:sp>
        <p:nvSpPr>
          <p:cNvPr id="31" name="Textplatzhalter 6"/>
          <p:cNvSpPr>
            <a:spLocks noGrp="1"/>
          </p:cNvSpPr>
          <p:nvPr>
            <p:ph type="body" sz="quarter" idx="19" hasCustomPrompt="1"/>
          </p:nvPr>
        </p:nvSpPr>
        <p:spPr>
          <a:xfrm>
            <a:off x="2484438" y="4581161"/>
            <a:ext cx="6408737" cy="1367288"/>
          </a:xfrm>
        </p:spPr>
        <p:txBody>
          <a:bodyPr tIns="108000"/>
          <a:lstStyle>
            <a:lvl1pPr>
              <a:defRPr/>
            </a:lvl1pPr>
            <a:lvl5pPr marL="720000" indent="-180000">
              <a:buFont typeface="Symbol" panose="05050102010706020507" pitchFamily="18" charset="2"/>
              <a:buChar char="-"/>
              <a:defRPr/>
            </a:lvl5p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p:txBody>
      </p:sp>
      <p:sp>
        <p:nvSpPr>
          <p:cNvPr id="18" name="Rechteck 17"/>
          <p:cNvSpPr/>
          <p:nvPr userDrawn="1">
            <p:custDataLst>
              <p:tags r:id="rId1"/>
            </p:custDataLst>
          </p:nvPr>
        </p:nvSpPr>
        <p:spPr bwMode="gray">
          <a:xfrm>
            <a:off x="250825" y="2591132"/>
            <a:ext cx="1944000"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19" name="Rechteck 18"/>
          <p:cNvSpPr/>
          <p:nvPr userDrawn="1"/>
        </p:nvSpPr>
        <p:spPr bwMode="gray">
          <a:xfrm>
            <a:off x="251521" y="4247316"/>
            <a:ext cx="1944215" cy="4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sp>
        <p:nvSpPr>
          <p:cNvPr id="20" name="Rechteck 19"/>
          <p:cNvSpPr/>
          <p:nvPr userDrawn="1"/>
        </p:nvSpPr>
        <p:spPr bwMode="gray">
          <a:xfrm>
            <a:off x="251520" y="5903500"/>
            <a:ext cx="1944216" cy="4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ysClr val="windowText" lastClr="000000"/>
              </a:solidFill>
            </a:endParaRPr>
          </a:p>
        </p:txBody>
      </p:sp>
      <p:cxnSp>
        <p:nvCxnSpPr>
          <p:cNvPr id="15" name="Gerader Verbinder 15">
            <a:extLst>
              <a:ext uri="{FF2B5EF4-FFF2-40B4-BE49-F238E27FC236}">
                <a16:creationId xmlns:a16="http://schemas.microsoft.com/office/drawing/2014/main" id="{06312137-4525-4F0E-AB36-CA82FC373C74}"/>
              </a:ext>
            </a:extLst>
          </p:cNvPr>
          <p:cNvCxnSpPr/>
          <p:nvPr userDrawn="1"/>
        </p:nvCxnSpPr>
        <p:spPr bwMode="gray">
          <a:xfrm>
            <a:off x="2483768" y="1268752"/>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06312137-4525-4F0E-AB36-CA82FC373C74}"/>
              </a:ext>
            </a:extLst>
          </p:cNvPr>
          <p:cNvCxnSpPr/>
          <p:nvPr userDrawn="1">
            <p:custDataLst>
              <p:tags r:id="rId2"/>
            </p:custDataLst>
          </p:nvPr>
        </p:nvCxnSpPr>
        <p:spPr bwMode="gray">
          <a:xfrm>
            <a:off x="2483768" y="2924936"/>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Gerader Verbinder 15">
            <a:extLst>
              <a:ext uri="{FF2B5EF4-FFF2-40B4-BE49-F238E27FC236}">
                <a16:creationId xmlns:a16="http://schemas.microsoft.com/office/drawing/2014/main" id="{06312137-4525-4F0E-AB36-CA82FC373C74}"/>
              </a:ext>
            </a:extLst>
          </p:cNvPr>
          <p:cNvCxnSpPr/>
          <p:nvPr userDrawn="1"/>
        </p:nvCxnSpPr>
        <p:spPr bwMode="gray">
          <a:xfrm>
            <a:off x="2483768" y="458112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Date Placeholder 7">
            <a:extLst>
              <a:ext uri="{FF2B5EF4-FFF2-40B4-BE49-F238E27FC236}">
                <a16:creationId xmlns:a16="http://schemas.microsoft.com/office/drawing/2014/main" id="{A110FBF3-05C8-44F3-BD07-2714A920D4B4}"/>
              </a:ext>
            </a:extLst>
          </p:cNvPr>
          <p:cNvSpPr>
            <a:spLocks noGrp="1"/>
          </p:cNvSpPr>
          <p:nvPr>
            <p:ph type="dt" sz="half" idx="20"/>
          </p:nvPr>
        </p:nvSpPr>
        <p:spPr/>
        <p:txBody>
          <a:bodyPr/>
          <a:lstStyle/>
          <a:p>
            <a:r>
              <a:rPr lang="en-US"/>
              <a:t> |  | </a:t>
            </a:r>
            <a:endParaRPr lang="de-DE" dirty="0"/>
          </a:p>
        </p:txBody>
      </p:sp>
      <p:sp>
        <p:nvSpPr>
          <p:cNvPr id="9" name="Footer Placeholder 8">
            <a:extLst>
              <a:ext uri="{FF2B5EF4-FFF2-40B4-BE49-F238E27FC236}">
                <a16:creationId xmlns:a16="http://schemas.microsoft.com/office/drawing/2014/main" id="{2A55BD94-A22A-46D6-94AC-EFDCBD363718}"/>
              </a:ext>
            </a:extLst>
          </p:cNvPr>
          <p:cNvSpPr>
            <a:spLocks noGrp="1"/>
          </p:cNvSpPr>
          <p:nvPr>
            <p:ph type="ftr" sz="quarter" idx="21"/>
          </p:nvPr>
        </p:nvSpPr>
        <p:spPr/>
        <p:txBody>
          <a:bodyPr/>
          <a:lstStyle/>
          <a:p>
            <a:endParaRPr lang="de-DE" dirty="0"/>
          </a:p>
        </p:txBody>
      </p:sp>
      <p:sp>
        <p:nvSpPr>
          <p:cNvPr id="10" name="Slide Number Placeholder 9">
            <a:extLst>
              <a:ext uri="{FF2B5EF4-FFF2-40B4-BE49-F238E27FC236}">
                <a16:creationId xmlns:a16="http://schemas.microsoft.com/office/drawing/2014/main" id="{CAC74734-A2FF-4750-9A3F-CC591F86544E}"/>
              </a:ext>
            </a:extLst>
          </p:cNvPr>
          <p:cNvSpPr>
            <a:spLocks noGrp="1"/>
          </p:cNvSpPr>
          <p:nvPr>
            <p:ph type="sldNum" sz="quarter" idx="22"/>
          </p:nvPr>
        </p:nvSpPr>
        <p:spPr/>
        <p:txBody>
          <a:body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spTree>
    <p:extLst>
      <p:ext uri="{BB962C8B-B14F-4D97-AF65-F5344CB8AC3E}">
        <p14:creationId xmlns:p14="http://schemas.microsoft.com/office/powerpoint/2010/main" val="16600082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748" userDrawn="1">
          <p15:clr>
            <a:srgbClr val="FBAE40"/>
          </p15:clr>
        </p15:guide>
        <p15:guide id="2" pos="1383" userDrawn="1">
          <p15:clr>
            <a:srgbClr val="FBAE40"/>
          </p15:clr>
        </p15:guide>
        <p15:guide id="3" pos="1565" userDrawn="1">
          <p15:clr>
            <a:srgbClr val="FBAE40"/>
          </p15:clr>
        </p15:guide>
        <p15:guide id="4" orient="horz" pos="1661" userDrawn="1">
          <p15:clr>
            <a:srgbClr val="FBAE40"/>
          </p15:clr>
        </p15:guide>
        <p15:guide id="5" orient="horz" pos="1842" userDrawn="1">
          <p15:clr>
            <a:srgbClr val="FBAE40"/>
          </p15:clr>
        </p15:guide>
        <p15:guide id="6" orient="horz" pos="2704" userDrawn="1">
          <p15:clr>
            <a:srgbClr val="FBAE40"/>
          </p15:clr>
        </p15:guide>
        <p15:guide id="7" orient="horz" pos="288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6.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5.png"/><Relationship Id="rId5" Type="http://schemas.openxmlformats.org/officeDocument/2006/relationships/theme" Target="../theme/theme2.xml"/><Relationship Id="rId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41.xml"/><Relationship Id="rId3" Type="http://schemas.openxmlformats.org/officeDocument/2006/relationships/slideLayout" Target="../slideLayouts/slideLayout28.xml"/><Relationship Id="rId21" Type="http://schemas.openxmlformats.org/officeDocument/2006/relationships/theme" Target="../theme/theme3.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ags" Target="../tags/tag4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ags" Target="../tags/tag3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ags" Target="../tags/tag38.xml"/><Relationship Id="rId28" Type="http://schemas.openxmlformats.org/officeDocument/2006/relationships/image" Target="../media/image9.emf"/><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vmlDrawing" Target="../drawings/vmlDrawing1.v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2000" y="298800"/>
            <a:ext cx="5975763" cy="612000"/>
          </a:xfrm>
          <a:prstGeom prst="rect">
            <a:avLst/>
          </a:prstGeom>
        </p:spPr>
        <p:txBody>
          <a:bodyPr vert="horz" lIns="0" tIns="0" rIns="0" bIns="18000" rtlCol="0" anchor="b">
            <a:noAutofit/>
          </a:bodyPr>
          <a:lstStyle/>
          <a:p>
            <a:r>
              <a:rPr lang="de-DE" noProof="0" dirty="0"/>
              <a:t>Titelmasterformat durch </a:t>
            </a:r>
            <a:br>
              <a:rPr lang="de-DE" noProof="0" dirty="0"/>
            </a:br>
            <a:r>
              <a:rPr lang="de-DE" noProof="0" dirty="0"/>
              <a:t>Klicken bearbeiten</a:t>
            </a:r>
            <a:endParaRPr lang="de-DE" dirty="0"/>
          </a:p>
        </p:txBody>
      </p:sp>
      <p:sp>
        <p:nvSpPr>
          <p:cNvPr id="3" name="Text Placeholder 2"/>
          <p:cNvSpPr>
            <a:spLocks noGrp="1"/>
          </p:cNvSpPr>
          <p:nvPr>
            <p:ph type="body" idx="1"/>
          </p:nvPr>
        </p:nvSpPr>
        <p:spPr>
          <a:xfrm>
            <a:off x="252000" y="1267200"/>
            <a:ext cx="8640000" cy="5040000"/>
          </a:xfrm>
          <a:prstGeom prst="rect">
            <a:avLst/>
          </a:prstGeom>
        </p:spPr>
        <p:txBody>
          <a:bodyPr vert="horz" lIns="0" tIns="0" rIns="0" bIns="0" rtlCol="0">
            <a:noAutofit/>
          </a:bodyPr>
          <a:lstStyle/>
          <a:p>
            <a:pPr lvl="0"/>
            <a:r>
              <a:rPr lang="de-DE" noProof="0" dirty="0"/>
              <a:t>Klicken Sie, um Text hinzuzufügen. Um die Textebene zu ändern: Alt + Umschalttaste + Rechts-/Linkspfeil</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a:p>
            <a:pPr lvl="8"/>
            <a:endParaRPr lang="de-DE" noProof="0" dirty="0"/>
          </a:p>
        </p:txBody>
      </p:sp>
      <p:sp>
        <p:nvSpPr>
          <p:cNvPr id="4" name="Date Placeholder 3"/>
          <p:cNvSpPr>
            <a:spLocks noGrp="1"/>
          </p:cNvSpPr>
          <p:nvPr>
            <p:ph type="dt" sz="half" idx="2"/>
          </p:nvPr>
        </p:nvSpPr>
        <p:spPr>
          <a:xfrm>
            <a:off x="538824" y="6597650"/>
            <a:ext cx="5689360" cy="179388"/>
          </a:xfrm>
          <a:prstGeom prst="rect">
            <a:avLst/>
          </a:prstGeom>
        </p:spPr>
        <p:txBody>
          <a:bodyPr vert="horz" lIns="0" tIns="18000" rIns="0" bIns="0" rtlCol="0" anchor="t"/>
          <a:lstStyle>
            <a:lvl1pPr algn="l">
              <a:defRPr sz="900">
                <a:solidFill>
                  <a:schemeClr val="tx1"/>
                </a:solidFill>
              </a:defRPr>
            </a:lvl1pPr>
          </a:lstStyle>
          <a:p>
            <a:r>
              <a:rPr lang="en-US"/>
              <a:t> |  | </a:t>
            </a:r>
            <a:endParaRPr lang="de-DE" dirty="0"/>
          </a:p>
        </p:txBody>
      </p:sp>
      <p:sp>
        <p:nvSpPr>
          <p:cNvPr id="5" name="Footer Placeholder 4"/>
          <p:cNvSpPr>
            <a:spLocks noGrp="1"/>
          </p:cNvSpPr>
          <p:nvPr>
            <p:ph type="ftr" sz="quarter" idx="3"/>
          </p:nvPr>
        </p:nvSpPr>
        <p:spPr>
          <a:xfrm>
            <a:off x="0" y="0"/>
            <a:ext cx="0" cy="0"/>
          </a:xfrm>
          <a:prstGeom prst="rect">
            <a:avLst/>
          </a:prstGeom>
          <a:noFill/>
        </p:spPr>
        <p:txBody>
          <a:bodyPr vert="horz" lIns="0" tIns="0" rIns="0" bIns="0" rtlCol="0" anchor="ctr"/>
          <a:lstStyle>
            <a:lvl1pPr algn="ctr">
              <a:defRPr sz="100">
                <a:noFill/>
              </a:defRPr>
            </a:lvl1pPr>
          </a:lstStyle>
          <a:p>
            <a:endParaRPr lang="de-DE" dirty="0"/>
          </a:p>
        </p:txBody>
      </p:sp>
      <p:sp>
        <p:nvSpPr>
          <p:cNvPr id="6" name="Slide Number Placeholder 5"/>
          <p:cNvSpPr>
            <a:spLocks noGrp="1"/>
          </p:cNvSpPr>
          <p:nvPr>
            <p:ph type="sldNum" sz="quarter" idx="4"/>
          </p:nvPr>
        </p:nvSpPr>
        <p:spPr>
          <a:xfrm>
            <a:off x="250825" y="6597650"/>
            <a:ext cx="288000" cy="179388"/>
          </a:xfrm>
          <a:prstGeom prst="rect">
            <a:avLst/>
          </a:prstGeom>
        </p:spPr>
        <p:txBody>
          <a:bodyPr vert="horz" lIns="0" tIns="0" rIns="0" bIns="3600" rtlCol="0" anchor="ctr" anchorCtr="0">
            <a:noAutofit/>
          </a:bodyPr>
          <a:lstStyle>
            <a:lvl1pPr>
              <a:defRPr lang="en-GB" sz="900" smtClean="0">
                <a:latin typeface="Arial" charset="0"/>
              </a:defRPr>
            </a:lvl1pPr>
          </a:lstStyle>
          <a:p>
            <a:pPr fontAlgn="base">
              <a:spcBef>
                <a:spcPct val="0"/>
              </a:spcBef>
              <a:spcAft>
                <a:spcPct val="0"/>
              </a:spcAft>
            </a:pPr>
            <a:fld id="{16516013-89A1-496F-812B-5EE8D78FE7A9}" type="slidenum">
              <a:rPr lang="de-DE" smtClean="0"/>
              <a:pPr fontAlgn="base">
                <a:spcBef>
                  <a:spcPct val="0"/>
                </a:spcBef>
                <a:spcAft>
                  <a:spcPct val="0"/>
                </a:spcAft>
              </a:pPr>
              <a:t>‹Nr.›</a:t>
            </a:fld>
            <a:endParaRPr lang="de-DE" dirty="0"/>
          </a:p>
        </p:txBody>
      </p:sp>
      <p:pic>
        <p:nvPicPr>
          <p:cNvPr id="12" name="Picture 31">
            <a:extLst>
              <a:ext uri="{FF2B5EF4-FFF2-40B4-BE49-F238E27FC236}">
                <a16:creationId xmlns:a16="http://schemas.microsoft.com/office/drawing/2014/main" id="{43B8AC7B-F164-4879-9760-6F9F9E6A79CD}"/>
              </a:ext>
            </a:extLst>
          </p:cNvPr>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7380480" y="370756"/>
            <a:ext cx="1512000" cy="570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068">
            <a:extLst>
              <a:ext uri="{FF2B5EF4-FFF2-40B4-BE49-F238E27FC236}">
                <a16:creationId xmlns:a16="http://schemas.microsoft.com/office/drawing/2014/main" id="{E7364CBD-B502-4E73-90E2-E1E1A9AD5970}"/>
              </a:ext>
            </a:extLst>
          </p:cNvPr>
          <p:cNvSpPr/>
          <p:nvPr userDrawn="1"/>
        </p:nvSpPr>
        <p:spPr bwMode="gray">
          <a:xfrm>
            <a:off x="7380312" y="6750000"/>
            <a:ext cx="1512000" cy="108000"/>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err="1">
              <a:solidFill>
                <a:sysClr val="windowText" lastClr="000000"/>
              </a:solidFill>
            </a:endParaRPr>
          </a:p>
        </p:txBody>
      </p:sp>
    </p:spTree>
    <p:extLst>
      <p:ext uri="{BB962C8B-B14F-4D97-AF65-F5344CB8AC3E}">
        <p14:creationId xmlns:p14="http://schemas.microsoft.com/office/powerpoint/2010/main" val="217803739"/>
      </p:ext>
    </p:extLst>
  </p:cSld>
  <p:clrMap bg1="lt1" tx1="dk1" bg2="lt2" tx2="dk2" accent1="accent1" accent2="accent2" accent3="accent3" accent4="accent4" accent5="accent5" accent6="accent6" hlink="hlink" folHlink="folHlink"/>
  <p:sldLayoutIdLst>
    <p:sldLayoutId id="2147483695" r:id="rId1"/>
    <p:sldLayoutId id="2147483662" r:id="rId2"/>
    <p:sldLayoutId id="2147483664" r:id="rId3"/>
    <p:sldLayoutId id="2147483672" r:id="rId4"/>
    <p:sldLayoutId id="2147483673" r:id="rId5"/>
    <p:sldLayoutId id="2147483674" r:id="rId6"/>
    <p:sldLayoutId id="2147483675" r:id="rId7"/>
    <p:sldLayoutId id="2147483666" r:id="rId8"/>
    <p:sldLayoutId id="2147483676" r:id="rId9"/>
    <p:sldLayoutId id="2147483677" r:id="rId10"/>
    <p:sldLayoutId id="2147483678" r:id="rId11"/>
    <p:sldLayoutId id="2147483679" r:id="rId12"/>
    <p:sldLayoutId id="2147483693" r:id="rId13"/>
    <p:sldLayoutId id="2147483694" r:id="rId14"/>
    <p:sldLayoutId id="2147483682" r:id="rId15"/>
    <p:sldLayoutId id="2147483683" r:id="rId16"/>
    <p:sldLayoutId id="2147483691" r:id="rId17"/>
    <p:sldLayoutId id="2147483685" r:id="rId18"/>
    <p:sldLayoutId id="2147483684" r:id="rId19"/>
    <p:sldLayoutId id="2147483696" r:id="rId20"/>
    <p:sldLayoutId id="2147483697" r:id="rId21"/>
  </p:sldLayoutIdLst>
  <p:hf hdr="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buClr>
          <a:schemeClr val="tx2"/>
        </a:buClr>
        <a:buFont typeface="Arial" panose="020B0604020202020204"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4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1" userDrawn="1">
          <p15:clr>
            <a:srgbClr val="F26B43"/>
          </p15:clr>
        </p15:guide>
        <p15:guide id="2" pos="158" userDrawn="1">
          <p15:clr>
            <a:srgbClr val="F26B43"/>
          </p15:clr>
        </p15:guide>
        <p15:guide id="3" orient="horz" pos="3974" userDrawn="1">
          <p15:clr>
            <a:srgbClr val="F26B43"/>
          </p15:clr>
        </p15:guide>
        <p15:guide id="4" pos="5602" userDrawn="1">
          <p15:clr>
            <a:srgbClr val="F26B43"/>
          </p15:clr>
        </p15:guide>
        <p15:guide id="5" orient="horz" pos="799" userDrawn="1">
          <p15:clr>
            <a:srgbClr val="F26B43"/>
          </p15:clr>
        </p15:guide>
        <p15:guide id="6" pos="1837" userDrawn="1">
          <p15:clr>
            <a:srgbClr val="F26B43"/>
          </p15:clr>
        </p15:guide>
        <p15:guide id="7" pos="2018" userDrawn="1">
          <p15:clr>
            <a:srgbClr val="F26B43"/>
          </p15:clr>
        </p15:guide>
        <p15:guide id="8" pos="2789" userDrawn="1">
          <p15:clr>
            <a:srgbClr val="F26B43"/>
          </p15:clr>
        </p15:guide>
        <p15:guide id="9" pos="2971" userDrawn="1">
          <p15:clr>
            <a:srgbClr val="F26B43"/>
          </p15:clr>
        </p15:guide>
        <p15:guide id="10" pos="3742" userDrawn="1">
          <p15:clr>
            <a:srgbClr val="F26B43"/>
          </p15:clr>
        </p15:guide>
        <p15:guide id="11" pos="3923" userDrawn="1">
          <p15:clr>
            <a:srgbClr val="F26B43"/>
          </p15:clr>
        </p15:guide>
        <p15:guide id="12" orient="horz" pos="4156" userDrawn="1">
          <p15:clr>
            <a:srgbClr val="F26B43"/>
          </p15:clr>
        </p15:guide>
        <p15:guide id="13" orient="horz" pos="4269" userDrawn="1">
          <p15:clr>
            <a:srgbClr val="F26B43"/>
          </p15:clr>
        </p15:guide>
        <p15:guide id="14" orient="horz" pos="187" userDrawn="1">
          <p15:clr>
            <a:srgbClr val="F26B43"/>
          </p15:clr>
        </p15:guide>
        <p15:guide id="15" orient="horz" pos="5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re 3"/>
          <p:cNvSpPr txBox="1">
            <a:spLocks/>
          </p:cNvSpPr>
          <p:nvPr userDrawn="1"/>
        </p:nvSpPr>
        <p:spPr>
          <a:xfrm>
            <a:off x="539552" y="1525909"/>
            <a:ext cx="8064896" cy="1194173"/>
          </a:xfrm>
          <a:prstGeom prst="rect">
            <a:avLst/>
          </a:prstGeom>
        </p:spPr>
        <p:txBody>
          <a:bodyPr wrap="square" lIns="0" tIns="0" rIns="0" bIns="0" anchor="ctr">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23" rtl="0" eaLnBrk="1" fontAlgn="auto" latinLnBrk="0" hangingPunct="1">
              <a:lnSpc>
                <a:spcPct val="90000"/>
              </a:lnSpc>
              <a:spcBef>
                <a:spcPts val="2400"/>
              </a:spcBef>
              <a:spcAft>
                <a:spcPts val="0"/>
              </a:spcAft>
              <a:buClrTx/>
              <a:buSzTx/>
              <a:buFontTx/>
              <a:buNone/>
              <a:tabLst/>
              <a:defRPr/>
            </a:pPr>
            <a:r>
              <a:rPr kumimoji="0" lang="de-DE" sz="3200" b="0" i="0" u="none" strike="noStrike" kern="1200" cap="none" spc="0" normalizeH="0" baseline="0" noProof="0" dirty="0">
                <a:ln>
                  <a:noFill/>
                </a:ln>
                <a:solidFill>
                  <a:srgbClr val="FF4648"/>
                </a:solidFill>
                <a:effectLst/>
                <a:uLnTx/>
                <a:uFillTx/>
                <a:latin typeface="Arial" panose="020B0604020202020204" pitchFamily="34" charset="0"/>
                <a:ea typeface="+mj-ea"/>
                <a:cs typeface="Arial" panose="020B0604020202020204" pitchFamily="34" charset="0"/>
              </a:rPr>
              <a:t>UPSLIDE TABLE OF CONTENT MASTER. </a:t>
            </a:r>
          </a:p>
          <a:p>
            <a:pPr marL="0" marR="0" lvl="0" indent="0" algn="ctr" defTabSz="914423" rtl="0" eaLnBrk="1" fontAlgn="auto" latinLnBrk="0" hangingPunct="1">
              <a:lnSpc>
                <a:spcPct val="90000"/>
              </a:lnSpc>
              <a:spcBef>
                <a:spcPts val="2400"/>
              </a:spcBef>
              <a:spcAft>
                <a:spcPts val="0"/>
              </a:spcAft>
              <a:buClrTx/>
              <a:buSzTx/>
              <a:buFontTx/>
              <a:buNone/>
              <a:tabLst/>
              <a:defRPr/>
            </a:pPr>
            <a:r>
              <a:rPr kumimoji="0" lang="de-DE" sz="3200" b="1" i="0" u="none" strike="noStrike" kern="1200" cap="none" spc="0" normalizeH="0" baseline="0" noProof="0" dirty="0">
                <a:ln>
                  <a:noFill/>
                </a:ln>
                <a:solidFill>
                  <a:srgbClr val="FF4648"/>
                </a:solidFill>
                <a:effectLst/>
                <a:uLnTx/>
                <a:uFillTx/>
                <a:latin typeface="Arial" panose="020B0604020202020204" pitchFamily="34" charset="0"/>
                <a:ea typeface="+mj-ea"/>
                <a:cs typeface="Arial" panose="020B0604020202020204" pitchFamily="34" charset="0"/>
              </a:rPr>
              <a:t>DO NOT EDIT. DO NOT DELETE.</a:t>
            </a:r>
          </a:p>
        </p:txBody>
      </p:sp>
      <p:pic>
        <p:nvPicPr>
          <p:cNvPr id="6" name="Picture 5" descr="Icon&#10;&#10;Description automatically generated">
            <a:extLst>
              <a:ext uri="{FF2B5EF4-FFF2-40B4-BE49-F238E27FC236}">
                <a16:creationId xmlns:a16="http://schemas.microsoft.com/office/drawing/2014/main" id="{B2BAEBF9-C963-44FB-A781-02D2DA13B09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70959" y="3140968"/>
            <a:ext cx="1402083" cy="1399035"/>
          </a:xfrm>
          <a:prstGeom prst="rect">
            <a:avLst/>
          </a:prstGeom>
        </p:spPr>
      </p:pic>
    </p:spTree>
    <p:extLst>
      <p:ext uri="{BB962C8B-B14F-4D97-AF65-F5344CB8AC3E}">
        <p14:creationId xmlns:p14="http://schemas.microsoft.com/office/powerpoint/2010/main" val="115532386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Lst>
  <p:hf hdr="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7"/>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3"/>
            </p:custDataLst>
            <p:extLst>
              <p:ext uri="{D42A27DB-BD31-4B8C-83A1-F6EECF244321}">
                <p14:modId xmlns:p14="http://schemas.microsoft.com/office/powerpoint/2010/main" val="3719248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2" name="think-cell Slide" r:id="rId27" imgW="270" imgH="270" progId="TCLayout.ActiveDocument.1">
                  <p:embed/>
                </p:oleObj>
              </mc:Choice>
              <mc:Fallback>
                <p:oleObj name="think-cell Slide" r:id="rId27" imgW="270" imgH="270" progId="TCLayout.ActiveDocument.1">
                  <p:embed/>
                  <p:pic>
                    <p:nvPicPr>
                      <p:cNvPr id="7" name="Objekt 6"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250825" y="297447"/>
            <a:ext cx="6480000" cy="611273"/>
          </a:xfrm>
          <a:prstGeom prst="rect">
            <a:avLst/>
          </a:prstGeom>
        </p:spPr>
        <p:txBody>
          <a:bodyPr vert="horz" lIns="0" tIns="0" rIns="0" bIns="18000" rtlCol="0" anchor="b" anchorCtr="0">
            <a:noAutofit/>
          </a:bodyPr>
          <a:lstStyle/>
          <a:p>
            <a:r>
              <a:rPr lang="de-DE" noProof="0" dirty="0"/>
              <a:t>Titelmasterformat durch </a:t>
            </a:r>
            <a:br>
              <a:rPr lang="de-DE" noProof="0" dirty="0"/>
            </a:br>
            <a:r>
              <a:rPr lang="de-DE" noProof="0" dirty="0"/>
              <a:t>Klicken bearbeiten</a:t>
            </a:r>
          </a:p>
        </p:txBody>
      </p:sp>
      <p:sp>
        <p:nvSpPr>
          <p:cNvPr id="3" name="Textplatzhalter 2"/>
          <p:cNvSpPr>
            <a:spLocks noGrp="1"/>
          </p:cNvSpPr>
          <p:nvPr>
            <p:ph type="body" idx="1"/>
          </p:nvPr>
        </p:nvSpPr>
        <p:spPr bwMode="gray">
          <a:xfrm>
            <a:off x="250477" y="1268700"/>
            <a:ext cx="8642698" cy="5040024"/>
          </a:xfrm>
          <a:prstGeom prst="rect">
            <a:avLst/>
          </a:prstGeom>
        </p:spPr>
        <p:txBody>
          <a:bodyPr vert="horz" lIns="0" tIns="0" rIns="0" bIns="0" rtlCol="0" anchor="t" anchorCtr="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4" name="Datumsplatzhalter 3"/>
          <p:cNvSpPr>
            <a:spLocks noGrp="1"/>
          </p:cNvSpPr>
          <p:nvPr>
            <p:ph type="dt" sz="half" idx="2"/>
          </p:nvPr>
        </p:nvSpPr>
        <p:spPr bwMode="gray">
          <a:xfrm>
            <a:off x="539750" y="6615280"/>
            <a:ext cx="719882" cy="160614"/>
          </a:xfrm>
          <a:prstGeom prst="rect">
            <a:avLst/>
          </a:prstGeom>
        </p:spPr>
        <p:txBody>
          <a:bodyPr vert="horz" lIns="0" tIns="0" rIns="0" bIns="0" rtlCol="0" anchor="b" anchorCtr="0">
            <a:noAutofit/>
          </a:bodyPr>
          <a:lstStyle>
            <a:lvl1pPr algn="l">
              <a:defRPr sz="900">
                <a:solidFill>
                  <a:schemeClr val="tx1"/>
                </a:solidFill>
              </a:defRPr>
            </a:lvl1pPr>
          </a:lstStyle>
          <a:p>
            <a:r>
              <a:rPr lang="de-DE" noProof="0"/>
              <a:t>TT.MM.JJJJ</a:t>
            </a:r>
            <a:endParaRPr lang="de-DE" noProof="0" dirty="0"/>
          </a:p>
        </p:txBody>
      </p:sp>
      <p:sp>
        <p:nvSpPr>
          <p:cNvPr id="5" name="Fußzeilenplatzhalter 4"/>
          <p:cNvSpPr>
            <a:spLocks noGrp="1"/>
          </p:cNvSpPr>
          <p:nvPr>
            <p:ph type="ftr" sz="quarter" idx="3"/>
          </p:nvPr>
        </p:nvSpPr>
        <p:spPr bwMode="gray">
          <a:xfrm>
            <a:off x="1259632" y="6615280"/>
            <a:ext cx="5472956" cy="160613"/>
          </a:xfrm>
          <a:prstGeom prst="rect">
            <a:avLst/>
          </a:prstGeom>
        </p:spPr>
        <p:txBody>
          <a:bodyPr vert="horz" lIns="0" tIns="0" rIns="0" bIns="0" rtlCol="0" anchor="b" anchorCtr="0">
            <a:noAutofit/>
          </a:bodyPr>
          <a:lstStyle>
            <a:lvl1pPr algn="l">
              <a:defRPr sz="900">
                <a:solidFill>
                  <a:schemeClr val="tx1"/>
                </a:solidFill>
              </a:defRPr>
            </a:lvl1pPr>
          </a:lstStyle>
          <a:p>
            <a:r>
              <a:rPr lang="de-DE"/>
              <a:t>Titel der Präsentation (Fußzeile steuerbar über Einfügen / Kopf- und Fußzeile)</a:t>
            </a:r>
            <a:endParaRPr lang="de-DE" dirty="0"/>
          </a:p>
        </p:txBody>
      </p:sp>
      <p:sp>
        <p:nvSpPr>
          <p:cNvPr id="6" name="Foliennummernplatzhalter 5"/>
          <p:cNvSpPr>
            <a:spLocks noGrp="1"/>
          </p:cNvSpPr>
          <p:nvPr>
            <p:ph type="sldNum" sz="quarter" idx="4"/>
          </p:nvPr>
        </p:nvSpPr>
        <p:spPr bwMode="gray">
          <a:xfrm>
            <a:off x="250825" y="6615279"/>
            <a:ext cx="288925" cy="160614"/>
          </a:xfrm>
          <a:prstGeom prst="rect">
            <a:avLst/>
          </a:prstGeom>
        </p:spPr>
        <p:txBody>
          <a:bodyPr vert="horz" lIns="0" tIns="0" rIns="0" bIns="0" rtlCol="0" anchor="b" anchorCtr="0">
            <a:noAutofit/>
          </a:bodyPr>
          <a:lstStyle>
            <a:lvl1pPr algn="l">
              <a:defRPr sz="900">
                <a:solidFill>
                  <a:schemeClr val="tx1"/>
                </a:solidFill>
              </a:defRPr>
            </a:lvl1pPr>
          </a:lstStyle>
          <a:p>
            <a:fld id="{D7FBF016-173F-4D13-AB5B-81861F2E6151}" type="slidenum">
              <a:rPr lang="de-DE" noProof="0" smtClean="0"/>
              <a:pPr/>
              <a:t>‹Nr.›</a:t>
            </a:fld>
            <a:endParaRPr lang="de-DE" noProof="0" dirty="0"/>
          </a:p>
        </p:txBody>
      </p:sp>
      <p:sp>
        <p:nvSpPr>
          <p:cNvPr id="1069" name="Rechteck 1068"/>
          <p:cNvSpPr/>
          <p:nvPr/>
        </p:nvSpPr>
        <p:spPr bwMode="gray">
          <a:xfrm>
            <a:off x="7380312" y="6750000"/>
            <a:ext cx="1512000" cy="108000"/>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cxnSp>
        <p:nvCxnSpPr>
          <p:cNvPr id="23" name="Gerader Verbinder 13"/>
          <p:cNvCxnSpPr/>
          <p:nvPr/>
        </p:nvCxnSpPr>
        <p:spPr bwMode="gray">
          <a:xfrm>
            <a:off x="291581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4"/>
          <p:cNvCxnSpPr/>
          <p:nvPr/>
        </p:nvCxnSpPr>
        <p:spPr bwMode="gray">
          <a:xfrm>
            <a:off x="320384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5"/>
          <p:cNvCxnSpPr/>
          <p:nvPr/>
        </p:nvCxnSpPr>
        <p:spPr bwMode="gray">
          <a:xfrm>
            <a:off x="442798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6"/>
          <p:cNvCxnSpPr/>
          <p:nvPr/>
        </p:nvCxnSpPr>
        <p:spPr bwMode="gray">
          <a:xfrm>
            <a:off x="471601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7"/>
          <p:cNvCxnSpPr/>
          <p:nvPr/>
        </p:nvCxnSpPr>
        <p:spPr bwMode="gray">
          <a:xfrm>
            <a:off x="5940152"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8"/>
          <p:cNvCxnSpPr/>
          <p:nvPr/>
        </p:nvCxnSpPr>
        <p:spPr bwMode="gray">
          <a:xfrm>
            <a:off x="622818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30">
            <a:extLst>
              <a:ext uri="{FF2B5EF4-FFF2-40B4-BE49-F238E27FC236}">
                <a16:creationId xmlns:a16="http://schemas.microsoft.com/office/drawing/2014/main" id="{D028AEDD-834A-49FF-BF16-F5DCDE1D2BF2}"/>
              </a:ext>
            </a:extLst>
          </p:cNvPr>
          <p:cNvCxnSpPr/>
          <p:nvPr/>
        </p:nvCxnSpPr>
        <p:spPr bwMode="gray">
          <a:xfrm>
            <a:off x="2195736"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31">
            <a:extLst>
              <a:ext uri="{FF2B5EF4-FFF2-40B4-BE49-F238E27FC236}">
                <a16:creationId xmlns:a16="http://schemas.microsoft.com/office/drawing/2014/main" id="{D425BF70-645B-48CD-BEC1-5D928BBED376}"/>
              </a:ext>
            </a:extLst>
          </p:cNvPr>
          <p:cNvCxnSpPr/>
          <p:nvPr/>
        </p:nvCxnSpPr>
        <p:spPr bwMode="gray">
          <a:xfrm>
            <a:off x="2483768"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2">
            <a:extLst>
              <a:ext uri="{FF2B5EF4-FFF2-40B4-BE49-F238E27FC236}">
                <a16:creationId xmlns:a16="http://schemas.microsoft.com/office/drawing/2014/main" id="{25CC0F2C-68A8-4361-BB3E-0379733A35C1}"/>
              </a:ext>
            </a:extLst>
          </p:cNvPr>
          <p:cNvCxnSpPr/>
          <p:nvPr/>
        </p:nvCxnSpPr>
        <p:spPr bwMode="gray">
          <a:xfrm>
            <a:off x="6660232"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3">
            <a:extLst>
              <a:ext uri="{FF2B5EF4-FFF2-40B4-BE49-F238E27FC236}">
                <a16:creationId xmlns:a16="http://schemas.microsoft.com/office/drawing/2014/main" id="{3105C57D-A402-420A-95C8-E040BEC4354E}"/>
              </a:ext>
            </a:extLst>
          </p:cNvPr>
          <p:cNvCxnSpPr/>
          <p:nvPr/>
        </p:nvCxnSpPr>
        <p:spPr bwMode="gray">
          <a:xfrm>
            <a:off x="6948264"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12"/>
          <p:cNvCxnSpPr/>
          <p:nvPr/>
        </p:nvCxnSpPr>
        <p:spPr bwMode="gray">
          <a:xfrm>
            <a:off x="25152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19"/>
          <p:cNvCxnSpPr/>
          <p:nvPr/>
        </p:nvCxnSpPr>
        <p:spPr bwMode="gray">
          <a:xfrm>
            <a:off x="8892480" y="-171400"/>
            <a:ext cx="0" cy="72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22"/>
          <p:cNvCxnSpPr/>
          <p:nvPr/>
        </p:nvCxnSpPr>
        <p:spPr bwMode="gray">
          <a:xfrm>
            <a:off x="-126516" y="1268700"/>
            <a:ext cx="5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23"/>
          <p:cNvCxnSpPr/>
          <p:nvPr/>
        </p:nvCxnSpPr>
        <p:spPr bwMode="gray">
          <a:xfrm>
            <a:off x="-126516" y="6309320"/>
            <a:ext cx="5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2" name="VctStamp_ID_1032" hidden="1">
            <a:extLst>
              <a:ext uri="{FF2B5EF4-FFF2-40B4-BE49-F238E27FC236}">
                <a16:creationId xmlns:a16="http://schemas.microsoft.com/office/drawing/2014/main" id="{AD6F306C-DA0D-42AA-8765-3B6AA2D52EF1}"/>
              </a:ext>
            </a:extLst>
          </p:cNvPr>
          <p:cNvSpPr/>
          <p:nvPr>
            <p:custDataLst>
              <p:tags r:id="rId24"/>
            </p:custDataLst>
          </p:nvPr>
        </p:nvSpPr>
        <p:spPr bwMode="gray">
          <a:xfrm>
            <a:off x="8024347" y="1411288"/>
            <a:ext cx="868828" cy="266740"/>
          </a:xfrm>
          <a:prstGeom prst="leftRightArrow">
            <a:avLst>
              <a:gd name="adj1" fmla="val 100000"/>
              <a:gd name="adj2" fmla="val 0"/>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25400" rIns="0" bIns="25400" rtlCol="0" anchor="t" anchorCtr="0">
            <a:spAutoFit/>
          </a:bodyPr>
          <a:lstStyle/>
          <a:p>
            <a:pPr marL="0" lvl="0" indent="0" algn="r" rtl="0" fontAlgn="base">
              <a:lnSpc>
                <a:spcPct val="100000"/>
              </a:lnSpc>
              <a:spcBef>
                <a:spcPct val="0"/>
              </a:spcBef>
              <a:spcAft>
                <a:spcPct val="0"/>
              </a:spcAft>
              <a:buFontTx/>
              <a:buNone/>
            </a:pPr>
            <a:r>
              <a:rPr lang="de-DE" sz="1400" b="1" i="0" dirty="0">
                <a:solidFill>
                  <a:schemeClr val="dk1"/>
                </a:solidFill>
                <a:latin typeface="Arial" panose="020B0604020202020204" pitchFamily="34" charset="0"/>
              </a:rPr>
              <a:t>EXAMPLE</a:t>
            </a:r>
          </a:p>
        </p:txBody>
      </p:sp>
      <p:cxnSp>
        <p:nvCxnSpPr>
          <p:cNvPr id="1033" name="VctTopStpCtr_ID_1033" hidden="1">
            <a:extLst>
              <a:ext uri="{FF2B5EF4-FFF2-40B4-BE49-F238E27FC236}">
                <a16:creationId xmlns:a16="http://schemas.microsoft.com/office/drawing/2014/main" id="{8DAEAB31-FBAC-4F14-AC0A-76BC0E36DD7A}"/>
              </a:ext>
            </a:extLst>
          </p:cNvPr>
          <p:cNvCxnSpPr>
            <a:cxnSpLocks/>
            <a:stCxn id="1032" idx="2"/>
            <a:endCxn id="1032" idx="0"/>
          </p:cNvCxnSpPr>
          <p:nvPr>
            <p:custDataLst>
              <p:tags r:id="rId25"/>
            </p:custDataLst>
          </p:nvPr>
        </p:nvCxnSpPr>
        <p:spPr bwMode="auto">
          <a:xfrm>
            <a:off x="8024347" y="1411288"/>
            <a:ext cx="868828" cy="0"/>
          </a:xfrm>
          <a:prstGeom prst="straightConnector1">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4" name="VctBtmStpCtr_ID_1034" hidden="1">
            <a:extLst>
              <a:ext uri="{FF2B5EF4-FFF2-40B4-BE49-F238E27FC236}">
                <a16:creationId xmlns:a16="http://schemas.microsoft.com/office/drawing/2014/main" id="{C7BA8131-AE03-4F39-974F-2410D6A25977}"/>
              </a:ext>
            </a:extLst>
          </p:cNvPr>
          <p:cNvCxnSpPr>
            <a:cxnSpLocks/>
            <a:stCxn id="1032" idx="4"/>
            <a:endCxn id="1032" idx="6"/>
          </p:cNvCxnSpPr>
          <p:nvPr>
            <p:custDataLst>
              <p:tags r:id="rId26"/>
            </p:custDataLst>
          </p:nvPr>
        </p:nvCxnSpPr>
        <p:spPr bwMode="auto">
          <a:xfrm>
            <a:off x="8024347" y="1678028"/>
            <a:ext cx="868828" cy="0"/>
          </a:xfrm>
          <a:prstGeom prst="straightConnector1">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5" name="Picture 31"/>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380480" y="370756"/>
            <a:ext cx="1512000" cy="570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640256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0"/>
        </a:spcAft>
        <a:buFont typeface="Arial" pitchFamily="34" charset="0"/>
        <a:buNone/>
        <a:defRPr sz="1400" b="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1">
          <p15:clr>
            <a:srgbClr val="F26B43"/>
          </p15:clr>
        </p15:guide>
        <p15:guide id="2" pos="158">
          <p15:clr>
            <a:srgbClr val="F26B43"/>
          </p15:clr>
        </p15:guide>
        <p15:guide id="3" pos="5602">
          <p15:clr>
            <a:srgbClr val="F26B43"/>
          </p15:clr>
        </p15:guide>
        <p15:guide id="4" orient="horz" pos="397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image" Target="../media/image13.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jpe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2.xml"/><Relationship Id="rId1" Type="http://schemas.openxmlformats.org/officeDocument/2006/relationships/tags" Target="../tags/tag61.xml"/><Relationship Id="rId6" Type="http://schemas.microsoft.com/office/2007/relationships/hdphoto" Target="../media/hdphoto1.wdp"/><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5.xml"/><Relationship Id="rId1" Type="http://schemas.openxmlformats.org/officeDocument/2006/relationships/tags" Target="../tags/tag64.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21.xml"/><Relationship Id="rId1" Type="http://schemas.openxmlformats.org/officeDocument/2006/relationships/tags" Target="../tags/tag6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21.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21.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21.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33.wmf"/><Relationship Id="rId4" Type="http://schemas.openxmlformats.org/officeDocument/2006/relationships/image" Target="../media/image32.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51.xml"/><Relationship Id="rId1" Type="http://schemas.openxmlformats.org/officeDocument/2006/relationships/tags" Target="../tags/tag50.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29.xml"/><Relationship Id="rId1" Type="http://schemas.openxmlformats.org/officeDocument/2006/relationships/tags" Target="../tags/tag5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29.xml"/><Relationship Id="rId1" Type="http://schemas.openxmlformats.org/officeDocument/2006/relationships/tags" Target="../tags/tag53.xml"/></Relationships>
</file>

<file path=ppt/slides/_rels/slide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37.xml"/><Relationship Id="rId1" Type="http://schemas.openxmlformats.org/officeDocument/2006/relationships/tags" Target="../tags/tag5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48EE1-66BE-4077-AA36-DB18E547170E}"/>
              </a:ext>
            </a:extLst>
          </p:cNvPr>
          <p:cNvSpPr>
            <a:spLocks noGrp="1"/>
          </p:cNvSpPr>
          <p:nvPr>
            <p:ph type="ctrTitle"/>
            <p:custDataLst>
              <p:tags r:id="rId1"/>
            </p:custDataLst>
          </p:nvPr>
        </p:nvSpPr>
        <p:spPr/>
        <p:txBody>
          <a:bodyPr/>
          <a:lstStyle/>
          <a:p>
            <a:r>
              <a:rPr lang="de-DE" dirty="0"/>
              <a:t>Stock </a:t>
            </a:r>
            <a:r>
              <a:rPr lang="de-DE" dirty="0" err="1"/>
              <a:t>picking</a:t>
            </a:r>
            <a:r>
              <a:rPr lang="de-DE" dirty="0"/>
              <a:t> in Europa</a:t>
            </a:r>
          </a:p>
        </p:txBody>
      </p:sp>
      <p:sp>
        <p:nvSpPr>
          <p:cNvPr id="3" name="Subtitle 2">
            <a:extLst>
              <a:ext uri="{FF2B5EF4-FFF2-40B4-BE49-F238E27FC236}">
                <a16:creationId xmlns:a16="http://schemas.microsoft.com/office/drawing/2014/main" id="{160BEB08-BE60-40F1-8ECC-DCD5D0837D9A}"/>
              </a:ext>
            </a:extLst>
          </p:cNvPr>
          <p:cNvSpPr>
            <a:spLocks noGrp="1"/>
          </p:cNvSpPr>
          <p:nvPr>
            <p:ph type="subTitle" idx="1"/>
          </p:nvPr>
        </p:nvSpPr>
        <p:spPr>
          <a:xfrm>
            <a:off x="467544" y="4148701"/>
            <a:ext cx="5472000" cy="1188511"/>
          </a:xfrm>
        </p:spPr>
        <p:txBody>
          <a:bodyPr/>
          <a:lstStyle/>
          <a:p>
            <a:r>
              <a:rPr lang="de-DE" dirty="0"/>
              <a:t>Matthias Born</a:t>
            </a:r>
          </a:p>
          <a:p>
            <a:r>
              <a:rPr lang="de-DE" dirty="0"/>
              <a:t>Head </a:t>
            </a:r>
            <a:r>
              <a:rPr lang="de-DE" dirty="0" err="1"/>
              <a:t>of</a:t>
            </a:r>
            <a:r>
              <a:rPr lang="de-DE" dirty="0"/>
              <a:t> </a:t>
            </a:r>
            <a:r>
              <a:rPr lang="de-DE" dirty="0" err="1"/>
              <a:t>Invetsments</a:t>
            </a:r>
            <a:r>
              <a:rPr lang="de-DE" dirty="0"/>
              <a:t> &amp; CIO </a:t>
            </a:r>
            <a:r>
              <a:rPr lang="de-DE" dirty="0" err="1"/>
              <a:t>Equities</a:t>
            </a:r>
            <a:endParaRPr lang="de-DE" dirty="0"/>
          </a:p>
        </p:txBody>
      </p:sp>
      <p:sp>
        <p:nvSpPr>
          <p:cNvPr id="4" name="Text Placeholder 3">
            <a:extLst>
              <a:ext uri="{FF2B5EF4-FFF2-40B4-BE49-F238E27FC236}">
                <a16:creationId xmlns:a16="http://schemas.microsoft.com/office/drawing/2014/main" id="{8886B766-00E5-4FDF-97E4-2084A4A2E9F5}"/>
              </a:ext>
            </a:extLst>
          </p:cNvPr>
          <p:cNvSpPr>
            <a:spLocks noGrp="1"/>
          </p:cNvSpPr>
          <p:nvPr>
            <p:ph type="body" sz="quarter" idx="13"/>
            <p:custDataLst>
              <p:tags r:id="rId2"/>
            </p:custDataLst>
          </p:nvPr>
        </p:nvSpPr>
        <p:spPr>
          <a:xfrm>
            <a:off x="0" y="2204864"/>
            <a:ext cx="1721361" cy="355276"/>
          </a:xfrm>
        </p:spPr>
        <p:txBody>
          <a:bodyPr/>
          <a:lstStyle/>
          <a:p>
            <a:r>
              <a:rPr lang="de-DE" dirty="0"/>
              <a:t>Januar 2023</a:t>
            </a:r>
          </a:p>
        </p:txBody>
      </p:sp>
      <p:pic>
        <p:nvPicPr>
          <p:cNvPr id="13" name="Picture 12">
            <a:extLst>
              <a:ext uri="{FF2B5EF4-FFF2-40B4-BE49-F238E27FC236}">
                <a16:creationId xmlns:a16="http://schemas.microsoft.com/office/drawing/2014/main" id="{6CCD8E62-1E04-4669-A611-0C3C72A73B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2040" y="5683150"/>
            <a:ext cx="1479105" cy="626170"/>
          </a:xfrm>
          <a:prstGeom prst="rect">
            <a:avLst/>
          </a:prstGeom>
        </p:spPr>
      </p:pic>
      <p:pic>
        <p:nvPicPr>
          <p:cNvPr id="12" name="Picture 5">
            <a:extLst>
              <a:ext uri="{FF2B5EF4-FFF2-40B4-BE49-F238E27FC236}">
                <a16:creationId xmlns:a16="http://schemas.microsoft.com/office/drawing/2014/main" id="{DB7D5980-27A1-4811-8F28-1E60B408DC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13756" y="5620106"/>
            <a:ext cx="462100" cy="720239"/>
          </a:xfrm>
          <a:prstGeom prst="rect">
            <a:avLst/>
          </a:prstGeom>
        </p:spPr>
      </p:pic>
      <p:pic>
        <p:nvPicPr>
          <p:cNvPr id="14" name="Picture 6" descr="A picture containing logo&#10;&#10;Description automatically generated">
            <a:extLst>
              <a:ext uri="{FF2B5EF4-FFF2-40B4-BE49-F238E27FC236}">
                <a16:creationId xmlns:a16="http://schemas.microsoft.com/office/drawing/2014/main" id="{2B5024EE-39F8-451F-AF12-3CCA3C2F7FB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9799" b="15557"/>
          <a:stretch/>
        </p:blipFill>
        <p:spPr>
          <a:xfrm>
            <a:off x="3419872" y="5602679"/>
            <a:ext cx="867149" cy="647271"/>
          </a:xfrm>
          <a:prstGeom prst="rect">
            <a:avLst/>
          </a:prstGeom>
        </p:spPr>
      </p:pic>
      <p:pic>
        <p:nvPicPr>
          <p:cNvPr id="15" name="Grafik 14">
            <a:extLst>
              <a:ext uri="{FF2B5EF4-FFF2-40B4-BE49-F238E27FC236}">
                <a16:creationId xmlns:a16="http://schemas.microsoft.com/office/drawing/2014/main" id="{8977BDB3-AE6B-4D25-8FA6-9E46DDD5348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83968" y="5631309"/>
            <a:ext cx="665653" cy="665653"/>
          </a:xfrm>
          <a:prstGeom prst="rect">
            <a:avLst/>
          </a:prstGeom>
        </p:spPr>
      </p:pic>
      <p:pic>
        <p:nvPicPr>
          <p:cNvPr id="16" name="Grafik 15">
            <a:extLst>
              <a:ext uri="{FF2B5EF4-FFF2-40B4-BE49-F238E27FC236}">
                <a16:creationId xmlns:a16="http://schemas.microsoft.com/office/drawing/2014/main" id="{F8577829-3B38-414D-87AC-35AC4E8A520F}"/>
              </a:ext>
            </a:extLst>
          </p:cNvPr>
          <p:cNvPicPr>
            <a:picLocks noChangeAspect="1"/>
          </p:cNvPicPr>
          <p:nvPr/>
        </p:nvPicPr>
        <p:blipFill>
          <a:blip r:embed="rId8"/>
          <a:stretch>
            <a:fillRect/>
          </a:stretch>
        </p:blipFill>
        <p:spPr>
          <a:xfrm>
            <a:off x="6507989" y="5589240"/>
            <a:ext cx="368267" cy="720239"/>
          </a:xfrm>
          <a:prstGeom prst="rect">
            <a:avLst/>
          </a:prstGeom>
        </p:spPr>
      </p:pic>
      <p:grpSp>
        <p:nvGrpSpPr>
          <p:cNvPr id="17" name="Group 7">
            <a:extLst>
              <a:ext uri="{FF2B5EF4-FFF2-40B4-BE49-F238E27FC236}">
                <a16:creationId xmlns:a16="http://schemas.microsoft.com/office/drawing/2014/main" id="{023CFD66-D6F0-4E1A-AEE2-C8879532A37B}"/>
              </a:ext>
            </a:extLst>
          </p:cNvPr>
          <p:cNvGrpSpPr/>
          <p:nvPr/>
        </p:nvGrpSpPr>
        <p:grpSpPr>
          <a:xfrm>
            <a:off x="395537" y="5661248"/>
            <a:ext cx="1092875" cy="594978"/>
            <a:chOff x="4734601" y="2800617"/>
            <a:chExt cx="2670686" cy="1373557"/>
          </a:xfrm>
        </p:grpSpPr>
        <p:pic>
          <p:nvPicPr>
            <p:cNvPr id="18" name="Picture 3">
              <a:extLst>
                <a:ext uri="{FF2B5EF4-FFF2-40B4-BE49-F238E27FC236}">
                  <a16:creationId xmlns:a16="http://schemas.microsoft.com/office/drawing/2014/main" id="{97DEF1AB-65DB-483C-81C3-2AD0F7BB4CEB}"/>
                </a:ext>
              </a:extLst>
            </p:cNvPr>
            <p:cNvPicPr>
              <a:picLocks noChangeAspect="1"/>
            </p:cNvPicPr>
            <p:nvPr/>
          </p:nvPicPr>
          <p:blipFill rotWithShape="1">
            <a:blip r:embed="rId9"/>
            <a:srcRect r="20028"/>
            <a:stretch/>
          </p:blipFill>
          <p:spPr>
            <a:xfrm>
              <a:off x="4999078" y="2800617"/>
              <a:ext cx="2106168" cy="641235"/>
            </a:xfrm>
            <a:prstGeom prst="rect">
              <a:avLst/>
            </a:prstGeom>
          </p:spPr>
        </p:pic>
        <p:pic>
          <p:nvPicPr>
            <p:cNvPr id="19" name="Picture 4">
              <a:extLst>
                <a:ext uri="{FF2B5EF4-FFF2-40B4-BE49-F238E27FC236}">
                  <a16:creationId xmlns:a16="http://schemas.microsoft.com/office/drawing/2014/main" id="{02056299-BB00-4F19-906C-F913D8A54EDA}"/>
                </a:ext>
              </a:extLst>
            </p:cNvPr>
            <p:cNvPicPr>
              <a:picLocks noChangeAspect="1"/>
            </p:cNvPicPr>
            <p:nvPr/>
          </p:nvPicPr>
          <p:blipFill>
            <a:blip r:embed="rId10"/>
            <a:stretch>
              <a:fillRect/>
            </a:stretch>
          </p:blipFill>
          <p:spPr>
            <a:xfrm>
              <a:off x="4734601" y="3441851"/>
              <a:ext cx="2670686" cy="429102"/>
            </a:xfrm>
            <a:prstGeom prst="rect">
              <a:avLst/>
            </a:prstGeom>
          </p:spPr>
        </p:pic>
        <p:sp>
          <p:nvSpPr>
            <p:cNvPr id="20" name="Rectangle 6">
              <a:extLst>
                <a:ext uri="{FF2B5EF4-FFF2-40B4-BE49-F238E27FC236}">
                  <a16:creationId xmlns:a16="http://schemas.microsoft.com/office/drawing/2014/main" id="{E8D0AAA5-09A6-4759-9887-21BD07BFA27A}"/>
                </a:ext>
              </a:extLst>
            </p:cNvPr>
            <p:cNvSpPr/>
            <p:nvPr/>
          </p:nvSpPr>
          <p:spPr>
            <a:xfrm>
              <a:off x="5049947" y="3798036"/>
              <a:ext cx="1972233" cy="376138"/>
            </a:xfrm>
            <a:prstGeom prst="rect">
              <a:avLst/>
            </a:prstGeom>
          </p:spPr>
          <p:txBody>
            <a:bodyPr wrap="none">
              <a:spAutoFit/>
            </a:bodyPr>
            <a:lstStyle/>
            <a:p>
              <a:r>
                <a:rPr lang="en-US" sz="800" dirty="0">
                  <a:latin typeface="Univers-CondensedLight"/>
                </a:rPr>
                <a:t>As of 30-12-22</a:t>
              </a:r>
              <a:endParaRPr lang="en-US" sz="1100" dirty="0"/>
            </a:p>
          </p:txBody>
        </p:sp>
      </p:grpSp>
      <p:pic>
        <p:nvPicPr>
          <p:cNvPr id="21" name="Grafik 20">
            <a:extLst>
              <a:ext uri="{FF2B5EF4-FFF2-40B4-BE49-F238E27FC236}">
                <a16:creationId xmlns:a16="http://schemas.microsoft.com/office/drawing/2014/main" id="{02A83C65-8F6C-4D99-AA3B-BA500A961C0B}"/>
              </a:ext>
            </a:extLst>
          </p:cNvPr>
          <p:cNvPicPr>
            <a:picLocks noChangeAspect="1"/>
          </p:cNvPicPr>
          <p:nvPr/>
        </p:nvPicPr>
        <p:blipFill>
          <a:blip r:embed="rId11"/>
          <a:stretch>
            <a:fillRect/>
          </a:stretch>
        </p:blipFill>
        <p:spPr>
          <a:xfrm>
            <a:off x="1619672" y="5704138"/>
            <a:ext cx="1092875" cy="579893"/>
          </a:xfrm>
          <a:prstGeom prst="rect">
            <a:avLst/>
          </a:prstGeom>
        </p:spPr>
      </p:pic>
    </p:spTree>
    <p:extLst>
      <p:ext uri="{BB962C8B-B14F-4D97-AF65-F5344CB8AC3E}">
        <p14:creationId xmlns:p14="http://schemas.microsoft.com/office/powerpoint/2010/main" val="27637346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512CC602-F4B2-48F4-98E0-54AA92DF9DBD}"/>
              </a:ext>
            </a:extLst>
          </p:cNvPr>
          <p:cNvSpPr txBox="1"/>
          <p:nvPr/>
        </p:nvSpPr>
        <p:spPr>
          <a:xfrm>
            <a:off x="167894" y="1297031"/>
            <a:ext cx="4404106" cy="547907"/>
          </a:xfrm>
          <a:prstGeom prst="rect">
            <a:avLst/>
          </a:prstGeom>
          <a:noFill/>
        </p:spPr>
        <p:txBody>
          <a:bodyPr wrap="square">
            <a:spAutoFit/>
          </a:bodyPr>
          <a:lstStyle/>
          <a:p>
            <a:r>
              <a:rPr lang="de-DE" b="1" dirty="0">
                <a:solidFill>
                  <a:srgbClr val="C6562C"/>
                </a:solidFill>
              </a:rPr>
              <a:t>Die Gewinnrevisionen in Europa waren im letzten Jahr besser als in den USA...</a:t>
            </a:r>
          </a:p>
        </p:txBody>
      </p:sp>
      <p:sp>
        <p:nvSpPr>
          <p:cNvPr id="4" name="Slide Number Placeholder 3">
            <a:extLst>
              <a:ext uri="{FF2B5EF4-FFF2-40B4-BE49-F238E27FC236}">
                <a16:creationId xmlns:a16="http://schemas.microsoft.com/office/drawing/2014/main" id="{B1F6ED8D-0322-4A43-B63C-53E5A03B03AD}"/>
              </a:ext>
            </a:extLst>
          </p:cNvPr>
          <p:cNvSpPr>
            <a:spLocks noGrp="1"/>
          </p:cNvSpPr>
          <p:nvPr>
            <p:ph type="sldNum" sz="quarter" idx="12"/>
          </p:nvPr>
        </p:nvSpPr>
        <p:spPr/>
        <p:txBody>
          <a:bodyPr/>
          <a:lstStyle/>
          <a:p>
            <a:fld id="{D7FBF016-173F-4D13-AB5B-81861F2E6151}" type="slidenum">
              <a:rPr lang="de-DE" noProof="0" smtClean="0"/>
              <a:pPr/>
              <a:t>10</a:t>
            </a:fld>
            <a:endParaRPr lang="de-DE" noProof="0" dirty="0"/>
          </a:p>
        </p:txBody>
      </p:sp>
      <p:sp>
        <p:nvSpPr>
          <p:cNvPr id="5" name="Title 4">
            <a:extLst>
              <a:ext uri="{FF2B5EF4-FFF2-40B4-BE49-F238E27FC236}">
                <a16:creationId xmlns:a16="http://schemas.microsoft.com/office/drawing/2014/main" id="{93EF770F-234D-48EA-8E7C-3DFA8D6EBFC3}"/>
              </a:ext>
            </a:extLst>
          </p:cNvPr>
          <p:cNvSpPr>
            <a:spLocks noGrp="1"/>
          </p:cNvSpPr>
          <p:nvPr>
            <p:ph type="title"/>
          </p:nvPr>
        </p:nvSpPr>
        <p:spPr>
          <a:xfrm>
            <a:off x="250824" y="297447"/>
            <a:ext cx="6913463" cy="611273"/>
          </a:xfrm>
        </p:spPr>
        <p:txBody>
          <a:bodyPr/>
          <a:lstStyle/>
          <a:p>
            <a:r>
              <a:rPr lang="de-DE" b="1" dirty="0"/>
              <a:t>Warum hat sich Europa besser entwickelt als die USA?</a:t>
            </a:r>
            <a:br>
              <a:rPr lang="de-DE" b="1" dirty="0"/>
            </a:br>
            <a:r>
              <a:rPr lang="de-DE" dirty="0"/>
              <a:t>(3) Relative EPS Outperformance</a:t>
            </a:r>
            <a:endParaRPr lang="de-DE" b="1" dirty="0"/>
          </a:p>
        </p:txBody>
      </p:sp>
      <p:sp>
        <p:nvSpPr>
          <p:cNvPr id="25" name="Rectangle 24">
            <a:extLst>
              <a:ext uri="{FF2B5EF4-FFF2-40B4-BE49-F238E27FC236}">
                <a16:creationId xmlns:a16="http://schemas.microsoft.com/office/drawing/2014/main" id="{DC3ECEF4-94C4-4B6C-84F3-4A09696326DA}"/>
              </a:ext>
            </a:extLst>
          </p:cNvPr>
          <p:cNvSpPr/>
          <p:nvPr/>
        </p:nvSpPr>
        <p:spPr bwMode="gray">
          <a:xfrm>
            <a:off x="3707904" y="6453336"/>
            <a:ext cx="910759" cy="30492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pic>
        <p:nvPicPr>
          <p:cNvPr id="11" name="Picture 10">
            <a:extLst>
              <a:ext uri="{FF2B5EF4-FFF2-40B4-BE49-F238E27FC236}">
                <a16:creationId xmlns:a16="http://schemas.microsoft.com/office/drawing/2014/main" id="{09E59247-1230-4B53-AEF1-CF1E345A41AC}"/>
              </a:ext>
            </a:extLst>
          </p:cNvPr>
          <p:cNvPicPr>
            <a:picLocks noChangeAspect="1"/>
          </p:cNvPicPr>
          <p:nvPr/>
        </p:nvPicPr>
        <p:blipFill rotWithShape="1">
          <a:blip r:embed="rId4">
            <a:grayscl/>
          </a:blip>
          <a:srcRect b="6854"/>
          <a:stretch/>
        </p:blipFill>
        <p:spPr>
          <a:xfrm>
            <a:off x="167894" y="2226438"/>
            <a:ext cx="4115559" cy="2642838"/>
          </a:xfrm>
          <a:prstGeom prst="rect">
            <a:avLst/>
          </a:prstGeom>
        </p:spPr>
      </p:pic>
      <p:pic>
        <p:nvPicPr>
          <p:cNvPr id="20" name="Picture 19">
            <a:extLst>
              <a:ext uri="{FF2B5EF4-FFF2-40B4-BE49-F238E27FC236}">
                <a16:creationId xmlns:a16="http://schemas.microsoft.com/office/drawing/2014/main" id="{5BAEE63D-D716-424F-9BD3-1E8294B06965}"/>
              </a:ext>
            </a:extLst>
          </p:cNvPr>
          <p:cNvPicPr>
            <a:picLocks noChangeAspect="1"/>
          </p:cNvPicPr>
          <p:nvPr/>
        </p:nvPicPr>
        <p:blipFill rotWithShape="1">
          <a:blip r:embed="rId5">
            <a:grayscl/>
          </a:blip>
          <a:srcRect b="4914"/>
          <a:stretch/>
        </p:blipFill>
        <p:spPr>
          <a:xfrm>
            <a:off x="4734934" y="2259269"/>
            <a:ext cx="3910298" cy="2610007"/>
          </a:xfrm>
          <a:prstGeom prst="rect">
            <a:avLst/>
          </a:prstGeom>
        </p:spPr>
      </p:pic>
      <p:sp>
        <p:nvSpPr>
          <p:cNvPr id="22" name="Rectangle 21">
            <a:extLst>
              <a:ext uri="{FF2B5EF4-FFF2-40B4-BE49-F238E27FC236}">
                <a16:creationId xmlns:a16="http://schemas.microsoft.com/office/drawing/2014/main" id="{EAE44B65-8DA9-4EBE-8FAB-E2E7FC89ED70}"/>
              </a:ext>
            </a:extLst>
          </p:cNvPr>
          <p:cNvSpPr/>
          <p:nvPr/>
        </p:nvSpPr>
        <p:spPr bwMode="gray">
          <a:xfrm>
            <a:off x="3131840" y="2463921"/>
            <a:ext cx="1234544" cy="1152128"/>
          </a:xfrm>
          <a:prstGeom prst="rect">
            <a:avLst/>
          </a:prstGeom>
          <a:no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32" name="Rectangle 31">
            <a:extLst>
              <a:ext uri="{FF2B5EF4-FFF2-40B4-BE49-F238E27FC236}">
                <a16:creationId xmlns:a16="http://schemas.microsoft.com/office/drawing/2014/main" id="{D396B6EE-ED7F-42CF-9FE1-924526A66D1F}"/>
              </a:ext>
            </a:extLst>
          </p:cNvPr>
          <p:cNvSpPr/>
          <p:nvPr/>
        </p:nvSpPr>
        <p:spPr bwMode="gray">
          <a:xfrm>
            <a:off x="2987903" y="1953633"/>
            <a:ext cx="1421165" cy="6112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i="1" dirty="0">
                <a:solidFill>
                  <a:schemeClr val="tx1"/>
                </a:solidFill>
              </a:rPr>
              <a:t>Positive </a:t>
            </a:r>
            <a:r>
              <a:rPr lang="de-DE" sz="800" i="1" dirty="0" err="1">
                <a:solidFill>
                  <a:schemeClr val="tx1"/>
                </a:solidFill>
              </a:rPr>
              <a:t>earnings</a:t>
            </a:r>
            <a:r>
              <a:rPr lang="de-DE" sz="800" i="1" dirty="0">
                <a:solidFill>
                  <a:schemeClr val="tx1"/>
                </a:solidFill>
              </a:rPr>
              <a:t> </a:t>
            </a:r>
            <a:r>
              <a:rPr lang="de-DE" sz="800" i="1" dirty="0" err="1">
                <a:solidFill>
                  <a:schemeClr val="tx1"/>
                </a:solidFill>
              </a:rPr>
              <a:t>revisions</a:t>
            </a:r>
            <a:endParaRPr lang="de-DE" sz="800" i="1" dirty="0">
              <a:solidFill>
                <a:schemeClr val="tx1"/>
              </a:solidFill>
            </a:endParaRPr>
          </a:p>
          <a:p>
            <a:pPr algn="ctr"/>
            <a:r>
              <a:rPr lang="de-DE" sz="800" i="1" dirty="0">
                <a:solidFill>
                  <a:schemeClr val="tx1"/>
                </a:solidFill>
              </a:rPr>
              <a:t>In Europe vs. </a:t>
            </a:r>
            <a:r>
              <a:rPr lang="de-DE" sz="800" i="1" dirty="0" err="1">
                <a:solidFill>
                  <a:schemeClr val="tx1"/>
                </a:solidFill>
              </a:rPr>
              <a:t>the</a:t>
            </a:r>
            <a:r>
              <a:rPr lang="de-DE" sz="800" i="1" dirty="0">
                <a:solidFill>
                  <a:schemeClr val="tx1"/>
                </a:solidFill>
              </a:rPr>
              <a:t> US</a:t>
            </a:r>
          </a:p>
        </p:txBody>
      </p:sp>
      <p:cxnSp>
        <p:nvCxnSpPr>
          <p:cNvPr id="23" name="Gerader Verbinder 14">
            <a:extLst>
              <a:ext uri="{FF2B5EF4-FFF2-40B4-BE49-F238E27FC236}">
                <a16:creationId xmlns:a16="http://schemas.microsoft.com/office/drawing/2014/main" id="{DAC9F824-4220-4874-9F57-1094262125E5}"/>
              </a:ext>
            </a:extLst>
          </p:cNvPr>
          <p:cNvCxnSpPr/>
          <p:nvPr/>
        </p:nvCxnSpPr>
        <p:spPr bwMode="gray">
          <a:xfrm>
            <a:off x="251520"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4" name="Gruppieren 6">
            <a:extLst>
              <a:ext uri="{FF2B5EF4-FFF2-40B4-BE49-F238E27FC236}">
                <a16:creationId xmlns:a16="http://schemas.microsoft.com/office/drawing/2014/main" id="{B804E014-D63D-4A53-8563-4CDE0C95EF9E}"/>
              </a:ext>
            </a:extLst>
          </p:cNvPr>
          <p:cNvGrpSpPr/>
          <p:nvPr/>
        </p:nvGrpSpPr>
        <p:grpSpPr>
          <a:xfrm>
            <a:off x="250130" y="5517232"/>
            <a:ext cx="8642350" cy="648010"/>
            <a:chOff x="251369" y="5661390"/>
            <a:chExt cx="8641806" cy="648010"/>
          </a:xfrm>
        </p:grpSpPr>
        <p:sp>
          <p:nvSpPr>
            <p:cNvPr id="26" name="Inhaltsplatzhalter 1">
              <a:extLst>
                <a:ext uri="{FF2B5EF4-FFF2-40B4-BE49-F238E27FC236}">
                  <a16:creationId xmlns:a16="http://schemas.microsoft.com/office/drawing/2014/main" id="{9DCBE2C3-8A64-48D9-A373-11063224F57F}"/>
                </a:ext>
              </a:extLst>
            </p:cNvPr>
            <p:cNvSpPr txBox="1">
              <a:spLocks/>
            </p:cNvSpPr>
            <p:nvPr>
              <p:custDataLst>
                <p:tags r:id="rId2"/>
              </p:custDataLst>
            </p:nvPr>
          </p:nvSpPr>
          <p:spPr bwMode="gray">
            <a:xfrm>
              <a:off x="251369" y="5733400"/>
              <a:ext cx="8641806" cy="576000"/>
            </a:xfrm>
            <a:prstGeom prst="rect">
              <a:avLst/>
            </a:prstGeom>
            <a:noFill/>
            <a:ln w="6350">
              <a:noFill/>
            </a:ln>
          </p:spPr>
          <p:txBody>
            <a:bodyPr vert="horz" wrap="square" lIns="0" tIns="108000" rIns="0" bIns="0" rtlCol="0" anchor="t">
              <a:noAutofit/>
            </a:bodyPr>
            <a:lstStyle>
              <a:lvl1pPr marL="0" indent="0" algn="l" defTabSz="914400" rtl="0" eaLnBrk="1" latinLnBrk="0" hangingPunct="1">
                <a:lnSpc>
                  <a:spcPct val="110000"/>
                </a:lnSpc>
                <a:spcBef>
                  <a:spcPts val="180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9pPr>
            </a:lstStyle>
            <a:p>
              <a:pPr lvl="0">
                <a:spcBef>
                  <a:spcPts val="0"/>
                </a:spcBef>
                <a:defRPr/>
              </a:pPr>
              <a:r>
                <a:rPr lang="de-DE" b="0" dirty="0">
                  <a:solidFill>
                    <a:srgbClr val="C6562C"/>
                  </a:solidFill>
                  <a:latin typeface="Arial"/>
                </a:rPr>
                <a:t>Ein weiterer Grund für die jüngste Outperformance Europas dürften die besseren Gewinnrevisionen sein.</a:t>
              </a:r>
            </a:p>
          </p:txBody>
        </p:sp>
        <p:cxnSp>
          <p:nvCxnSpPr>
            <p:cNvPr id="27" name="Gerader Verbinder 32">
              <a:extLst>
                <a:ext uri="{FF2B5EF4-FFF2-40B4-BE49-F238E27FC236}">
                  <a16:creationId xmlns:a16="http://schemas.microsoft.com/office/drawing/2014/main" id="{60B23462-20FC-408B-BC71-566E3AB0CDD8}"/>
                </a:ext>
              </a:extLst>
            </p:cNvPr>
            <p:cNvCxnSpPr>
              <a:cxnSpLocks/>
            </p:cNvCxnSpPr>
            <p:nvPr/>
          </p:nvCxnSpPr>
          <p:spPr bwMode="gray">
            <a:xfrm>
              <a:off x="252064" y="5661390"/>
              <a:ext cx="504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r Verbinder 34">
              <a:extLst>
                <a:ext uri="{FF2B5EF4-FFF2-40B4-BE49-F238E27FC236}">
                  <a16:creationId xmlns:a16="http://schemas.microsoft.com/office/drawing/2014/main" id="{AFE14A43-0040-4FC2-AFC5-EDD13DAECFF6}"/>
                </a:ext>
              </a:extLst>
            </p:cNvPr>
            <p:cNvCxnSpPr>
              <a:cxnSpLocks/>
            </p:cNvCxnSpPr>
            <p:nvPr/>
          </p:nvCxnSpPr>
          <p:spPr bwMode="gray">
            <a:xfrm>
              <a:off x="251944" y="5733400"/>
              <a:ext cx="50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5439D1B6-91BB-4BE8-8826-5EB9AA85E947}"/>
              </a:ext>
            </a:extLst>
          </p:cNvPr>
          <p:cNvSpPr txBox="1"/>
          <p:nvPr/>
        </p:nvSpPr>
        <p:spPr>
          <a:xfrm>
            <a:off x="4488374" y="1297031"/>
            <a:ext cx="4404106" cy="547907"/>
          </a:xfrm>
          <a:prstGeom prst="rect">
            <a:avLst/>
          </a:prstGeom>
          <a:noFill/>
        </p:spPr>
        <p:txBody>
          <a:bodyPr wrap="square">
            <a:spAutoFit/>
          </a:bodyPr>
          <a:lstStyle/>
          <a:p>
            <a:r>
              <a:rPr lang="de-DE" b="1" dirty="0">
                <a:solidFill>
                  <a:srgbClr val="C6562C"/>
                </a:solidFill>
              </a:rPr>
              <a:t>... obwohl die Devisenmärkte im Jahr 2023 weniger Rückenwind bieten werden.</a:t>
            </a:r>
          </a:p>
        </p:txBody>
      </p:sp>
      <p:cxnSp>
        <p:nvCxnSpPr>
          <p:cNvPr id="34" name="Gerader Verbinder 14">
            <a:extLst>
              <a:ext uri="{FF2B5EF4-FFF2-40B4-BE49-F238E27FC236}">
                <a16:creationId xmlns:a16="http://schemas.microsoft.com/office/drawing/2014/main" id="{63F8D3D1-934B-4AF1-8C61-99C7C41B1152}"/>
              </a:ext>
            </a:extLst>
          </p:cNvPr>
          <p:cNvCxnSpPr/>
          <p:nvPr/>
        </p:nvCxnSpPr>
        <p:spPr bwMode="gray">
          <a:xfrm>
            <a:off x="4572000"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itel 18">
            <a:extLst>
              <a:ext uri="{FF2B5EF4-FFF2-40B4-BE49-F238E27FC236}">
                <a16:creationId xmlns:a16="http://schemas.microsoft.com/office/drawing/2014/main" id="{60E3EEE8-A1D6-41ED-9FD2-79DC12B90940}"/>
              </a:ext>
            </a:extLst>
          </p:cNvPr>
          <p:cNvSpPr txBox="1"/>
          <p:nvPr>
            <p:custDataLst>
              <p:tags r:id="rId1"/>
            </p:custDataLst>
          </p:nvPr>
        </p:nvSpPr>
        <p:spPr bwMode="gray">
          <a:xfrm>
            <a:off x="250825" y="6292044"/>
            <a:ext cx="5113263" cy="211412"/>
          </a:xfrm>
          <a:prstGeom prst="rect">
            <a:avLst/>
          </a:prstGeom>
        </p:spPr>
        <p:txBody>
          <a:bodyPr vert="horz" lIns="0" tIns="0" rIns="0" bIns="18000" rtlCol="0" anchor="ctr" anchorCtr="0">
            <a:no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Arial"/>
                <a:ea typeface="+mj-ea"/>
                <a:cs typeface="+mj-cs"/>
              </a:rPr>
              <a:t>Quelle: </a:t>
            </a:r>
            <a:r>
              <a:rPr kumimoji="0" lang="de-DE" sz="900" b="0" i="0" u="none" strike="noStrike" kern="1200" cap="none" spc="0" normalizeH="0" baseline="0" noProof="0" dirty="0" err="1">
                <a:ln>
                  <a:noFill/>
                </a:ln>
                <a:solidFill>
                  <a:prstClr val="black"/>
                </a:solidFill>
                <a:effectLst/>
                <a:uLnTx/>
                <a:uFillTx/>
                <a:latin typeface="Arial"/>
                <a:ea typeface="+mj-ea"/>
                <a:cs typeface="+mj-cs"/>
              </a:rPr>
              <a:t>Refinitiv</a:t>
            </a:r>
            <a:r>
              <a:rPr lang="de-DE" sz="900" b="0" dirty="0">
                <a:solidFill>
                  <a:prstClr val="black"/>
                </a:solidFill>
                <a:latin typeface="Arial"/>
              </a:rPr>
              <a:t>, Morgan Stanley Research, Januar 2023</a:t>
            </a:r>
            <a:endParaRPr kumimoji="0" lang="de-DE" sz="900" b="0" i="0" u="none" strike="noStrike" kern="1200" cap="none" spc="0" normalizeH="0" baseline="0" noProof="0" dirty="0">
              <a:ln>
                <a:noFill/>
              </a:ln>
              <a:solidFill>
                <a:prstClr val="black"/>
              </a:solidFill>
              <a:effectLst/>
              <a:uLnTx/>
              <a:uFillTx/>
              <a:latin typeface="Arial"/>
              <a:ea typeface="+mj-ea"/>
              <a:cs typeface="+mj-cs"/>
            </a:endParaRPr>
          </a:p>
        </p:txBody>
      </p:sp>
    </p:spTree>
    <p:extLst>
      <p:ext uri="{BB962C8B-B14F-4D97-AF65-F5344CB8AC3E}">
        <p14:creationId xmlns:p14="http://schemas.microsoft.com/office/powerpoint/2010/main" val="1039145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BA7C3E37-5480-4211-9208-BC3D963177CF}"/>
              </a:ext>
            </a:extLst>
          </p:cNvPr>
          <p:cNvSpPr txBox="1"/>
          <p:nvPr/>
        </p:nvSpPr>
        <p:spPr>
          <a:xfrm>
            <a:off x="4499992" y="1268760"/>
            <a:ext cx="4364203" cy="547907"/>
          </a:xfrm>
          <a:prstGeom prst="rect">
            <a:avLst/>
          </a:prstGeom>
          <a:noFill/>
        </p:spPr>
        <p:txBody>
          <a:bodyPr wrap="square">
            <a:spAutoFit/>
          </a:bodyPr>
          <a:lstStyle/>
          <a:p>
            <a:r>
              <a:rPr lang="de-DE" b="1" dirty="0">
                <a:solidFill>
                  <a:srgbClr val="C6562C"/>
                </a:solidFill>
              </a:rPr>
              <a:t>Europäische Sektoren, geordnet nach ihrem Umsatzanteil in China</a:t>
            </a:r>
          </a:p>
        </p:txBody>
      </p:sp>
      <p:pic>
        <p:nvPicPr>
          <p:cNvPr id="10" name="Picture 9">
            <a:extLst>
              <a:ext uri="{FF2B5EF4-FFF2-40B4-BE49-F238E27FC236}">
                <a16:creationId xmlns:a16="http://schemas.microsoft.com/office/drawing/2014/main" id="{38E848BE-A83C-4DE9-8514-6DA9D56649F0}"/>
              </a:ext>
            </a:extLst>
          </p:cNvPr>
          <p:cNvPicPr>
            <a:picLocks noChangeAspect="1"/>
          </p:cNvPicPr>
          <p:nvPr/>
        </p:nvPicPr>
        <p:blipFill rotWithShape="1">
          <a:blip r:embed="rId4">
            <a:grayscl/>
          </a:blip>
          <a:srcRect b="5708"/>
          <a:stretch/>
        </p:blipFill>
        <p:spPr>
          <a:xfrm>
            <a:off x="69880" y="1991066"/>
            <a:ext cx="4093403" cy="2878094"/>
          </a:xfrm>
          <a:prstGeom prst="rect">
            <a:avLst/>
          </a:prstGeom>
        </p:spPr>
      </p:pic>
      <p:sp>
        <p:nvSpPr>
          <p:cNvPr id="4" name="Slide Number Placeholder 3">
            <a:extLst>
              <a:ext uri="{FF2B5EF4-FFF2-40B4-BE49-F238E27FC236}">
                <a16:creationId xmlns:a16="http://schemas.microsoft.com/office/drawing/2014/main" id="{B1F6ED8D-0322-4A43-B63C-53E5A03B03AD}"/>
              </a:ext>
            </a:extLst>
          </p:cNvPr>
          <p:cNvSpPr>
            <a:spLocks noGrp="1"/>
          </p:cNvSpPr>
          <p:nvPr>
            <p:ph type="sldNum" sz="quarter" idx="12"/>
          </p:nvPr>
        </p:nvSpPr>
        <p:spPr/>
        <p:txBody>
          <a:bodyPr/>
          <a:lstStyle/>
          <a:p>
            <a:fld id="{D7FBF016-173F-4D13-AB5B-81861F2E6151}" type="slidenum">
              <a:rPr lang="de-DE" noProof="0" smtClean="0"/>
              <a:pPr/>
              <a:t>11</a:t>
            </a:fld>
            <a:endParaRPr lang="de-DE" noProof="0" dirty="0"/>
          </a:p>
        </p:txBody>
      </p:sp>
      <p:sp>
        <p:nvSpPr>
          <p:cNvPr id="5" name="Title 4">
            <a:extLst>
              <a:ext uri="{FF2B5EF4-FFF2-40B4-BE49-F238E27FC236}">
                <a16:creationId xmlns:a16="http://schemas.microsoft.com/office/drawing/2014/main" id="{93EF770F-234D-48EA-8E7C-3DFA8D6EBFC3}"/>
              </a:ext>
            </a:extLst>
          </p:cNvPr>
          <p:cNvSpPr>
            <a:spLocks noGrp="1"/>
          </p:cNvSpPr>
          <p:nvPr>
            <p:ph type="title"/>
          </p:nvPr>
        </p:nvSpPr>
        <p:spPr>
          <a:xfrm>
            <a:off x="250824" y="297447"/>
            <a:ext cx="6913463" cy="611273"/>
          </a:xfrm>
        </p:spPr>
        <p:txBody>
          <a:bodyPr/>
          <a:lstStyle/>
          <a:p>
            <a:r>
              <a:rPr lang="de-DE" b="1" dirty="0"/>
              <a:t>Warum hat sich Europa besser entwickelt als die USA?</a:t>
            </a:r>
            <a:br>
              <a:rPr lang="de-DE" b="1" dirty="0"/>
            </a:br>
            <a:r>
              <a:rPr lang="de-DE" dirty="0"/>
              <a:t>(4) Bessere News aus China</a:t>
            </a:r>
            <a:endParaRPr lang="de-DE" b="1" dirty="0"/>
          </a:p>
        </p:txBody>
      </p:sp>
      <p:sp>
        <p:nvSpPr>
          <p:cNvPr id="25" name="Rectangle 24">
            <a:extLst>
              <a:ext uri="{FF2B5EF4-FFF2-40B4-BE49-F238E27FC236}">
                <a16:creationId xmlns:a16="http://schemas.microsoft.com/office/drawing/2014/main" id="{DC3ECEF4-94C4-4B6C-84F3-4A09696326DA}"/>
              </a:ext>
            </a:extLst>
          </p:cNvPr>
          <p:cNvSpPr/>
          <p:nvPr/>
        </p:nvSpPr>
        <p:spPr bwMode="gray">
          <a:xfrm>
            <a:off x="3707904" y="6453336"/>
            <a:ext cx="910759" cy="30492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pic>
        <p:nvPicPr>
          <p:cNvPr id="12" name="Picture 11">
            <a:extLst>
              <a:ext uri="{FF2B5EF4-FFF2-40B4-BE49-F238E27FC236}">
                <a16:creationId xmlns:a16="http://schemas.microsoft.com/office/drawing/2014/main" id="{41FDD247-5B90-4572-B424-CC170490F71F}"/>
              </a:ext>
            </a:extLst>
          </p:cNvPr>
          <p:cNvPicPr>
            <a:picLocks noChangeAspect="1"/>
          </p:cNvPicPr>
          <p:nvPr/>
        </p:nvPicPr>
        <p:blipFill rotWithShape="1">
          <a:blip r:embed="rId5">
            <a:grayscl/>
            <a:extLst>
              <a:ext uri="{BEBA8EAE-BF5A-486C-A8C5-ECC9F3942E4B}">
                <a14:imgProps xmlns:a14="http://schemas.microsoft.com/office/drawing/2010/main">
                  <a14:imgLayer r:embed="rId6">
                    <a14:imgEffect>
                      <a14:saturation sat="0"/>
                    </a14:imgEffect>
                  </a14:imgLayer>
                </a14:imgProps>
              </a:ext>
            </a:extLst>
          </a:blip>
          <a:srcRect b="5708"/>
          <a:stretch/>
        </p:blipFill>
        <p:spPr>
          <a:xfrm>
            <a:off x="4578141" y="1989028"/>
            <a:ext cx="4247252" cy="2878094"/>
          </a:xfrm>
          <a:prstGeom prst="rect">
            <a:avLst/>
          </a:prstGeom>
        </p:spPr>
      </p:pic>
      <p:sp>
        <p:nvSpPr>
          <p:cNvPr id="13" name="Rectangle 12">
            <a:extLst>
              <a:ext uri="{FF2B5EF4-FFF2-40B4-BE49-F238E27FC236}">
                <a16:creationId xmlns:a16="http://schemas.microsoft.com/office/drawing/2014/main" id="{8742E806-55A6-4B5E-AE00-EBC2F74AD63C}"/>
              </a:ext>
            </a:extLst>
          </p:cNvPr>
          <p:cNvSpPr/>
          <p:nvPr/>
        </p:nvSpPr>
        <p:spPr bwMode="gray">
          <a:xfrm>
            <a:off x="1331640" y="2780928"/>
            <a:ext cx="504056" cy="1800200"/>
          </a:xfrm>
          <a:prstGeom prst="rect">
            <a:avLst/>
          </a:prstGeom>
          <a:no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
        <p:nvSpPr>
          <p:cNvPr id="19" name="TextBox 18">
            <a:extLst>
              <a:ext uri="{FF2B5EF4-FFF2-40B4-BE49-F238E27FC236}">
                <a16:creationId xmlns:a16="http://schemas.microsoft.com/office/drawing/2014/main" id="{5DA637E9-010F-4033-A6C8-321D02E2ACC9}"/>
              </a:ext>
            </a:extLst>
          </p:cNvPr>
          <p:cNvSpPr txBox="1"/>
          <p:nvPr/>
        </p:nvSpPr>
        <p:spPr>
          <a:xfrm>
            <a:off x="165681" y="1295215"/>
            <a:ext cx="4452982" cy="547907"/>
          </a:xfrm>
          <a:prstGeom prst="rect">
            <a:avLst/>
          </a:prstGeom>
          <a:noFill/>
        </p:spPr>
        <p:txBody>
          <a:bodyPr wrap="square">
            <a:spAutoFit/>
          </a:bodyPr>
          <a:lstStyle/>
          <a:p>
            <a:r>
              <a:rPr lang="de-DE" b="1" dirty="0">
                <a:solidFill>
                  <a:srgbClr val="C6562C"/>
                </a:solidFill>
              </a:rPr>
              <a:t>Europa hat das zweithöchste </a:t>
            </a:r>
            <a:r>
              <a:rPr lang="de-DE" b="1" dirty="0" err="1">
                <a:solidFill>
                  <a:srgbClr val="C6562C"/>
                </a:solidFill>
              </a:rPr>
              <a:t>Umsatzexposures</a:t>
            </a:r>
            <a:r>
              <a:rPr lang="de-DE" b="1" dirty="0">
                <a:solidFill>
                  <a:srgbClr val="C6562C"/>
                </a:solidFill>
              </a:rPr>
              <a:t> mit China verglichen zu anderen großen Nationen</a:t>
            </a:r>
          </a:p>
        </p:txBody>
      </p:sp>
      <p:cxnSp>
        <p:nvCxnSpPr>
          <p:cNvPr id="20" name="Gerader Verbinder 14">
            <a:extLst>
              <a:ext uri="{FF2B5EF4-FFF2-40B4-BE49-F238E27FC236}">
                <a16:creationId xmlns:a16="http://schemas.microsoft.com/office/drawing/2014/main" id="{5232EDE8-34DE-46F1-85E9-4B5E8A110102}"/>
              </a:ext>
            </a:extLst>
          </p:cNvPr>
          <p:cNvCxnSpPr/>
          <p:nvPr/>
        </p:nvCxnSpPr>
        <p:spPr bwMode="gray">
          <a:xfrm>
            <a:off x="251520"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1" name="Gruppieren 6">
            <a:extLst>
              <a:ext uri="{FF2B5EF4-FFF2-40B4-BE49-F238E27FC236}">
                <a16:creationId xmlns:a16="http://schemas.microsoft.com/office/drawing/2014/main" id="{FC44ACA3-87DD-483A-8717-76003E95A2A0}"/>
              </a:ext>
            </a:extLst>
          </p:cNvPr>
          <p:cNvGrpSpPr/>
          <p:nvPr/>
        </p:nvGrpSpPr>
        <p:grpSpPr>
          <a:xfrm>
            <a:off x="250130" y="5517232"/>
            <a:ext cx="8642350" cy="648010"/>
            <a:chOff x="251369" y="5661390"/>
            <a:chExt cx="8641806" cy="648010"/>
          </a:xfrm>
        </p:grpSpPr>
        <p:sp>
          <p:nvSpPr>
            <p:cNvPr id="22" name="Inhaltsplatzhalter 1">
              <a:extLst>
                <a:ext uri="{FF2B5EF4-FFF2-40B4-BE49-F238E27FC236}">
                  <a16:creationId xmlns:a16="http://schemas.microsoft.com/office/drawing/2014/main" id="{CA7EFCE3-4FEB-487A-858A-26B186FBA13C}"/>
                </a:ext>
              </a:extLst>
            </p:cNvPr>
            <p:cNvSpPr txBox="1">
              <a:spLocks/>
            </p:cNvSpPr>
            <p:nvPr>
              <p:custDataLst>
                <p:tags r:id="rId2"/>
              </p:custDataLst>
            </p:nvPr>
          </p:nvSpPr>
          <p:spPr bwMode="gray">
            <a:xfrm>
              <a:off x="251369" y="5733400"/>
              <a:ext cx="8641806" cy="576000"/>
            </a:xfrm>
            <a:prstGeom prst="rect">
              <a:avLst/>
            </a:prstGeom>
            <a:noFill/>
            <a:ln w="6350">
              <a:noFill/>
            </a:ln>
          </p:spPr>
          <p:txBody>
            <a:bodyPr vert="horz" wrap="square" lIns="0" tIns="108000" rIns="0" bIns="0" rtlCol="0" anchor="t">
              <a:noAutofit/>
            </a:bodyPr>
            <a:lstStyle>
              <a:lvl1pPr marL="0" indent="0" algn="l" defTabSz="914400" rtl="0" eaLnBrk="1" latinLnBrk="0" hangingPunct="1">
                <a:lnSpc>
                  <a:spcPct val="110000"/>
                </a:lnSpc>
                <a:spcBef>
                  <a:spcPts val="180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9pPr>
            </a:lstStyle>
            <a:p>
              <a:pPr lvl="0">
                <a:spcBef>
                  <a:spcPts val="0"/>
                </a:spcBef>
                <a:defRPr/>
              </a:pPr>
              <a:r>
                <a:rPr lang="de-DE" b="0" dirty="0">
                  <a:solidFill>
                    <a:srgbClr val="C6562C"/>
                  </a:solidFill>
                  <a:latin typeface="Arial"/>
                </a:rPr>
                <a:t>Im Vergleich zu den USA, Japan und Lateinamerika ist Europa einer der direktesten Nutznießer einer Wiedereröffnung Chinas. </a:t>
              </a:r>
            </a:p>
          </p:txBody>
        </p:sp>
        <p:cxnSp>
          <p:nvCxnSpPr>
            <p:cNvPr id="23" name="Gerader Verbinder 32">
              <a:extLst>
                <a:ext uri="{FF2B5EF4-FFF2-40B4-BE49-F238E27FC236}">
                  <a16:creationId xmlns:a16="http://schemas.microsoft.com/office/drawing/2014/main" id="{A433DDF1-702C-4235-9458-FD3A865915F1}"/>
                </a:ext>
              </a:extLst>
            </p:cNvPr>
            <p:cNvCxnSpPr>
              <a:cxnSpLocks/>
            </p:cNvCxnSpPr>
            <p:nvPr/>
          </p:nvCxnSpPr>
          <p:spPr bwMode="gray">
            <a:xfrm>
              <a:off x="252064" y="5661390"/>
              <a:ext cx="504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r Verbinder 34">
              <a:extLst>
                <a:ext uri="{FF2B5EF4-FFF2-40B4-BE49-F238E27FC236}">
                  <a16:creationId xmlns:a16="http://schemas.microsoft.com/office/drawing/2014/main" id="{D87E6920-63A4-4DFD-B0B6-CE66D88951F6}"/>
                </a:ext>
              </a:extLst>
            </p:cNvPr>
            <p:cNvCxnSpPr>
              <a:cxnSpLocks/>
            </p:cNvCxnSpPr>
            <p:nvPr/>
          </p:nvCxnSpPr>
          <p:spPr bwMode="gray">
            <a:xfrm>
              <a:off x="251944" y="5733400"/>
              <a:ext cx="50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7" name="Gerader Verbinder 14">
            <a:extLst>
              <a:ext uri="{FF2B5EF4-FFF2-40B4-BE49-F238E27FC236}">
                <a16:creationId xmlns:a16="http://schemas.microsoft.com/office/drawing/2014/main" id="{6E86E7D5-ECB6-4DBD-BB1C-85014CBF1DCD}"/>
              </a:ext>
            </a:extLst>
          </p:cNvPr>
          <p:cNvCxnSpPr/>
          <p:nvPr/>
        </p:nvCxnSpPr>
        <p:spPr bwMode="gray">
          <a:xfrm>
            <a:off x="4572000" y="1271264"/>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el 18">
            <a:extLst>
              <a:ext uri="{FF2B5EF4-FFF2-40B4-BE49-F238E27FC236}">
                <a16:creationId xmlns:a16="http://schemas.microsoft.com/office/drawing/2014/main" id="{B25E0003-3915-4BA5-BA09-541CCE4797C9}"/>
              </a:ext>
            </a:extLst>
          </p:cNvPr>
          <p:cNvSpPr txBox="1"/>
          <p:nvPr>
            <p:custDataLst>
              <p:tags r:id="rId1"/>
            </p:custDataLst>
          </p:nvPr>
        </p:nvSpPr>
        <p:spPr bwMode="gray">
          <a:xfrm>
            <a:off x="250825" y="6292044"/>
            <a:ext cx="5113263" cy="211412"/>
          </a:xfrm>
          <a:prstGeom prst="rect">
            <a:avLst/>
          </a:prstGeom>
        </p:spPr>
        <p:txBody>
          <a:bodyPr vert="horz" lIns="0" tIns="0" rIns="0" bIns="18000" rtlCol="0" anchor="ctr" anchorCtr="0">
            <a:no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Arial"/>
                <a:ea typeface="+mj-ea"/>
                <a:cs typeface="+mj-cs"/>
              </a:rPr>
              <a:t>Quelle: </a:t>
            </a:r>
            <a:r>
              <a:rPr kumimoji="0" lang="de-DE" sz="900" b="0" i="0" u="none" strike="noStrike" kern="1200" cap="none" spc="0" normalizeH="0" baseline="0" noProof="0" dirty="0" err="1">
                <a:ln>
                  <a:noFill/>
                </a:ln>
                <a:solidFill>
                  <a:prstClr val="black"/>
                </a:solidFill>
                <a:effectLst/>
                <a:uLnTx/>
                <a:uFillTx/>
                <a:latin typeface="Arial"/>
                <a:ea typeface="+mj-ea"/>
                <a:cs typeface="+mj-cs"/>
              </a:rPr>
              <a:t>Refinitiv</a:t>
            </a:r>
            <a:r>
              <a:rPr lang="de-DE" sz="900" b="0" dirty="0">
                <a:solidFill>
                  <a:prstClr val="black"/>
                </a:solidFill>
                <a:latin typeface="Arial"/>
              </a:rPr>
              <a:t>, Morgan Stanley Research, Januar 2023</a:t>
            </a:r>
            <a:endParaRPr kumimoji="0" lang="de-DE" sz="900" b="0" i="0" u="none" strike="noStrike" kern="1200" cap="none" spc="0" normalizeH="0" baseline="0" noProof="0" dirty="0">
              <a:ln>
                <a:noFill/>
              </a:ln>
              <a:solidFill>
                <a:prstClr val="black"/>
              </a:solidFill>
              <a:effectLst/>
              <a:uLnTx/>
              <a:uFillTx/>
              <a:latin typeface="Arial"/>
              <a:ea typeface="+mj-ea"/>
              <a:cs typeface="+mj-cs"/>
            </a:endParaRPr>
          </a:p>
        </p:txBody>
      </p:sp>
    </p:spTree>
    <p:extLst>
      <p:ext uri="{BB962C8B-B14F-4D97-AF65-F5344CB8AC3E}">
        <p14:creationId xmlns:p14="http://schemas.microsoft.com/office/powerpoint/2010/main" val="4192809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D267F7-BDA2-4DFA-BE8C-BFD68F3EB20B}"/>
              </a:ext>
            </a:extLst>
          </p:cNvPr>
          <p:cNvSpPr>
            <a:spLocks noGrp="1"/>
          </p:cNvSpPr>
          <p:nvPr>
            <p:ph type="title"/>
          </p:nvPr>
        </p:nvSpPr>
        <p:spPr/>
        <p:txBody>
          <a:bodyPr/>
          <a:lstStyle/>
          <a:p>
            <a:r>
              <a:rPr lang="de-DE" dirty="0" err="1"/>
              <a:t>Sektorgewichte</a:t>
            </a:r>
            <a:r>
              <a:rPr lang="de-DE" dirty="0"/>
              <a:t> Europa vs. USA</a:t>
            </a:r>
            <a:endParaRPr lang="en-GB" dirty="0"/>
          </a:p>
        </p:txBody>
      </p:sp>
      <p:graphicFrame>
        <p:nvGraphicFramePr>
          <p:cNvPr id="9" name="Content Placeholder 8">
            <a:extLst>
              <a:ext uri="{FF2B5EF4-FFF2-40B4-BE49-F238E27FC236}">
                <a16:creationId xmlns:a16="http://schemas.microsoft.com/office/drawing/2014/main" id="{43BCCF35-E530-4EB9-ACBF-B06FE7B97AED}"/>
              </a:ext>
            </a:extLst>
          </p:cNvPr>
          <p:cNvGraphicFramePr>
            <a:graphicFrameLocks noGrp="1"/>
          </p:cNvGraphicFramePr>
          <p:nvPr>
            <p:ph sz="half" idx="1"/>
            <p:extLst>
              <p:ext uri="{D42A27DB-BD31-4B8C-83A1-F6EECF244321}">
                <p14:modId xmlns:p14="http://schemas.microsoft.com/office/powerpoint/2010/main" val="2750320682"/>
              </p:ext>
            </p:extLst>
          </p:nvPr>
        </p:nvGraphicFramePr>
        <p:xfrm>
          <a:off x="250824" y="1268412"/>
          <a:ext cx="4176710" cy="4751388"/>
        </p:xfrm>
        <a:graphic>
          <a:graphicData uri="http://schemas.openxmlformats.org/drawingml/2006/table">
            <a:tbl>
              <a:tblPr>
                <a:tableStyleId>{7D95DDBC-5C31-40A9-B56D-BDF15E579DC0}</a:tableStyleId>
              </a:tblPr>
              <a:tblGrid>
                <a:gridCol w="1442559">
                  <a:extLst>
                    <a:ext uri="{9D8B030D-6E8A-4147-A177-3AD203B41FA5}">
                      <a16:colId xmlns:a16="http://schemas.microsoft.com/office/drawing/2014/main" val="2947341244"/>
                    </a:ext>
                  </a:extLst>
                </a:gridCol>
                <a:gridCol w="905792">
                  <a:extLst>
                    <a:ext uri="{9D8B030D-6E8A-4147-A177-3AD203B41FA5}">
                      <a16:colId xmlns:a16="http://schemas.microsoft.com/office/drawing/2014/main" val="1535384621"/>
                    </a:ext>
                  </a:extLst>
                </a:gridCol>
                <a:gridCol w="889019">
                  <a:extLst>
                    <a:ext uri="{9D8B030D-6E8A-4147-A177-3AD203B41FA5}">
                      <a16:colId xmlns:a16="http://schemas.microsoft.com/office/drawing/2014/main" val="3513704992"/>
                    </a:ext>
                  </a:extLst>
                </a:gridCol>
                <a:gridCol w="939340">
                  <a:extLst>
                    <a:ext uri="{9D8B030D-6E8A-4147-A177-3AD203B41FA5}">
                      <a16:colId xmlns:a16="http://schemas.microsoft.com/office/drawing/2014/main" val="3060117751"/>
                    </a:ext>
                  </a:extLst>
                </a:gridCol>
              </a:tblGrid>
              <a:tr h="395949">
                <a:tc>
                  <a:txBody>
                    <a:bodyPr/>
                    <a:lstStyle/>
                    <a:p>
                      <a:pPr algn="l" fontAlgn="b"/>
                      <a:r>
                        <a:rPr lang="en-GB" sz="1100" b="1" u="none" strike="noStrike" dirty="0" err="1">
                          <a:solidFill>
                            <a:schemeClr val="tx2"/>
                          </a:solidFill>
                          <a:effectLst/>
                        </a:rPr>
                        <a:t>Sektoren</a:t>
                      </a:r>
                      <a:r>
                        <a:rPr lang="en-GB" sz="1100" b="1" u="none" strike="noStrike" dirty="0">
                          <a:solidFill>
                            <a:schemeClr val="tx2"/>
                          </a:solidFill>
                          <a:effectLst/>
                        </a:rPr>
                        <a:t> USA</a:t>
                      </a:r>
                      <a:endParaRPr lang="en-GB" sz="1100" b="1" i="0" u="none" strike="noStrike" dirty="0">
                        <a:solidFill>
                          <a:schemeClr val="tx2"/>
                        </a:solidFill>
                        <a:effectLst/>
                        <a:latin typeface="Calibri" panose="020F0502020204030204" pitchFamily="34" charset="0"/>
                      </a:endParaRPr>
                    </a:p>
                  </a:txBody>
                  <a:tcPr marL="9525" marR="9525" marT="9525" marB="0" anchor="ctr"/>
                </a:tc>
                <a:tc>
                  <a:txBody>
                    <a:bodyPr/>
                    <a:lstStyle/>
                    <a:p>
                      <a:pPr algn="ctr" fontAlgn="b"/>
                      <a:r>
                        <a:rPr lang="en-GB" sz="1100" b="1" u="none" strike="noStrike" dirty="0">
                          <a:solidFill>
                            <a:schemeClr val="tx2"/>
                          </a:solidFill>
                          <a:effectLst/>
                        </a:rPr>
                        <a:t>Dez 2022</a:t>
                      </a:r>
                      <a:endParaRPr lang="en-GB" sz="1100" b="1" i="0" u="none" strike="noStrike" dirty="0">
                        <a:solidFill>
                          <a:schemeClr val="tx2"/>
                        </a:solidFill>
                        <a:effectLst/>
                        <a:latin typeface="Calibri" panose="020F0502020204030204" pitchFamily="34" charset="0"/>
                      </a:endParaRPr>
                    </a:p>
                  </a:txBody>
                  <a:tcPr marL="9525" marR="9525" marT="9525" marB="0" anchor="ctr"/>
                </a:tc>
                <a:tc>
                  <a:txBody>
                    <a:bodyPr/>
                    <a:lstStyle/>
                    <a:p>
                      <a:pPr algn="ctr" fontAlgn="b"/>
                      <a:r>
                        <a:rPr lang="en-GB" sz="1100" b="1" u="none" strike="noStrike" dirty="0">
                          <a:solidFill>
                            <a:schemeClr val="tx2"/>
                          </a:solidFill>
                          <a:effectLst/>
                        </a:rPr>
                        <a:t>Dez 2012</a:t>
                      </a:r>
                      <a:endParaRPr lang="en-GB" sz="1100" b="1" i="0" u="none" strike="noStrike" dirty="0">
                        <a:solidFill>
                          <a:schemeClr val="tx2"/>
                        </a:solidFill>
                        <a:effectLst/>
                        <a:latin typeface="Calibri" panose="020F0502020204030204" pitchFamily="34" charset="0"/>
                      </a:endParaRPr>
                    </a:p>
                  </a:txBody>
                  <a:tcPr marL="9525" marR="9525" marT="9525" marB="0" anchor="ctr"/>
                </a:tc>
                <a:tc>
                  <a:txBody>
                    <a:bodyPr/>
                    <a:lstStyle/>
                    <a:p>
                      <a:pPr algn="ctr" fontAlgn="b"/>
                      <a:r>
                        <a:rPr lang="en-GB" sz="1100" b="1" u="none" strike="noStrike" dirty="0" err="1">
                          <a:solidFill>
                            <a:schemeClr val="tx2"/>
                          </a:solidFill>
                          <a:effectLst/>
                        </a:rPr>
                        <a:t>Veränderung</a:t>
                      </a:r>
                      <a:endParaRPr lang="en-GB" sz="1100" b="1" i="0" u="none" strike="noStrike" dirty="0">
                        <a:solidFill>
                          <a:schemeClr val="tx2"/>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64301776"/>
                  </a:ext>
                </a:extLst>
              </a:tr>
              <a:tr h="395949">
                <a:tc>
                  <a:txBody>
                    <a:bodyPr/>
                    <a:lstStyle/>
                    <a:p>
                      <a:pPr algn="l" fontAlgn="b"/>
                      <a:r>
                        <a:rPr lang="en-GB" sz="1100" u="none" strike="noStrike" dirty="0">
                          <a:effectLst/>
                        </a:rPr>
                        <a:t>Tech</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dirty="0">
                          <a:solidFill>
                            <a:schemeClr val="dk1"/>
                          </a:solidFill>
                          <a:effectLst/>
                          <a:latin typeface="+mn-lt"/>
                          <a:ea typeface="+mn-ea"/>
                          <a:cs typeface="+mn-cs"/>
                        </a:rPr>
                        <a:t>25,7%</a:t>
                      </a:r>
                    </a:p>
                  </a:txBody>
                  <a:tcPr marL="9525" marR="9525" marT="9525" marB="0" anchor="ctr"/>
                </a:tc>
                <a:tc>
                  <a:txBody>
                    <a:bodyPr/>
                    <a:lstStyle/>
                    <a:p>
                      <a:pPr marL="0" algn="ctr" defTabSz="914400" rtl="0" eaLnBrk="1" fontAlgn="b" latinLnBrk="0" hangingPunct="1"/>
                      <a:r>
                        <a:rPr lang="en-GB" sz="1100" u="none" strike="noStrike" kern="1200" dirty="0">
                          <a:solidFill>
                            <a:schemeClr val="dk1"/>
                          </a:solidFill>
                          <a:effectLst/>
                          <a:latin typeface="+mn-lt"/>
                          <a:ea typeface="+mn-ea"/>
                          <a:cs typeface="+mn-cs"/>
                        </a:rPr>
                        <a:t>16,6%</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9,1%</a:t>
                      </a:r>
                    </a:p>
                  </a:txBody>
                  <a:tcPr marL="9525" marR="9525" marT="9525" marB="0" anchor="ctr"/>
                </a:tc>
                <a:extLst>
                  <a:ext uri="{0D108BD9-81ED-4DB2-BD59-A6C34878D82A}">
                    <a16:rowId xmlns:a16="http://schemas.microsoft.com/office/drawing/2014/main" val="903134982"/>
                  </a:ext>
                </a:extLst>
              </a:tr>
              <a:tr h="395949">
                <a:tc>
                  <a:txBody>
                    <a:bodyPr/>
                    <a:lstStyle/>
                    <a:p>
                      <a:pPr algn="l" fontAlgn="b"/>
                      <a:r>
                        <a:rPr lang="en-GB" sz="1100" u="none" strike="noStrike" dirty="0">
                          <a:effectLst/>
                        </a:rPr>
                        <a:t>Health Care</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dirty="0">
                          <a:solidFill>
                            <a:schemeClr val="dk1"/>
                          </a:solidFill>
                          <a:effectLst/>
                          <a:latin typeface="+mn-lt"/>
                          <a:ea typeface="+mn-ea"/>
                          <a:cs typeface="+mn-cs"/>
                        </a:rPr>
                        <a:t>15,8%</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12,5%</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3,3%</a:t>
                      </a:r>
                    </a:p>
                  </a:txBody>
                  <a:tcPr marL="9525" marR="9525" marT="9525" marB="0" anchor="ctr"/>
                </a:tc>
                <a:extLst>
                  <a:ext uri="{0D108BD9-81ED-4DB2-BD59-A6C34878D82A}">
                    <a16:rowId xmlns:a16="http://schemas.microsoft.com/office/drawing/2014/main" val="714203504"/>
                  </a:ext>
                </a:extLst>
              </a:tr>
              <a:tr h="395949">
                <a:tc>
                  <a:txBody>
                    <a:bodyPr/>
                    <a:lstStyle/>
                    <a:p>
                      <a:pPr algn="l" fontAlgn="b"/>
                      <a:r>
                        <a:rPr lang="en-GB" sz="1100" u="none" strike="noStrike" dirty="0">
                          <a:effectLst/>
                        </a:rPr>
                        <a:t>Con. </a:t>
                      </a:r>
                      <a:r>
                        <a:rPr lang="en-GB" sz="1100" u="none" strike="noStrike" dirty="0" err="1">
                          <a:effectLst/>
                        </a:rPr>
                        <a:t>Discret</a:t>
                      </a:r>
                      <a:r>
                        <a:rPr lang="en-GB" sz="1100" u="none" strike="noStrike" dirty="0">
                          <a:effectLst/>
                        </a:rPr>
                        <a:t>.</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9,7%</a:t>
                      </a:r>
                    </a:p>
                  </a:txBody>
                  <a:tcPr marL="9525" marR="9525" marT="9525" marB="0" anchor="ctr"/>
                </a:tc>
                <a:tc>
                  <a:txBody>
                    <a:bodyPr/>
                    <a:lstStyle/>
                    <a:p>
                      <a:pPr marL="0" algn="ctr" defTabSz="914400" rtl="0" eaLnBrk="1" fontAlgn="b" latinLnBrk="0" hangingPunct="1"/>
                      <a:r>
                        <a:rPr lang="en-GB" sz="1100" u="none" strike="noStrike" kern="1200" dirty="0">
                          <a:solidFill>
                            <a:schemeClr val="dk1"/>
                          </a:solidFill>
                          <a:effectLst/>
                          <a:latin typeface="+mn-lt"/>
                          <a:ea typeface="+mn-ea"/>
                          <a:cs typeface="+mn-cs"/>
                        </a:rPr>
                        <a:t>8,3%</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1,4%</a:t>
                      </a:r>
                    </a:p>
                  </a:txBody>
                  <a:tcPr marL="9525" marR="9525" marT="9525" marB="0" anchor="ctr"/>
                </a:tc>
                <a:extLst>
                  <a:ext uri="{0D108BD9-81ED-4DB2-BD59-A6C34878D82A}">
                    <a16:rowId xmlns:a16="http://schemas.microsoft.com/office/drawing/2014/main" val="2676841983"/>
                  </a:ext>
                </a:extLst>
              </a:tr>
              <a:tr h="395949">
                <a:tc>
                  <a:txBody>
                    <a:bodyPr/>
                    <a:lstStyle/>
                    <a:p>
                      <a:pPr algn="l" fontAlgn="b"/>
                      <a:r>
                        <a:rPr lang="en-GB" sz="1100" u="none" strike="noStrike" dirty="0">
                          <a:effectLst/>
                        </a:rPr>
                        <a:t>Financials</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11,6%</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13,4%</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1,8%</a:t>
                      </a:r>
                    </a:p>
                  </a:txBody>
                  <a:tcPr marL="9525" marR="9525" marT="9525" marB="0" anchor="ctr"/>
                </a:tc>
                <a:extLst>
                  <a:ext uri="{0D108BD9-81ED-4DB2-BD59-A6C34878D82A}">
                    <a16:rowId xmlns:a16="http://schemas.microsoft.com/office/drawing/2014/main" val="1763640042"/>
                  </a:ext>
                </a:extLst>
              </a:tr>
              <a:tr h="395949">
                <a:tc>
                  <a:txBody>
                    <a:bodyPr/>
                    <a:lstStyle/>
                    <a:p>
                      <a:pPr algn="l" fontAlgn="b"/>
                      <a:r>
                        <a:rPr lang="en-GB" sz="1100" u="none" strike="noStrike" dirty="0">
                          <a:effectLst/>
                        </a:rPr>
                        <a:t>Communication</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7,3%</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7,6%</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0,3%</a:t>
                      </a:r>
                    </a:p>
                  </a:txBody>
                  <a:tcPr marL="9525" marR="9525" marT="9525" marB="0" anchor="ctr"/>
                </a:tc>
                <a:extLst>
                  <a:ext uri="{0D108BD9-81ED-4DB2-BD59-A6C34878D82A}">
                    <a16:rowId xmlns:a16="http://schemas.microsoft.com/office/drawing/2014/main" val="2600888226"/>
                  </a:ext>
                </a:extLst>
              </a:tr>
              <a:tr h="395949">
                <a:tc>
                  <a:txBody>
                    <a:bodyPr/>
                    <a:lstStyle/>
                    <a:p>
                      <a:pPr algn="l" fontAlgn="b"/>
                      <a:r>
                        <a:rPr lang="en-GB" sz="1100" u="none" strike="noStrike" dirty="0">
                          <a:effectLst/>
                        </a:rPr>
                        <a:t>Industrials</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8,6%</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9,8%</a:t>
                      </a:r>
                    </a:p>
                  </a:txBody>
                  <a:tcPr marL="9525" marR="9525" marT="9525" marB="0" anchor="ctr"/>
                </a:tc>
                <a:tc>
                  <a:txBody>
                    <a:bodyPr/>
                    <a:lstStyle/>
                    <a:p>
                      <a:pPr marL="0" algn="ctr" defTabSz="914400" rtl="0" eaLnBrk="1" fontAlgn="b" latinLnBrk="0" hangingPunct="1"/>
                      <a:r>
                        <a:rPr lang="en-GB" sz="1100" u="none" strike="noStrike" kern="1200" dirty="0">
                          <a:solidFill>
                            <a:schemeClr val="dk1"/>
                          </a:solidFill>
                          <a:effectLst/>
                          <a:latin typeface="+mn-lt"/>
                          <a:ea typeface="+mn-ea"/>
                          <a:cs typeface="+mn-cs"/>
                        </a:rPr>
                        <a:t>-1,2%</a:t>
                      </a:r>
                    </a:p>
                  </a:txBody>
                  <a:tcPr marL="9525" marR="9525" marT="9525" marB="0" anchor="ctr"/>
                </a:tc>
                <a:extLst>
                  <a:ext uri="{0D108BD9-81ED-4DB2-BD59-A6C34878D82A}">
                    <a16:rowId xmlns:a16="http://schemas.microsoft.com/office/drawing/2014/main" val="2780729834"/>
                  </a:ext>
                </a:extLst>
              </a:tr>
              <a:tr h="395949">
                <a:tc>
                  <a:txBody>
                    <a:bodyPr/>
                    <a:lstStyle/>
                    <a:p>
                      <a:pPr algn="l" fontAlgn="b"/>
                      <a:r>
                        <a:rPr lang="en-GB" sz="1100" u="none" strike="noStrike">
                          <a:effectLst/>
                        </a:rPr>
                        <a:t>Cons. Staples</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7,2%</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9,9%</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2,7%</a:t>
                      </a:r>
                    </a:p>
                  </a:txBody>
                  <a:tcPr marL="9525" marR="9525" marT="9525" marB="0" anchor="ctr"/>
                </a:tc>
                <a:extLst>
                  <a:ext uri="{0D108BD9-81ED-4DB2-BD59-A6C34878D82A}">
                    <a16:rowId xmlns:a16="http://schemas.microsoft.com/office/drawing/2014/main" val="2662253587"/>
                  </a:ext>
                </a:extLst>
              </a:tr>
              <a:tr h="395949">
                <a:tc>
                  <a:txBody>
                    <a:bodyPr/>
                    <a:lstStyle/>
                    <a:p>
                      <a:pPr algn="l" fontAlgn="b"/>
                      <a:r>
                        <a:rPr lang="en-GB" sz="1100" u="none" strike="noStrike" dirty="0">
                          <a:effectLst/>
                        </a:rPr>
                        <a:t>Energ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5,2%</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11,0%</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5,8%</a:t>
                      </a:r>
                    </a:p>
                  </a:txBody>
                  <a:tcPr marL="9525" marR="9525" marT="9525" marB="0" anchor="ctr"/>
                </a:tc>
                <a:extLst>
                  <a:ext uri="{0D108BD9-81ED-4DB2-BD59-A6C34878D82A}">
                    <a16:rowId xmlns:a16="http://schemas.microsoft.com/office/drawing/2014/main" val="605613971"/>
                  </a:ext>
                </a:extLst>
              </a:tr>
              <a:tr h="395949">
                <a:tc>
                  <a:txBody>
                    <a:bodyPr/>
                    <a:lstStyle/>
                    <a:p>
                      <a:pPr algn="l" fontAlgn="b"/>
                      <a:r>
                        <a:rPr lang="en-GB" sz="1100" u="none" strike="noStrike" dirty="0">
                          <a:effectLst/>
                        </a:rPr>
                        <a:t>Utilities</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3,2%</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3,4%</a:t>
                      </a:r>
                    </a:p>
                  </a:txBody>
                  <a:tcPr marL="9525" marR="9525" marT="9525" marB="0" anchor="ctr"/>
                </a:tc>
                <a:tc>
                  <a:txBody>
                    <a:bodyPr/>
                    <a:lstStyle/>
                    <a:p>
                      <a:pPr marL="0" algn="ctr" defTabSz="914400" rtl="0" eaLnBrk="1" fontAlgn="b" latinLnBrk="0" hangingPunct="1"/>
                      <a:r>
                        <a:rPr lang="en-GB" sz="1100" u="none" strike="noStrike" kern="1200" dirty="0">
                          <a:solidFill>
                            <a:schemeClr val="dk1"/>
                          </a:solidFill>
                          <a:effectLst/>
                          <a:latin typeface="+mn-lt"/>
                          <a:ea typeface="+mn-ea"/>
                          <a:cs typeface="+mn-cs"/>
                        </a:rPr>
                        <a:t>-0,2%</a:t>
                      </a:r>
                    </a:p>
                  </a:txBody>
                  <a:tcPr marL="9525" marR="9525" marT="9525" marB="0" anchor="ctr"/>
                </a:tc>
                <a:extLst>
                  <a:ext uri="{0D108BD9-81ED-4DB2-BD59-A6C34878D82A}">
                    <a16:rowId xmlns:a16="http://schemas.microsoft.com/office/drawing/2014/main" val="1485857066"/>
                  </a:ext>
                </a:extLst>
              </a:tr>
              <a:tr h="395949">
                <a:tc>
                  <a:txBody>
                    <a:bodyPr/>
                    <a:lstStyle/>
                    <a:p>
                      <a:pPr algn="l" fontAlgn="b"/>
                      <a:r>
                        <a:rPr lang="en-GB" sz="1100" u="none" strike="noStrike" dirty="0">
                          <a:effectLst/>
                        </a:rPr>
                        <a:t>Real Estate</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2,7%</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2,5%</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0,2%</a:t>
                      </a:r>
                    </a:p>
                  </a:txBody>
                  <a:tcPr marL="9525" marR="9525" marT="9525" marB="0" anchor="ctr"/>
                </a:tc>
                <a:extLst>
                  <a:ext uri="{0D108BD9-81ED-4DB2-BD59-A6C34878D82A}">
                    <a16:rowId xmlns:a16="http://schemas.microsoft.com/office/drawing/2014/main" val="2697444391"/>
                  </a:ext>
                </a:extLst>
              </a:tr>
              <a:tr h="395949">
                <a:tc>
                  <a:txBody>
                    <a:bodyPr/>
                    <a:lstStyle/>
                    <a:p>
                      <a:pPr algn="l" fontAlgn="b"/>
                      <a:r>
                        <a:rPr lang="en-GB" sz="1100" u="none" strike="noStrike" dirty="0">
                          <a:effectLst/>
                        </a:rPr>
                        <a:t>Materials</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2,7%</a:t>
                      </a:r>
                    </a:p>
                  </a:txBody>
                  <a:tcPr marL="9525" marR="9525" marT="9525" marB="0" anchor="ctr"/>
                </a:tc>
                <a:tc>
                  <a:txBody>
                    <a:bodyPr/>
                    <a:lstStyle/>
                    <a:p>
                      <a:pPr marL="0" algn="ctr" defTabSz="914400" rtl="0" eaLnBrk="1" fontAlgn="b" latinLnBrk="0" hangingPunct="1"/>
                      <a:r>
                        <a:rPr lang="en-GB" sz="1100" u="none" strike="noStrike" kern="1200">
                          <a:solidFill>
                            <a:schemeClr val="dk1"/>
                          </a:solidFill>
                          <a:effectLst/>
                          <a:latin typeface="+mn-lt"/>
                          <a:ea typeface="+mn-ea"/>
                          <a:cs typeface="+mn-cs"/>
                        </a:rPr>
                        <a:t>3,6%</a:t>
                      </a:r>
                    </a:p>
                  </a:txBody>
                  <a:tcPr marL="9525" marR="9525" marT="9525" marB="0" anchor="ctr"/>
                </a:tc>
                <a:tc>
                  <a:txBody>
                    <a:bodyPr/>
                    <a:lstStyle/>
                    <a:p>
                      <a:pPr marL="0" algn="ctr" defTabSz="914400" rtl="0" eaLnBrk="1" fontAlgn="b" latinLnBrk="0" hangingPunct="1"/>
                      <a:r>
                        <a:rPr lang="en-GB" sz="1100" u="none" strike="noStrike" kern="1200" dirty="0">
                          <a:solidFill>
                            <a:schemeClr val="dk1"/>
                          </a:solidFill>
                          <a:effectLst/>
                          <a:latin typeface="+mn-lt"/>
                          <a:ea typeface="+mn-ea"/>
                          <a:cs typeface="+mn-cs"/>
                        </a:rPr>
                        <a:t>-0,9%</a:t>
                      </a:r>
                    </a:p>
                  </a:txBody>
                  <a:tcPr marL="9525" marR="9525" marT="9525" marB="0" anchor="ctr"/>
                </a:tc>
                <a:extLst>
                  <a:ext uri="{0D108BD9-81ED-4DB2-BD59-A6C34878D82A}">
                    <a16:rowId xmlns:a16="http://schemas.microsoft.com/office/drawing/2014/main" val="2809975064"/>
                  </a:ext>
                </a:extLst>
              </a:tr>
            </a:tbl>
          </a:graphicData>
        </a:graphic>
      </p:graphicFrame>
      <p:graphicFrame>
        <p:nvGraphicFramePr>
          <p:cNvPr id="10" name="Content Placeholder 9">
            <a:extLst>
              <a:ext uri="{FF2B5EF4-FFF2-40B4-BE49-F238E27FC236}">
                <a16:creationId xmlns:a16="http://schemas.microsoft.com/office/drawing/2014/main" id="{34941973-57FF-4C1A-8780-2374866D3F82}"/>
              </a:ext>
            </a:extLst>
          </p:cNvPr>
          <p:cNvGraphicFramePr>
            <a:graphicFrameLocks noGrp="1"/>
          </p:cNvGraphicFramePr>
          <p:nvPr>
            <p:ph sz="half" idx="2"/>
            <p:extLst>
              <p:ext uri="{D42A27DB-BD31-4B8C-83A1-F6EECF244321}">
                <p14:modId xmlns:p14="http://schemas.microsoft.com/office/powerpoint/2010/main" val="12477552"/>
              </p:ext>
            </p:extLst>
          </p:nvPr>
        </p:nvGraphicFramePr>
        <p:xfrm>
          <a:off x="4730365" y="1280840"/>
          <a:ext cx="4176707" cy="4751388"/>
        </p:xfrm>
        <a:graphic>
          <a:graphicData uri="http://schemas.openxmlformats.org/drawingml/2006/table">
            <a:tbl>
              <a:tblPr>
                <a:tableStyleId>{7D95DDBC-5C31-40A9-B56D-BDF15E579DC0}</a:tableStyleId>
              </a:tblPr>
              <a:tblGrid>
                <a:gridCol w="1442558">
                  <a:extLst>
                    <a:ext uri="{9D8B030D-6E8A-4147-A177-3AD203B41FA5}">
                      <a16:colId xmlns:a16="http://schemas.microsoft.com/office/drawing/2014/main" val="3946044479"/>
                    </a:ext>
                  </a:extLst>
                </a:gridCol>
                <a:gridCol w="905792">
                  <a:extLst>
                    <a:ext uri="{9D8B030D-6E8A-4147-A177-3AD203B41FA5}">
                      <a16:colId xmlns:a16="http://schemas.microsoft.com/office/drawing/2014/main" val="426836904"/>
                    </a:ext>
                  </a:extLst>
                </a:gridCol>
                <a:gridCol w="889018">
                  <a:extLst>
                    <a:ext uri="{9D8B030D-6E8A-4147-A177-3AD203B41FA5}">
                      <a16:colId xmlns:a16="http://schemas.microsoft.com/office/drawing/2014/main" val="2219673671"/>
                    </a:ext>
                  </a:extLst>
                </a:gridCol>
                <a:gridCol w="939339">
                  <a:extLst>
                    <a:ext uri="{9D8B030D-6E8A-4147-A177-3AD203B41FA5}">
                      <a16:colId xmlns:a16="http://schemas.microsoft.com/office/drawing/2014/main" val="1198181512"/>
                    </a:ext>
                  </a:extLst>
                </a:gridCol>
              </a:tblGrid>
              <a:tr h="395949">
                <a:tc>
                  <a:txBody>
                    <a:bodyPr/>
                    <a:lstStyle/>
                    <a:p>
                      <a:pPr algn="l" fontAlgn="b"/>
                      <a:r>
                        <a:rPr lang="en-GB" sz="1100" b="1" u="none" strike="noStrike" dirty="0" err="1">
                          <a:solidFill>
                            <a:schemeClr val="tx2"/>
                          </a:solidFill>
                          <a:effectLst/>
                        </a:rPr>
                        <a:t>Sektoren</a:t>
                      </a:r>
                      <a:r>
                        <a:rPr lang="en-GB" sz="1100" b="1" u="none" strike="noStrike" dirty="0">
                          <a:solidFill>
                            <a:schemeClr val="tx2"/>
                          </a:solidFill>
                          <a:effectLst/>
                        </a:rPr>
                        <a:t> Europa</a:t>
                      </a:r>
                      <a:endParaRPr lang="en-GB" sz="1100" b="1" i="0" u="none" strike="noStrike" dirty="0">
                        <a:solidFill>
                          <a:schemeClr val="tx2"/>
                        </a:solidFill>
                        <a:effectLst/>
                        <a:latin typeface="Calibri" panose="020F0502020204030204" pitchFamily="34" charset="0"/>
                      </a:endParaRPr>
                    </a:p>
                  </a:txBody>
                  <a:tcPr marL="9525" marR="9525" marT="9525" marB="0" anchor="ctr"/>
                </a:tc>
                <a:tc>
                  <a:txBody>
                    <a:bodyPr/>
                    <a:lstStyle/>
                    <a:p>
                      <a:pPr algn="ctr" fontAlgn="b"/>
                      <a:r>
                        <a:rPr lang="en-GB" sz="1100" b="1" u="none" strike="noStrike" dirty="0">
                          <a:solidFill>
                            <a:schemeClr val="tx2"/>
                          </a:solidFill>
                          <a:effectLst/>
                        </a:rPr>
                        <a:t>Dez 2022</a:t>
                      </a:r>
                      <a:endParaRPr lang="en-GB" sz="1100" b="1" i="0" u="none" strike="noStrike" dirty="0">
                        <a:solidFill>
                          <a:schemeClr val="tx2"/>
                        </a:solidFill>
                        <a:effectLst/>
                        <a:latin typeface="Calibri" panose="020F0502020204030204" pitchFamily="34" charset="0"/>
                      </a:endParaRPr>
                    </a:p>
                  </a:txBody>
                  <a:tcPr marL="9525" marR="9525" marT="9525" marB="0" anchor="ctr"/>
                </a:tc>
                <a:tc>
                  <a:txBody>
                    <a:bodyPr/>
                    <a:lstStyle/>
                    <a:p>
                      <a:pPr algn="ctr" fontAlgn="b"/>
                      <a:r>
                        <a:rPr lang="en-GB" sz="1100" b="1" u="none" strike="noStrike" dirty="0">
                          <a:solidFill>
                            <a:schemeClr val="tx2"/>
                          </a:solidFill>
                          <a:effectLst/>
                        </a:rPr>
                        <a:t>Dez 2012</a:t>
                      </a:r>
                      <a:endParaRPr lang="en-GB" sz="1100" b="1" i="0" u="none" strike="noStrike" dirty="0">
                        <a:solidFill>
                          <a:schemeClr val="tx2"/>
                        </a:solidFill>
                        <a:effectLst/>
                        <a:latin typeface="Calibri" panose="020F0502020204030204" pitchFamily="34" charset="0"/>
                      </a:endParaRPr>
                    </a:p>
                  </a:txBody>
                  <a:tcPr marL="9525" marR="9525" marT="9525" marB="0" anchor="ctr"/>
                </a:tc>
                <a:tc>
                  <a:txBody>
                    <a:bodyPr/>
                    <a:lstStyle/>
                    <a:p>
                      <a:pPr algn="ctr" fontAlgn="b"/>
                      <a:r>
                        <a:rPr lang="en-GB" sz="1100" b="1" u="none" strike="noStrike">
                          <a:solidFill>
                            <a:schemeClr val="tx2"/>
                          </a:solidFill>
                          <a:effectLst/>
                        </a:rPr>
                        <a:t>Veränderung</a:t>
                      </a:r>
                      <a:endParaRPr lang="en-GB" sz="1100" b="1" i="0" u="none" strike="noStrike" dirty="0">
                        <a:solidFill>
                          <a:schemeClr val="tx2"/>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247835039"/>
                  </a:ext>
                </a:extLst>
              </a:tr>
              <a:tr h="395949">
                <a:tc>
                  <a:txBody>
                    <a:bodyPr/>
                    <a:lstStyle/>
                    <a:p>
                      <a:pPr algn="l" fontAlgn="b"/>
                      <a:r>
                        <a:rPr lang="en-GB" sz="1100" u="none" strike="noStrike" dirty="0">
                          <a:effectLst/>
                        </a:rPr>
                        <a:t>Tech</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7,0%</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3,5%</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3,5%</a:t>
                      </a:r>
                    </a:p>
                  </a:txBody>
                  <a:tcPr marL="9525" marR="9525" marT="9525" marB="0" anchor="ctr"/>
                </a:tc>
                <a:extLst>
                  <a:ext uri="{0D108BD9-81ED-4DB2-BD59-A6C34878D82A}">
                    <a16:rowId xmlns:a16="http://schemas.microsoft.com/office/drawing/2014/main" val="4049100492"/>
                  </a:ext>
                </a:extLst>
              </a:tr>
              <a:tr h="395949">
                <a:tc>
                  <a:txBody>
                    <a:bodyPr/>
                    <a:lstStyle/>
                    <a:p>
                      <a:pPr algn="l" fontAlgn="b"/>
                      <a:r>
                        <a:rPr lang="en-GB" sz="1100" u="none" strike="noStrike">
                          <a:effectLst/>
                        </a:rPr>
                        <a:t>Health Car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15,3%</a:t>
                      </a: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12,4%</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2,9%</a:t>
                      </a:r>
                    </a:p>
                  </a:txBody>
                  <a:tcPr marL="9525" marR="9525" marT="9525" marB="0" anchor="ctr"/>
                </a:tc>
                <a:extLst>
                  <a:ext uri="{0D108BD9-81ED-4DB2-BD59-A6C34878D82A}">
                    <a16:rowId xmlns:a16="http://schemas.microsoft.com/office/drawing/2014/main" val="3377135010"/>
                  </a:ext>
                </a:extLst>
              </a:tr>
              <a:tr h="395949">
                <a:tc>
                  <a:txBody>
                    <a:bodyPr/>
                    <a:lstStyle/>
                    <a:p>
                      <a:pPr algn="l" fontAlgn="b"/>
                      <a:r>
                        <a:rPr lang="en-GB" sz="1100" u="none" strike="noStrike">
                          <a:effectLst/>
                        </a:rPr>
                        <a:t>Con. Discret.</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9,8%</a:t>
                      </a: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7,7%</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2,1%</a:t>
                      </a:r>
                    </a:p>
                  </a:txBody>
                  <a:tcPr marL="9525" marR="9525" marT="9525" marB="0" anchor="ctr"/>
                </a:tc>
                <a:extLst>
                  <a:ext uri="{0D108BD9-81ED-4DB2-BD59-A6C34878D82A}">
                    <a16:rowId xmlns:a16="http://schemas.microsoft.com/office/drawing/2014/main" val="2599041783"/>
                  </a:ext>
                </a:extLst>
              </a:tr>
              <a:tr h="395949">
                <a:tc>
                  <a:txBody>
                    <a:bodyPr/>
                    <a:lstStyle/>
                    <a:p>
                      <a:pPr algn="l" fontAlgn="b"/>
                      <a:r>
                        <a:rPr lang="en-GB" sz="1100" u="none" strike="noStrike">
                          <a:effectLst/>
                        </a:rPr>
                        <a:t>Financials</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16,6%</a:t>
                      </a: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19,6%</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3,0%</a:t>
                      </a:r>
                    </a:p>
                  </a:txBody>
                  <a:tcPr marL="9525" marR="9525" marT="9525" marB="0" anchor="ctr"/>
                </a:tc>
                <a:extLst>
                  <a:ext uri="{0D108BD9-81ED-4DB2-BD59-A6C34878D82A}">
                    <a16:rowId xmlns:a16="http://schemas.microsoft.com/office/drawing/2014/main" val="2675487174"/>
                  </a:ext>
                </a:extLst>
              </a:tr>
              <a:tr h="395949">
                <a:tc>
                  <a:txBody>
                    <a:bodyPr/>
                    <a:lstStyle/>
                    <a:p>
                      <a:pPr algn="l" fontAlgn="b"/>
                      <a:r>
                        <a:rPr lang="en-GB" sz="1100" u="none" strike="noStrike" dirty="0">
                          <a:effectLst/>
                        </a:rPr>
                        <a:t>Communication</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3,3%</a:t>
                      </a: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6,6%</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3,3%</a:t>
                      </a:r>
                    </a:p>
                  </a:txBody>
                  <a:tcPr marL="9525" marR="9525" marT="9525" marB="0" anchor="ctr"/>
                </a:tc>
                <a:extLst>
                  <a:ext uri="{0D108BD9-81ED-4DB2-BD59-A6C34878D82A}">
                    <a16:rowId xmlns:a16="http://schemas.microsoft.com/office/drawing/2014/main" val="748608944"/>
                  </a:ext>
                </a:extLst>
              </a:tr>
              <a:tr h="395949">
                <a:tc>
                  <a:txBody>
                    <a:bodyPr/>
                    <a:lstStyle/>
                    <a:p>
                      <a:pPr algn="l" fontAlgn="b"/>
                      <a:r>
                        <a:rPr lang="en-GB" sz="1100" u="none" strike="noStrike">
                          <a:effectLst/>
                        </a:rPr>
                        <a:t>Industrials</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14,7%</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11,6%</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3,1%</a:t>
                      </a:r>
                    </a:p>
                  </a:txBody>
                  <a:tcPr marL="9525" marR="9525" marT="9525" marB="0" anchor="ctr"/>
                </a:tc>
                <a:extLst>
                  <a:ext uri="{0D108BD9-81ED-4DB2-BD59-A6C34878D82A}">
                    <a16:rowId xmlns:a16="http://schemas.microsoft.com/office/drawing/2014/main" val="3642537532"/>
                  </a:ext>
                </a:extLst>
              </a:tr>
              <a:tr h="395949">
                <a:tc>
                  <a:txBody>
                    <a:bodyPr/>
                    <a:lstStyle/>
                    <a:p>
                      <a:pPr algn="l" fontAlgn="b"/>
                      <a:r>
                        <a:rPr lang="en-GB" sz="1100" u="none" strike="noStrike" dirty="0">
                          <a:effectLst/>
                        </a:rPr>
                        <a:t>Cons. Staples</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12,1%</a:t>
                      </a: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13,9%</a:t>
                      </a: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1,8%</a:t>
                      </a:r>
                    </a:p>
                  </a:txBody>
                  <a:tcPr marL="9525" marR="9525" marT="9525" marB="0" anchor="ctr"/>
                </a:tc>
                <a:extLst>
                  <a:ext uri="{0D108BD9-81ED-4DB2-BD59-A6C34878D82A}">
                    <a16:rowId xmlns:a16="http://schemas.microsoft.com/office/drawing/2014/main" val="2549725185"/>
                  </a:ext>
                </a:extLst>
              </a:tr>
              <a:tr h="395949">
                <a:tc>
                  <a:txBody>
                    <a:bodyPr/>
                    <a:lstStyle/>
                    <a:p>
                      <a:pPr algn="l" fontAlgn="b"/>
                      <a:r>
                        <a:rPr lang="en-GB" sz="1100" u="none" strike="noStrike">
                          <a:effectLst/>
                        </a:rPr>
                        <a:t>Energ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6,3%</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8,9%</a:t>
                      </a: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2,6%</a:t>
                      </a:r>
                    </a:p>
                  </a:txBody>
                  <a:tcPr marL="9525" marR="9525" marT="9525" marB="0" anchor="ctr"/>
                </a:tc>
                <a:extLst>
                  <a:ext uri="{0D108BD9-81ED-4DB2-BD59-A6C34878D82A}">
                    <a16:rowId xmlns:a16="http://schemas.microsoft.com/office/drawing/2014/main" val="2029315709"/>
                  </a:ext>
                </a:extLst>
              </a:tr>
              <a:tr h="395949">
                <a:tc>
                  <a:txBody>
                    <a:bodyPr/>
                    <a:lstStyle/>
                    <a:p>
                      <a:pPr algn="l" fontAlgn="b"/>
                      <a:r>
                        <a:rPr lang="en-GB" sz="1100" u="none" strike="noStrike">
                          <a:effectLst/>
                        </a:rPr>
                        <a:t>Utilities</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4,2%</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4,4%</a:t>
                      </a: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0,2%</a:t>
                      </a:r>
                    </a:p>
                  </a:txBody>
                  <a:tcPr marL="9525" marR="9525" marT="9525" marB="0" anchor="ctr"/>
                </a:tc>
                <a:extLst>
                  <a:ext uri="{0D108BD9-81ED-4DB2-BD59-A6C34878D82A}">
                    <a16:rowId xmlns:a16="http://schemas.microsoft.com/office/drawing/2014/main" val="3390103436"/>
                  </a:ext>
                </a:extLst>
              </a:tr>
              <a:tr h="395949">
                <a:tc>
                  <a:txBody>
                    <a:bodyPr/>
                    <a:lstStyle/>
                    <a:p>
                      <a:pPr algn="l" fontAlgn="b"/>
                      <a:r>
                        <a:rPr lang="en-GB" sz="1100" u="none" strike="noStrike">
                          <a:effectLst/>
                        </a:rPr>
                        <a:t>Real Est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1,3%</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1,5%</a:t>
                      </a: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0,2%</a:t>
                      </a:r>
                    </a:p>
                  </a:txBody>
                  <a:tcPr marL="9525" marR="9525" marT="9525" marB="0" anchor="ctr"/>
                </a:tc>
                <a:extLst>
                  <a:ext uri="{0D108BD9-81ED-4DB2-BD59-A6C34878D82A}">
                    <a16:rowId xmlns:a16="http://schemas.microsoft.com/office/drawing/2014/main" val="2671382323"/>
                  </a:ext>
                </a:extLst>
              </a:tr>
              <a:tr h="395949">
                <a:tc>
                  <a:txBody>
                    <a:bodyPr/>
                    <a:lstStyle/>
                    <a:p>
                      <a:pPr algn="l" fontAlgn="b"/>
                      <a:r>
                        <a:rPr lang="en-GB" sz="1100" u="none" strike="noStrike">
                          <a:effectLst/>
                        </a:rPr>
                        <a:t>Materials</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8,9%</a:t>
                      </a:r>
                    </a:p>
                  </a:txBody>
                  <a:tcPr marL="9525" marR="9525" marT="9525" marB="0" anchor="ctr"/>
                </a:tc>
                <a:tc>
                  <a:txBody>
                    <a:bodyPr/>
                    <a:lstStyle/>
                    <a:p>
                      <a:pPr algn="ctr" fontAlgn="b"/>
                      <a:r>
                        <a:rPr lang="en-GB" sz="1100" u="none" strike="noStrike" kern="1200">
                          <a:solidFill>
                            <a:schemeClr val="dk1"/>
                          </a:solidFill>
                          <a:effectLst/>
                          <a:latin typeface="+mn-lt"/>
                          <a:ea typeface="+mn-ea"/>
                          <a:cs typeface="+mn-cs"/>
                        </a:rPr>
                        <a:t>9,4%</a:t>
                      </a:r>
                    </a:p>
                  </a:txBody>
                  <a:tcPr marL="9525" marR="9525" marT="9525" marB="0" anchor="ctr"/>
                </a:tc>
                <a:tc>
                  <a:txBody>
                    <a:bodyPr/>
                    <a:lstStyle/>
                    <a:p>
                      <a:pPr algn="ctr" fontAlgn="b"/>
                      <a:r>
                        <a:rPr lang="en-GB" sz="1100" u="none" strike="noStrike" kern="1200" dirty="0">
                          <a:solidFill>
                            <a:schemeClr val="dk1"/>
                          </a:solidFill>
                          <a:effectLst/>
                          <a:latin typeface="+mn-lt"/>
                          <a:ea typeface="+mn-ea"/>
                          <a:cs typeface="+mn-cs"/>
                        </a:rPr>
                        <a:t>-0,5%</a:t>
                      </a:r>
                    </a:p>
                  </a:txBody>
                  <a:tcPr marL="9525" marR="9525" marT="9525" marB="0" anchor="ctr"/>
                </a:tc>
                <a:extLst>
                  <a:ext uri="{0D108BD9-81ED-4DB2-BD59-A6C34878D82A}">
                    <a16:rowId xmlns:a16="http://schemas.microsoft.com/office/drawing/2014/main" val="3683337534"/>
                  </a:ext>
                </a:extLst>
              </a:tr>
            </a:tbl>
          </a:graphicData>
        </a:graphic>
      </p:graphicFrame>
      <p:sp>
        <p:nvSpPr>
          <p:cNvPr id="4" name="Footer Placeholder 3">
            <a:extLst>
              <a:ext uri="{FF2B5EF4-FFF2-40B4-BE49-F238E27FC236}">
                <a16:creationId xmlns:a16="http://schemas.microsoft.com/office/drawing/2014/main" id="{55E565C5-6BD3-4BBB-81DB-E2EA215412C4}"/>
              </a:ext>
            </a:extLst>
          </p:cNvPr>
          <p:cNvSpPr>
            <a:spLocks noGrp="1"/>
          </p:cNvSpPr>
          <p:nvPr>
            <p:ph type="ftr" sz="quarter" idx="11"/>
          </p:nvPr>
        </p:nvSpPr>
        <p:spPr/>
        <p:txBody>
          <a:bodyPr/>
          <a:lstStyle/>
          <a:p>
            <a:r>
              <a:rPr lang="de-DE">
                <a:solidFill>
                  <a:prstClr val="black"/>
                </a:solidFill>
              </a:rPr>
              <a:t>GIC</a:t>
            </a:r>
            <a:endParaRPr lang="de-DE" dirty="0">
              <a:solidFill>
                <a:prstClr val="black"/>
              </a:solidFill>
            </a:endParaRPr>
          </a:p>
        </p:txBody>
      </p:sp>
      <p:sp>
        <p:nvSpPr>
          <p:cNvPr id="5" name="Slide Number Placeholder 4">
            <a:extLst>
              <a:ext uri="{FF2B5EF4-FFF2-40B4-BE49-F238E27FC236}">
                <a16:creationId xmlns:a16="http://schemas.microsoft.com/office/drawing/2014/main" id="{0F079262-29A2-49C6-B145-DDB7FC1F49B3}"/>
              </a:ext>
            </a:extLst>
          </p:cNvPr>
          <p:cNvSpPr>
            <a:spLocks noGrp="1"/>
          </p:cNvSpPr>
          <p:nvPr>
            <p:ph type="sldNum" sz="quarter" idx="12"/>
          </p:nvPr>
        </p:nvSpPr>
        <p:spPr/>
        <p:txBody>
          <a:bodyPr/>
          <a:lstStyle/>
          <a:p>
            <a:fld id="{D7FBF016-173F-4D13-AB5B-81861F2E6151}" type="slidenum">
              <a:rPr lang="de-DE" smtClean="0">
                <a:solidFill>
                  <a:prstClr val="black"/>
                </a:solidFill>
              </a:rPr>
              <a:pPr/>
              <a:t>12</a:t>
            </a:fld>
            <a:endParaRPr lang="de-DE" dirty="0">
              <a:solidFill>
                <a:prstClr val="black"/>
              </a:solidFill>
            </a:endParaRPr>
          </a:p>
        </p:txBody>
      </p:sp>
      <p:sp>
        <p:nvSpPr>
          <p:cNvPr id="11" name="Text Box 6">
            <a:extLst>
              <a:ext uri="{FF2B5EF4-FFF2-40B4-BE49-F238E27FC236}">
                <a16:creationId xmlns:a16="http://schemas.microsoft.com/office/drawing/2014/main" id="{29FEDD69-B84F-4E90-8E01-0F57D8AF484F}"/>
              </a:ext>
            </a:extLst>
          </p:cNvPr>
          <p:cNvSpPr txBox="1">
            <a:spLocks noChangeArrowheads="1"/>
          </p:cNvSpPr>
          <p:nvPr>
            <p:custDataLst>
              <p:tags r:id="rId1"/>
            </p:custDataLst>
          </p:nvPr>
        </p:nvSpPr>
        <p:spPr bwMode="gray">
          <a:xfrm>
            <a:off x="231953" y="6308725"/>
            <a:ext cx="4465638" cy="143405"/>
          </a:xfrm>
          <a:prstGeom prst="rect">
            <a:avLst/>
          </a:prstGeom>
          <a:noFill/>
          <a:ln w="9525">
            <a:noFill/>
            <a:miter lim="800000"/>
            <a:headEnd/>
            <a:tailEnd/>
          </a:ln>
        </p:spPr>
        <p:txBody>
          <a:bodyPr wrap="none" lIns="0" tIns="0" rIns="0" bIns="0" anchor="b"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Arial" charset="0"/>
                <a:ea typeface="MS PGothic" pitchFamily="34" charset="-128"/>
                <a:cs typeface="+mn-cs"/>
              </a:rPr>
              <a:t>Quelle: Bloomberg, 30.12.2022, GICS Sektoren des S&amp;P 500 &amp; </a:t>
            </a:r>
            <a:r>
              <a:rPr lang="de-DE" sz="900" dirty="0">
                <a:solidFill>
                  <a:prstClr val="black"/>
                </a:solidFill>
                <a:latin typeface="Arial" charset="0"/>
                <a:ea typeface="MS PGothic" pitchFamily="34" charset="-128"/>
              </a:rPr>
              <a:t>S</a:t>
            </a:r>
            <a:r>
              <a:rPr kumimoji="0" lang="de-DE" sz="900" b="0" i="0" u="none" strike="noStrike" kern="1200" cap="none" spc="0" normalizeH="0" baseline="0" noProof="0" dirty="0" err="1">
                <a:ln>
                  <a:noFill/>
                </a:ln>
                <a:solidFill>
                  <a:prstClr val="black"/>
                </a:solidFill>
                <a:effectLst/>
                <a:uLnTx/>
                <a:uFillTx/>
                <a:latin typeface="Arial" charset="0"/>
                <a:ea typeface="MS PGothic" pitchFamily="34" charset="-128"/>
                <a:cs typeface="+mn-cs"/>
              </a:rPr>
              <a:t>toxx</a:t>
            </a:r>
            <a:r>
              <a:rPr kumimoji="0" lang="de-DE" sz="900" b="0" i="0" u="none" strike="noStrike" kern="1200" cap="none" spc="0" normalizeH="0" baseline="0" noProof="0" dirty="0">
                <a:ln>
                  <a:noFill/>
                </a:ln>
                <a:solidFill>
                  <a:prstClr val="black"/>
                </a:solidFill>
                <a:effectLst/>
                <a:uLnTx/>
                <a:uFillTx/>
                <a:latin typeface="Arial" charset="0"/>
                <a:ea typeface="MS PGothic" pitchFamily="34" charset="-128"/>
                <a:cs typeface="+mn-cs"/>
              </a:rPr>
              <a:t> Europe 600</a:t>
            </a:r>
          </a:p>
        </p:txBody>
      </p:sp>
    </p:spTree>
    <p:extLst>
      <p:ext uri="{BB962C8B-B14F-4D97-AF65-F5344CB8AC3E}">
        <p14:creationId xmlns:p14="http://schemas.microsoft.com/office/powerpoint/2010/main" val="27025507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682B36-4C72-493A-991A-FC4734DB5FAC}"/>
              </a:ext>
            </a:extLst>
          </p:cNvPr>
          <p:cNvSpPr>
            <a:spLocks noGrp="1"/>
          </p:cNvSpPr>
          <p:nvPr>
            <p:ph type="sldNum" sz="quarter" idx="12"/>
          </p:nvPr>
        </p:nvSpPr>
        <p:spPr/>
        <p:txBody>
          <a:bodyPr/>
          <a:lstStyle/>
          <a:p>
            <a:fld id="{D7FBF016-173F-4D13-AB5B-81861F2E6151}" type="slidenum">
              <a:rPr lang="de-DE" noProof="0" smtClean="0"/>
              <a:pPr/>
              <a:t>13</a:t>
            </a:fld>
            <a:endParaRPr lang="de-DE" noProof="0" dirty="0"/>
          </a:p>
        </p:txBody>
      </p:sp>
      <p:sp>
        <p:nvSpPr>
          <p:cNvPr id="5" name="Title 4">
            <a:extLst>
              <a:ext uri="{FF2B5EF4-FFF2-40B4-BE49-F238E27FC236}">
                <a16:creationId xmlns:a16="http://schemas.microsoft.com/office/drawing/2014/main" id="{A5858C58-910B-4204-8CE0-60E2806DCB33}"/>
              </a:ext>
            </a:extLst>
          </p:cNvPr>
          <p:cNvSpPr>
            <a:spLocks noGrp="1"/>
          </p:cNvSpPr>
          <p:nvPr>
            <p:ph type="title"/>
          </p:nvPr>
        </p:nvSpPr>
        <p:spPr/>
        <p:txBody>
          <a:bodyPr/>
          <a:lstStyle/>
          <a:p>
            <a:r>
              <a:rPr lang="de-DE" b="1" dirty="0"/>
              <a:t>Vergleich der Top 10 Positionen in Europa und den USA </a:t>
            </a:r>
            <a:endParaRPr lang="en-GB" b="1" dirty="0"/>
          </a:p>
        </p:txBody>
      </p:sp>
      <p:sp>
        <p:nvSpPr>
          <p:cNvPr id="7" name="Text Box 6">
            <a:extLst>
              <a:ext uri="{FF2B5EF4-FFF2-40B4-BE49-F238E27FC236}">
                <a16:creationId xmlns:a16="http://schemas.microsoft.com/office/drawing/2014/main" id="{B8EDFD99-1AA5-41C8-BEC2-6453AF89032A}"/>
              </a:ext>
            </a:extLst>
          </p:cNvPr>
          <p:cNvSpPr txBox="1">
            <a:spLocks noChangeArrowheads="1"/>
          </p:cNvSpPr>
          <p:nvPr>
            <p:custDataLst>
              <p:tags r:id="rId1"/>
            </p:custDataLst>
          </p:nvPr>
        </p:nvSpPr>
        <p:spPr bwMode="gray">
          <a:xfrm>
            <a:off x="231953" y="6308725"/>
            <a:ext cx="4465638" cy="143405"/>
          </a:xfrm>
          <a:prstGeom prst="rect">
            <a:avLst/>
          </a:prstGeom>
          <a:noFill/>
          <a:ln w="9525">
            <a:noFill/>
            <a:miter lim="800000"/>
            <a:headEnd/>
            <a:tailEnd/>
          </a:ln>
        </p:spPr>
        <p:txBody>
          <a:bodyPr wrap="none" lIns="0" tIns="0" rIns="0" bIns="0" anchor="b"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Arial" charset="0"/>
                <a:ea typeface="MS PGothic" pitchFamily="34" charset="-128"/>
                <a:cs typeface="+mn-cs"/>
              </a:rPr>
              <a:t>Quelle: Bloomberg, </a:t>
            </a:r>
            <a:r>
              <a:rPr lang="de-DE" sz="900" dirty="0">
                <a:solidFill>
                  <a:prstClr val="black"/>
                </a:solidFill>
                <a:latin typeface="Arial" charset="0"/>
                <a:ea typeface="MS PGothic" pitchFamily="34" charset="-128"/>
              </a:rPr>
              <a:t>30.12</a:t>
            </a:r>
            <a:r>
              <a:rPr kumimoji="0" lang="de-DE" sz="900" b="0" i="0" u="none" strike="noStrike" kern="1200" cap="none" spc="0" normalizeH="0" baseline="0" noProof="0" dirty="0">
                <a:ln>
                  <a:noFill/>
                </a:ln>
                <a:solidFill>
                  <a:prstClr val="black"/>
                </a:solidFill>
                <a:effectLst/>
                <a:uLnTx/>
                <a:uFillTx/>
                <a:latin typeface="Arial" charset="0"/>
                <a:ea typeface="MS PGothic" pitchFamily="34" charset="-128"/>
                <a:cs typeface="+mn-cs"/>
              </a:rPr>
              <a:t>.2022</a:t>
            </a:r>
          </a:p>
        </p:txBody>
      </p:sp>
      <p:cxnSp>
        <p:nvCxnSpPr>
          <p:cNvPr id="9" name="Gerader Verbinder 31">
            <a:extLst>
              <a:ext uri="{FF2B5EF4-FFF2-40B4-BE49-F238E27FC236}">
                <a16:creationId xmlns:a16="http://schemas.microsoft.com/office/drawing/2014/main" id="{0CA74665-AF0A-48A5-B9A5-7B1E5A16C478}"/>
              </a:ext>
            </a:extLst>
          </p:cNvPr>
          <p:cNvCxnSpPr/>
          <p:nvPr>
            <p:custDataLst>
              <p:tags r:id="rId2"/>
            </p:custDataLst>
          </p:nvPr>
        </p:nvCxnSpPr>
        <p:spPr bwMode="gray">
          <a:xfrm>
            <a:off x="251520" y="126876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Inhaltsplatzhalter 1">
            <a:extLst>
              <a:ext uri="{FF2B5EF4-FFF2-40B4-BE49-F238E27FC236}">
                <a16:creationId xmlns:a16="http://schemas.microsoft.com/office/drawing/2014/main" id="{8A82C5D1-4242-4C0E-AE92-48DBDD0EEFBC}"/>
              </a:ext>
            </a:extLst>
          </p:cNvPr>
          <p:cNvSpPr txBox="1">
            <a:spLocks/>
          </p:cNvSpPr>
          <p:nvPr/>
        </p:nvSpPr>
        <p:spPr bwMode="gray">
          <a:xfrm>
            <a:off x="250825" y="1196752"/>
            <a:ext cx="8578215" cy="510497"/>
          </a:xfrm>
          <a:prstGeom prst="rect">
            <a:avLst/>
          </a:prstGeom>
        </p:spPr>
        <p:txBody>
          <a:bodyPr lIns="0" tIns="108000" rIns="0" bIns="0"/>
          <a:lstStyle>
            <a:defPPr>
              <a:defRPr lang="de-DE"/>
            </a:defPPr>
            <a:lvl1pPr indent="0">
              <a:lnSpc>
                <a:spcPct val="110000"/>
              </a:lnSpc>
              <a:spcBef>
                <a:spcPts val="1800"/>
              </a:spcBef>
              <a:spcAft>
                <a:spcPts val="300"/>
              </a:spcAft>
              <a:buFont typeface="Arial" panose="020B0604020202020204" pitchFamily="34" charset="0"/>
              <a:buNone/>
              <a:defRPr sz="1400" b="1"/>
            </a:lvl1pPr>
            <a:lvl2pPr marL="0" lvl="1" indent="0">
              <a:lnSpc>
                <a:spcPct val="110000"/>
              </a:lnSpc>
              <a:spcBef>
                <a:spcPts val="600"/>
              </a:spcBef>
              <a:spcAft>
                <a:spcPts val="300"/>
              </a:spcAft>
              <a:buFont typeface="Arial" panose="020B0604020202020204" pitchFamily="34" charset="0"/>
              <a:buNone/>
              <a:defRPr sz="1400"/>
            </a:lvl2pPr>
            <a:lvl3pPr marL="180000" lvl="2" indent="-180000">
              <a:lnSpc>
                <a:spcPct val="110000"/>
              </a:lnSpc>
              <a:spcBef>
                <a:spcPts val="600"/>
              </a:spcBef>
              <a:spcAft>
                <a:spcPts val="300"/>
              </a:spcAft>
              <a:buClr>
                <a:schemeClr val="tx2"/>
              </a:buClr>
              <a:buFont typeface="Arial" panose="020B0604020202020204" pitchFamily="34" charset="0"/>
              <a:buChar char="•"/>
              <a:defRPr sz="1400"/>
            </a:lvl3pPr>
            <a:lvl4pPr marL="360000" lvl="3" indent="-180000">
              <a:lnSpc>
                <a:spcPct val="110000"/>
              </a:lnSpc>
              <a:spcBef>
                <a:spcPts val="300"/>
              </a:spcBef>
              <a:spcAft>
                <a:spcPts val="300"/>
              </a:spcAft>
              <a:buFont typeface="Symbol" panose="05050102010706020507" pitchFamily="18" charset="2"/>
              <a:buChar char="-"/>
              <a:defRPr sz="1400"/>
            </a:lvl4pPr>
            <a:lvl5pPr marL="540000" lvl="4" indent="-180000">
              <a:lnSpc>
                <a:spcPct val="110000"/>
              </a:lnSpc>
              <a:spcBef>
                <a:spcPts val="300"/>
              </a:spcBef>
              <a:spcAft>
                <a:spcPts val="300"/>
              </a:spcAft>
              <a:buFont typeface="Symbol" panose="05050102010706020507" pitchFamily="18" charset="2"/>
              <a:buChar char="-"/>
              <a:defRPr sz="1400"/>
            </a:lvl5pPr>
            <a:lvl6pPr marL="720000" lvl="5" indent="-180000">
              <a:lnSpc>
                <a:spcPct val="110000"/>
              </a:lnSpc>
              <a:spcBef>
                <a:spcPts val="300"/>
              </a:spcBef>
              <a:spcAft>
                <a:spcPts val="300"/>
              </a:spcAft>
              <a:buFont typeface="Symbol" panose="05050102010706020507" pitchFamily="18" charset="2"/>
              <a:buChar char="-"/>
              <a:defRPr sz="1400"/>
            </a:lvl6pPr>
            <a:lvl7pPr marL="720000" lvl="6" indent="-180000">
              <a:lnSpc>
                <a:spcPct val="110000"/>
              </a:lnSpc>
              <a:spcBef>
                <a:spcPts val="300"/>
              </a:spcBef>
              <a:spcAft>
                <a:spcPts val="300"/>
              </a:spcAft>
              <a:buFont typeface="Symbol" panose="05050102010706020507" pitchFamily="18" charset="2"/>
              <a:buChar char="-"/>
              <a:defRPr sz="1400"/>
            </a:lvl7pPr>
            <a:lvl8pPr marL="720000" lvl="7" indent="-180000">
              <a:lnSpc>
                <a:spcPct val="110000"/>
              </a:lnSpc>
              <a:spcBef>
                <a:spcPts val="300"/>
              </a:spcBef>
              <a:spcAft>
                <a:spcPts val="300"/>
              </a:spcAft>
              <a:buFont typeface="Symbol" panose="05050102010706020507" pitchFamily="18" charset="2"/>
              <a:buChar char="-"/>
              <a:defRPr sz="1400"/>
            </a:lvl8pPr>
            <a:lvl9pPr marL="720000" lvl="8" indent="-180000">
              <a:lnSpc>
                <a:spcPct val="110000"/>
              </a:lnSpc>
              <a:spcBef>
                <a:spcPts val="300"/>
              </a:spcBef>
              <a:spcAft>
                <a:spcPts val="300"/>
              </a:spcAft>
              <a:buFont typeface="Symbol" panose="05050102010706020507" pitchFamily="18" charset="2"/>
              <a:buChar char="-"/>
              <a:defRPr sz="1400"/>
            </a:lvl9pPr>
          </a:lstStyle>
          <a:p>
            <a:pPr>
              <a:spcBef>
                <a:spcPts val="600"/>
              </a:spcBef>
              <a:spcAft>
                <a:spcPts val="0"/>
              </a:spcAft>
            </a:pPr>
            <a:r>
              <a:rPr lang="en-US" dirty="0">
                <a:solidFill>
                  <a:schemeClr val="tx2"/>
                </a:solidFill>
              </a:rPr>
              <a:t>Top 10 </a:t>
            </a:r>
            <a:r>
              <a:rPr lang="en-US" dirty="0" err="1">
                <a:solidFill>
                  <a:schemeClr val="tx2"/>
                </a:solidFill>
              </a:rPr>
              <a:t>Unternehmen</a:t>
            </a:r>
            <a:r>
              <a:rPr lang="en-US" dirty="0">
                <a:solidFill>
                  <a:schemeClr val="tx2"/>
                </a:solidFill>
              </a:rPr>
              <a:t> </a:t>
            </a:r>
            <a:r>
              <a:rPr lang="en-US" dirty="0" err="1">
                <a:solidFill>
                  <a:schemeClr val="tx2"/>
                </a:solidFill>
              </a:rPr>
              <a:t>im</a:t>
            </a:r>
            <a:r>
              <a:rPr lang="en-US" dirty="0">
                <a:solidFill>
                  <a:schemeClr val="tx2"/>
                </a:solidFill>
              </a:rPr>
              <a:t> S&amp;P 500 und Stoxx Europe 600</a:t>
            </a:r>
            <a:endParaRPr lang="de-DE" dirty="0">
              <a:solidFill>
                <a:schemeClr val="tx2"/>
              </a:solidFill>
            </a:endParaRPr>
          </a:p>
        </p:txBody>
      </p:sp>
      <p:graphicFrame>
        <p:nvGraphicFramePr>
          <p:cNvPr id="11" name="Table 10">
            <a:extLst>
              <a:ext uri="{FF2B5EF4-FFF2-40B4-BE49-F238E27FC236}">
                <a16:creationId xmlns:a16="http://schemas.microsoft.com/office/drawing/2014/main" id="{4580D8DE-23A7-408E-B084-AFB0B6381589}"/>
              </a:ext>
            </a:extLst>
          </p:cNvPr>
          <p:cNvGraphicFramePr>
            <a:graphicFrameLocks noGrp="1"/>
          </p:cNvGraphicFramePr>
          <p:nvPr>
            <p:extLst>
              <p:ext uri="{D42A27DB-BD31-4B8C-83A1-F6EECF244321}">
                <p14:modId xmlns:p14="http://schemas.microsoft.com/office/powerpoint/2010/main" val="2265837559"/>
              </p:ext>
            </p:extLst>
          </p:nvPr>
        </p:nvGraphicFramePr>
        <p:xfrm>
          <a:off x="250825" y="1628800"/>
          <a:ext cx="8441847" cy="2325660"/>
        </p:xfrm>
        <a:graphic>
          <a:graphicData uri="http://schemas.openxmlformats.org/drawingml/2006/table">
            <a:tbl>
              <a:tblPr firstRow="1" lastRow="1">
                <a:tableStyleId>{7D95DDBC-5C31-40A9-B56D-BDF15E579DC0}</a:tableStyleId>
              </a:tblPr>
              <a:tblGrid>
                <a:gridCol w="1689517">
                  <a:extLst>
                    <a:ext uri="{9D8B030D-6E8A-4147-A177-3AD203B41FA5}">
                      <a16:colId xmlns:a16="http://schemas.microsoft.com/office/drawing/2014/main" val="1357661170"/>
                    </a:ext>
                  </a:extLst>
                </a:gridCol>
                <a:gridCol w="1403471">
                  <a:extLst>
                    <a:ext uri="{9D8B030D-6E8A-4147-A177-3AD203B41FA5}">
                      <a16:colId xmlns:a16="http://schemas.microsoft.com/office/drawing/2014/main" val="727017366"/>
                    </a:ext>
                  </a:extLst>
                </a:gridCol>
                <a:gridCol w="1134735">
                  <a:extLst>
                    <a:ext uri="{9D8B030D-6E8A-4147-A177-3AD203B41FA5}">
                      <a16:colId xmlns:a16="http://schemas.microsoft.com/office/drawing/2014/main" val="1956403086"/>
                    </a:ext>
                  </a:extLst>
                </a:gridCol>
                <a:gridCol w="2107062">
                  <a:extLst>
                    <a:ext uri="{9D8B030D-6E8A-4147-A177-3AD203B41FA5}">
                      <a16:colId xmlns:a16="http://schemas.microsoft.com/office/drawing/2014/main" val="2877961110"/>
                    </a:ext>
                  </a:extLst>
                </a:gridCol>
                <a:gridCol w="2107062">
                  <a:extLst>
                    <a:ext uri="{9D8B030D-6E8A-4147-A177-3AD203B41FA5}">
                      <a16:colId xmlns:a16="http://schemas.microsoft.com/office/drawing/2014/main" val="2549616063"/>
                    </a:ext>
                  </a:extLst>
                </a:gridCol>
              </a:tblGrid>
              <a:tr h="191221">
                <a:tc>
                  <a:txBody>
                    <a:bodyPr/>
                    <a:lstStyle/>
                    <a:p>
                      <a:pPr algn="l"/>
                      <a:r>
                        <a:rPr lang="de-DE" sz="1200" noProof="0" dirty="0">
                          <a:solidFill>
                            <a:schemeClr val="tx1"/>
                          </a:solidFill>
                          <a:latin typeface="+mj-lt"/>
                        </a:rPr>
                        <a:t>Top 10 Europa</a:t>
                      </a:r>
                      <a:endParaRPr lang="en-GB" sz="1200" baseline="30000" noProof="0" dirty="0">
                        <a:solidFill>
                          <a:schemeClr val="tx1"/>
                        </a:solidFill>
                        <a:latin typeface="+mj-lt"/>
                      </a:endParaRPr>
                    </a:p>
                  </a:txBody>
                  <a:tcPr marL="36000" marR="66462" marT="72000" marB="72000" anchor="b">
                    <a:lnR>
                      <a:noFill/>
                    </a:lnR>
                  </a:tcPr>
                </a:tc>
                <a:tc>
                  <a:txBody>
                    <a:bodyPr/>
                    <a:lstStyle/>
                    <a:p>
                      <a:pPr algn="l"/>
                      <a:r>
                        <a:rPr lang="de-DE" sz="1200" b="1" i="0" noProof="0" dirty="0">
                          <a:solidFill>
                            <a:schemeClr val="tx1"/>
                          </a:solidFill>
                          <a:latin typeface="+mj-lt"/>
                        </a:rPr>
                        <a:t>Sektor</a:t>
                      </a:r>
                      <a:endParaRPr lang="en-GB" sz="1200" b="1" i="0" noProof="0" dirty="0">
                        <a:solidFill>
                          <a:schemeClr val="tx1"/>
                        </a:solidFill>
                        <a:latin typeface="+mj-lt"/>
                      </a:endParaRPr>
                    </a:p>
                  </a:txBody>
                  <a:tcPr marL="36000" marR="66462" marT="72000" marB="72000" anchor="b">
                    <a:lnL>
                      <a:noFill/>
                    </a:lnL>
                    <a:lnR>
                      <a:noFill/>
                    </a:lnR>
                  </a:tcPr>
                </a:tc>
                <a:tc>
                  <a:txBody>
                    <a:bodyPr/>
                    <a:lstStyle/>
                    <a:p>
                      <a:pPr algn="l"/>
                      <a:r>
                        <a:rPr lang="de-DE" sz="1200" b="1" i="0" noProof="0" dirty="0">
                          <a:solidFill>
                            <a:schemeClr val="tx1"/>
                          </a:solidFill>
                          <a:latin typeface="+mj-lt"/>
                        </a:rPr>
                        <a:t>KGV 2023E</a:t>
                      </a:r>
                      <a:endParaRPr lang="en-GB" sz="1200" b="1" i="0" noProof="0" dirty="0">
                        <a:solidFill>
                          <a:schemeClr val="tx1"/>
                        </a:solidFill>
                        <a:latin typeface="+mj-lt"/>
                      </a:endParaRPr>
                    </a:p>
                  </a:txBody>
                  <a:tcPr marL="36000" marR="66462" marT="72000" marB="72000" anchor="b">
                    <a:lnL>
                      <a:noFill/>
                    </a:lnL>
                    <a:lnR>
                      <a:noFill/>
                    </a:lnR>
                  </a:tcPr>
                </a:tc>
                <a:tc>
                  <a:txBody>
                    <a:bodyPr/>
                    <a:lstStyle/>
                    <a:p>
                      <a:pPr algn="l"/>
                      <a:r>
                        <a:rPr lang="de-DE" sz="1200" b="1" i="0" noProof="0" dirty="0">
                          <a:solidFill>
                            <a:schemeClr val="tx1"/>
                          </a:solidFill>
                          <a:latin typeface="+mj-lt"/>
                        </a:rPr>
                        <a:t>Umsatzwachstum (22-25E)</a:t>
                      </a:r>
                      <a:endParaRPr lang="en-GB" sz="1200" b="1" i="0" noProof="0" dirty="0">
                        <a:solidFill>
                          <a:schemeClr val="tx1"/>
                        </a:solidFill>
                        <a:latin typeface="+mj-lt"/>
                      </a:endParaRPr>
                    </a:p>
                  </a:txBody>
                  <a:tcPr marL="36000" marR="66462" marT="72000" marB="72000" anchor="b">
                    <a:lnL>
                      <a:noFill/>
                    </a:lnL>
                    <a:lnR>
                      <a:noFill/>
                    </a:lnR>
                  </a:tcPr>
                </a:tc>
                <a:tc>
                  <a:txBody>
                    <a:bodyPr/>
                    <a:lstStyle/>
                    <a:p>
                      <a:pPr algn="l"/>
                      <a:r>
                        <a:rPr lang="de-DE" sz="1200" b="1" i="0" noProof="0" dirty="0">
                          <a:solidFill>
                            <a:schemeClr val="tx1"/>
                          </a:solidFill>
                          <a:latin typeface="+mj-lt"/>
                        </a:rPr>
                        <a:t>EPS Wachstum (22-25E)</a:t>
                      </a:r>
                      <a:endParaRPr lang="en-GB" sz="1200" b="1" i="0" noProof="0" dirty="0">
                        <a:solidFill>
                          <a:schemeClr val="tx1"/>
                        </a:solidFill>
                        <a:latin typeface="+mj-lt"/>
                      </a:endParaRPr>
                    </a:p>
                  </a:txBody>
                  <a:tcPr marL="36000" marR="66462" marT="72000" marB="72000" anchor="b">
                    <a:lnL>
                      <a:noFill/>
                    </a:lnL>
                    <a:lnR>
                      <a:noFill/>
                    </a:lnR>
                  </a:tcPr>
                </a:tc>
                <a:extLst>
                  <a:ext uri="{0D108BD9-81ED-4DB2-BD59-A6C34878D82A}">
                    <a16:rowId xmlns:a16="http://schemas.microsoft.com/office/drawing/2014/main" val="3635764662"/>
                  </a:ext>
                </a:extLst>
              </a:tr>
              <a:tr h="183876">
                <a:tc>
                  <a:txBody>
                    <a:bodyPr/>
                    <a:lstStyle/>
                    <a:p>
                      <a:pPr algn="l" fontAlgn="b"/>
                      <a:r>
                        <a:rPr lang="en-GB" sz="1000" b="0" i="0" u="none" strike="noStrike" dirty="0">
                          <a:solidFill>
                            <a:srgbClr val="000000"/>
                          </a:solidFill>
                          <a:effectLst/>
                          <a:latin typeface="Arial" panose="020B0604020202020204" pitchFamily="34" charset="0"/>
                        </a:rPr>
                        <a:t>Nestle SA</a:t>
                      </a:r>
                    </a:p>
                  </a:txBody>
                  <a:tcPr marL="9525" marR="9525" marT="9525" marB="0" anchor="b">
                    <a:lnR>
                      <a:noFill/>
                    </a:lnR>
                  </a:tcPr>
                </a:tc>
                <a:tc>
                  <a:txBody>
                    <a:bodyPr/>
                    <a:lstStyle/>
                    <a:p>
                      <a:pPr algn="l" fontAlgn="b"/>
                      <a:r>
                        <a:rPr lang="en-GB" sz="1000" b="0" i="0" u="none" strike="noStrike">
                          <a:solidFill>
                            <a:srgbClr val="000000"/>
                          </a:solidFill>
                          <a:effectLst/>
                          <a:latin typeface="Arial" panose="020B0604020202020204" pitchFamily="34" charset="0"/>
                        </a:rPr>
                        <a:t>Consumer Staples</a:t>
                      </a:r>
                    </a:p>
                  </a:txBody>
                  <a:tcPr marL="9525" marR="9525" marT="9525" marB="0" anchor="b">
                    <a:lnL>
                      <a:noFill/>
                    </a:lnL>
                    <a:lnR>
                      <a:noFill/>
                    </a:lnR>
                  </a:tcPr>
                </a:tc>
                <a:tc>
                  <a:txBody>
                    <a:bodyPr/>
                    <a:lstStyle/>
                    <a:p>
                      <a:pPr algn="ctr" fontAlgn="b"/>
                      <a:r>
                        <a:rPr lang="en-GB" sz="1000" b="0" i="0" u="none" strike="noStrike" dirty="0">
                          <a:solidFill>
                            <a:srgbClr val="000000"/>
                          </a:solidFill>
                          <a:effectLst/>
                          <a:latin typeface="Arial" panose="020B0604020202020204" pitchFamily="34" charset="0"/>
                        </a:rPr>
                        <a:t>21,5x</a:t>
                      </a:r>
                    </a:p>
                  </a:txBody>
                  <a:tcPr marL="9525" marR="9525" marT="9525" marB="0" anchor="b">
                    <a:lnL>
                      <a:noFill/>
                    </a:lnL>
                    <a:lnR>
                      <a:noFill/>
                    </a:lnR>
                  </a:tcPr>
                </a:tc>
                <a:tc>
                  <a:txBody>
                    <a:bodyPr/>
                    <a:lstStyle/>
                    <a:p>
                      <a:pPr algn="ctr" fontAlgn="b"/>
                      <a:r>
                        <a:rPr lang="en-GB" sz="1000" b="0" i="0" u="none" strike="noStrike">
                          <a:solidFill>
                            <a:srgbClr val="000000"/>
                          </a:solidFill>
                          <a:effectLst/>
                          <a:latin typeface="Arial" panose="020B0604020202020204" pitchFamily="34" charset="0"/>
                        </a:rPr>
                        <a:t>4%</a:t>
                      </a:r>
                    </a:p>
                  </a:txBody>
                  <a:tcPr marL="9525" marR="9525" marT="9525" marB="0" anchor="b">
                    <a:lnL>
                      <a:noFill/>
                    </a:lnL>
                    <a:lnR>
                      <a:noFill/>
                    </a:lnR>
                  </a:tcPr>
                </a:tc>
                <a:tc>
                  <a:txBody>
                    <a:bodyPr/>
                    <a:lstStyle/>
                    <a:p>
                      <a:pPr algn="ctr" fontAlgn="b"/>
                      <a:r>
                        <a:rPr lang="en-GB" sz="1000" b="0" i="0" u="none" strike="noStrike">
                          <a:solidFill>
                            <a:srgbClr val="000000"/>
                          </a:solidFill>
                          <a:effectLst/>
                          <a:latin typeface="Arial" panose="020B0604020202020204" pitchFamily="34" charset="0"/>
                        </a:rPr>
                        <a:t>7%</a:t>
                      </a:r>
                    </a:p>
                  </a:txBody>
                  <a:tcPr marL="9525" marR="9525" marT="9525" marB="0" anchor="b">
                    <a:lnL>
                      <a:noFill/>
                    </a:lnL>
                    <a:lnR>
                      <a:noFill/>
                    </a:lnR>
                  </a:tcPr>
                </a:tc>
                <a:extLst>
                  <a:ext uri="{0D108BD9-81ED-4DB2-BD59-A6C34878D82A}">
                    <a16:rowId xmlns:a16="http://schemas.microsoft.com/office/drawing/2014/main" val="3733163959"/>
                  </a:ext>
                </a:extLst>
              </a:tr>
              <a:tr h="183876">
                <a:tc>
                  <a:txBody>
                    <a:bodyPr/>
                    <a:lstStyle/>
                    <a:p>
                      <a:pPr algn="l" fontAlgn="b"/>
                      <a:r>
                        <a:rPr lang="en-GB" sz="1000" b="0" i="0" u="none" strike="noStrike" dirty="0">
                          <a:solidFill>
                            <a:srgbClr val="000000"/>
                          </a:solidFill>
                          <a:effectLst/>
                          <a:latin typeface="Arial" panose="020B0604020202020204" pitchFamily="34" charset="0"/>
                        </a:rPr>
                        <a:t>ASML Holding NV</a:t>
                      </a:r>
                    </a:p>
                  </a:txBody>
                  <a:tcPr marL="9525" marR="9525" marT="9525" marB="0" anchor="b">
                    <a:lnR>
                      <a:noFill/>
                    </a:lnR>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dirty="0">
                          <a:solidFill>
                            <a:srgbClr val="000000"/>
                          </a:solidFill>
                          <a:effectLst/>
                          <a:latin typeface="Arial" panose="020B0604020202020204" pitchFamily="34" charset="0"/>
                        </a:rPr>
                        <a:t>Information Technology</a:t>
                      </a:r>
                    </a:p>
                  </a:txBody>
                  <a:tcPr marL="9525" marR="9525" marT="9525" marB="0" anchor="b">
                    <a:lnL>
                      <a:noFill/>
                    </a:lnL>
                    <a:lnR>
                      <a:noFill/>
                    </a:lnR>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32,6x</a:t>
                      </a:r>
                    </a:p>
                  </a:txBody>
                  <a:tcPr marL="9525" marR="9525" marT="9525" marB="0" anchor="b">
                    <a:lnL>
                      <a:noFill/>
                    </a:lnL>
                    <a:lnR>
                      <a:noFill/>
                    </a:lnR>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17%</a:t>
                      </a:r>
                    </a:p>
                  </a:txBody>
                  <a:tcPr marL="9525" marR="9525" marT="9525" marB="0" anchor="b">
                    <a:lnL>
                      <a:noFill/>
                    </a:lnL>
                    <a:lnR>
                      <a:noFill/>
                    </a:lnR>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28%</a:t>
                      </a:r>
                    </a:p>
                  </a:txBody>
                  <a:tcPr marL="9525" marR="9525" marT="9525" marB="0" anchor="b">
                    <a:lnL>
                      <a:noFill/>
                    </a:lnL>
                    <a:lnR>
                      <a:noFill/>
                    </a:lnR>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194380627"/>
                  </a:ext>
                </a:extLst>
              </a:tr>
              <a:tr h="183876">
                <a:tc>
                  <a:txBody>
                    <a:bodyPr/>
                    <a:lstStyle/>
                    <a:p>
                      <a:pPr algn="l" fontAlgn="b"/>
                      <a:r>
                        <a:rPr lang="en-GB" sz="1000" b="0" i="0" u="none" strike="noStrike" dirty="0">
                          <a:solidFill>
                            <a:srgbClr val="000000"/>
                          </a:solidFill>
                          <a:effectLst/>
                          <a:latin typeface="Arial" panose="020B0604020202020204" pitchFamily="34" charset="0"/>
                        </a:rPr>
                        <a:t>Novo Nordisk A/S</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a:solidFill>
                            <a:srgbClr val="000000"/>
                          </a:solidFill>
                          <a:effectLst/>
                          <a:latin typeface="Arial" panose="020B0604020202020204" pitchFamily="34" charset="0"/>
                        </a:rPr>
                        <a:t>Health Care</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31,0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12%</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18%</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159701850"/>
                  </a:ext>
                </a:extLst>
              </a:tr>
              <a:tr h="183876">
                <a:tc>
                  <a:txBody>
                    <a:bodyPr/>
                    <a:lstStyle/>
                    <a:p>
                      <a:pPr algn="l" fontAlgn="b"/>
                      <a:r>
                        <a:rPr lang="en-GB" sz="1000" b="0" i="0" u="none" strike="noStrike" dirty="0">
                          <a:solidFill>
                            <a:srgbClr val="000000"/>
                          </a:solidFill>
                          <a:effectLst/>
                          <a:latin typeface="Arial" panose="020B0604020202020204" pitchFamily="34" charset="0"/>
                        </a:rPr>
                        <a:t>LVMH</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a:solidFill>
                            <a:srgbClr val="000000"/>
                          </a:solidFill>
                          <a:effectLst/>
                          <a:latin typeface="Arial" panose="020B0604020202020204" pitchFamily="34" charset="0"/>
                        </a:rPr>
                        <a:t>Consumer Discretionary</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25,0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7%</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9%</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407189109"/>
                  </a:ext>
                </a:extLst>
              </a:tr>
              <a:tr h="183876">
                <a:tc>
                  <a:txBody>
                    <a:bodyPr/>
                    <a:lstStyle/>
                    <a:p>
                      <a:pPr algn="l" fontAlgn="b"/>
                      <a:r>
                        <a:rPr lang="en-GB" sz="1000" b="0" i="0" u="none" strike="noStrike">
                          <a:solidFill>
                            <a:srgbClr val="000000"/>
                          </a:solidFill>
                          <a:effectLst/>
                          <a:latin typeface="Arial" panose="020B0604020202020204" pitchFamily="34" charset="0"/>
                        </a:rPr>
                        <a:t>Roche Holding AG</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a:solidFill>
                            <a:srgbClr val="000000"/>
                          </a:solidFill>
                          <a:effectLst/>
                          <a:latin typeface="Arial" panose="020B0604020202020204" pitchFamily="34" charset="0"/>
                        </a:rPr>
                        <a:t>Health Care</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14,2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3%</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5%</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962117764"/>
                  </a:ext>
                </a:extLst>
              </a:tr>
              <a:tr h="183876">
                <a:tc>
                  <a:txBody>
                    <a:bodyPr/>
                    <a:lstStyle/>
                    <a:p>
                      <a:pPr algn="l" fontAlgn="b"/>
                      <a:r>
                        <a:rPr lang="en-GB" sz="1000" b="0" i="0" u="none" strike="noStrike">
                          <a:solidFill>
                            <a:srgbClr val="000000"/>
                          </a:solidFill>
                          <a:effectLst/>
                          <a:latin typeface="Arial" panose="020B0604020202020204" pitchFamily="34" charset="0"/>
                        </a:rPr>
                        <a:t>Shell PLC</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dirty="0">
                          <a:solidFill>
                            <a:srgbClr val="000000"/>
                          </a:solidFill>
                          <a:effectLst/>
                          <a:latin typeface="Arial" panose="020B0604020202020204" pitchFamily="34" charset="0"/>
                        </a:rPr>
                        <a:t>Energy</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5,7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2%</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7%</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9714314"/>
                  </a:ext>
                </a:extLst>
              </a:tr>
              <a:tr h="183876">
                <a:tc>
                  <a:txBody>
                    <a:bodyPr/>
                    <a:lstStyle/>
                    <a:p>
                      <a:pPr algn="l" fontAlgn="b"/>
                      <a:r>
                        <a:rPr lang="en-GB" sz="1000" b="0" i="0" u="none" strike="noStrike">
                          <a:solidFill>
                            <a:srgbClr val="000000"/>
                          </a:solidFill>
                          <a:effectLst/>
                          <a:latin typeface="Arial" panose="020B0604020202020204" pitchFamily="34" charset="0"/>
                        </a:rPr>
                        <a:t>AstraZeneca PLC</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a:solidFill>
                            <a:srgbClr val="000000"/>
                          </a:solidFill>
                          <a:effectLst/>
                          <a:latin typeface="Arial" panose="020B0604020202020204" pitchFamily="34" charset="0"/>
                        </a:rPr>
                        <a:t>Health Care</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17,5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7%</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13%</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005757162"/>
                  </a:ext>
                </a:extLst>
              </a:tr>
              <a:tr h="183876">
                <a:tc>
                  <a:txBody>
                    <a:bodyPr/>
                    <a:lstStyle/>
                    <a:p>
                      <a:pPr algn="l" fontAlgn="b"/>
                      <a:r>
                        <a:rPr lang="en-GB" sz="1000" b="0" i="0" u="none" strike="noStrike">
                          <a:solidFill>
                            <a:srgbClr val="000000"/>
                          </a:solidFill>
                          <a:effectLst/>
                          <a:latin typeface="Arial" panose="020B0604020202020204" pitchFamily="34" charset="0"/>
                        </a:rPr>
                        <a:t>Novartis AG</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a:solidFill>
                            <a:srgbClr val="000000"/>
                          </a:solidFill>
                          <a:effectLst/>
                          <a:latin typeface="Arial" panose="020B0604020202020204" pitchFamily="34" charset="0"/>
                        </a:rPr>
                        <a:t>Health Care</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13,7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2%</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5%</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785862486"/>
                  </a:ext>
                </a:extLst>
              </a:tr>
              <a:tr h="183876">
                <a:tc>
                  <a:txBody>
                    <a:bodyPr/>
                    <a:lstStyle/>
                    <a:p>
                      <a:pPr algn="l" fontAlgn="b"/>
                      <a:r>
                        <a:rPr lang="en-GB" sz="1000" b="0" i="0" u="none" strike="noStrike">
                          <a:solidFill>
                            <a:srgbClr val="000000"/>
                          </a:solidFill>
                          <a:effectLst/>
                          <a:latin typeface="Arial" panose="020B0604020202020204" pitchFamily="34" charset="0"/>
                        </a:rPr>
                        <a:t>TotalEnergies SE</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a:solidFill>
                            <a:srgbClr val="000000"/>
                          </a:solidFill>
                          <a:effectLst/>
                          <a:latin typeface="Arial" panose="020B0604020202020204" pitchFamily="34" charset="0"/>
                        </a:rPr>
                        <a:t>Energy</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Arial" panose="020B0604020202020204" pitchFamily="34" charset="0"/>
                        </a:rPr>
                        <a:t>5,7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5%</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14%</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382821111"/>
                  </a:ext>
                </a:extLst>
              </a:tr>
              <a:tr h="183876">
                <a:tc>
                  <a:txBody>
                    <a:bodyPr/>
                    <a:lstStyle/>
                    <a:p>
                      <a:pPr algn="l" fontAlgn="b"/>
                      <a:r>
                        <a:rPr lang="en-GB" sz="1000" b="0" i="0" u="none" strike="noStrike">
                          <a:solidFill>
                            <a:srgbClr val="000000"/>
                          </a:solidFill>
                          <a:effectLst/>
                          <a:latin typeface="Arial" panose="020B0604020202020204" pitchFamily="34" charset="0"/>
                        </a:rPr>
                        <a:t>Linde PLC</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GB" sz="1000" b="0" i="0" u="none" strike="noStrike">
                          <a:solidFill>
                            <a:srgbClr val="000000"/>
                          </a:solidFill>
                          <a:effectLst/>
                          <a:latin typeface="Arial" panose="020B0604020202020204" pitchFamily="34" charset="0"/>
                        </a:rPr>
                        <a:t>Materials</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25,2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4%</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Arial" panose="020B0604020202020204" pitchFamily="34" charset="0"/>
                        </a:rPr>
                        <a:t>8%</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7725002"/>
                  </a:ext>
                </a:extLst>
              </a:tr>
              <a:tr h="93610">
                <a:tc>
                  <a:txBody>
                    <a:bodyPr/>
                    <a:lstStyle/>
                    <a:p>
                      <a:pPr algn="l" fontAlgn="b"/>
                      <a:r>
                        <a:rPr lang="en-US" sz="1050" b="1" i="0" u="none" strike="noStrike" dirty="0" err="1">
                          <a:solidFill>
                            <a:srgbClr val="000000"/>
                          </a:solidFill>
                          <a:effectLst/>
                          <a:latin typeface="+mj-lt"/>
                        </a:rPr>
                        <a:t>Durchschnitt</a:t>
                      </a:r>
                      <a:endParaRPr lang="en-US" sz="1050" b="1" i="0" u="none" strike="noStrike" dirty="0">
                        <a:solidFill>
                          <a:srgbClr val="000000"/>
                        </a:solidFill>
                        <a:effectLst/>
                        <a:latin typeface="+mj-lt"/>
                      </a:endParaRPr>
                    </a:p>
                  </a:txBody>
                  <a:tcPr marL="36000" marR="0" marT="0" marB="0" anchor="b">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GB" sz="1050" b="1" i="0" u="none" strike="noStrike" dirty="0">
                        <a:solidFill>
                          <a:srgbClr val="000000"/>
                        </a:solidFill>
                        <a:effectLst/>
                        <a:latin typeface="+mj-lt"/>
                      </a:endParaRPr>
                    </a:p>
                  </a:txBody>
                  <a:tcPr marL="3600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de-DE" sz="1050" b="1" i="0" u="none" strike="noStrike" dirty="0">
                          <a:solidFill>
                            <a:srgbClr val="000000"/>
                          </a:solidFill>
                          <a:effectLst/>
                          <a:latin typeface="+mj-lt"/>
                        </a:rPr>
                        <a:t>19,2x</a:t>
                      </a:r>
                      <a:endParaRPr lang="en-GB" sz="1050" b="1" i="0" u="none" strike="noStrike" dirty="0">
                        <a:solidFill>
                          <a:srgbClr val="000000"/>
                        </a:solidFill>
                        <a:effectLst/>
                        <a:latin typeface="+mj-lt"/>
                      </a:endParaRPr>
                    </a:p>
                  </a:txBody>
                  <a:tcPr marL="3600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de-DE" sz="1050" b="1" i="0" u="none" strike="noStrike" dirty="0">
                          <a:solidFill>
                            <a:srgbClr val="000000"/>
                          </a:solidFill>
                          <a:effectLst/>
                          <a:latin typeface="+mj-lt"/>
                        </a:rPr>
                        <a:t>5%</a:t>
                      </a:r>
                      <a:endParaRPr lang="en-GB" sz="1050" b="1" i="0" u="none" strike="noStrike" dirty="0">
                        <a:solidFill>
                          <a:srgbClr val="000000"/>
                        </a:solidFill>
                        <a:effectLst/>
                        <a:latin typeface="+mj-lt"/>
                      </a:endParaRPr>
                    </a:p>
                  </a:txBody>
                  <a:tcPr marL="3600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de-DE" sz="1050" b="1" i="0" u="none" strike="noStrike" dirty="0">
                          <a:solidFill>
                            <a:srgbClr val="000000"/>
                          </a:solidFill>
                          <a:effectLst/>
                          <a:latin typeface="+mj-lt"/>
                        </a:rPr>
                        <a:t>7%</a:t>
                      </a:r>
                      <a:endParaRPr lang="en-GB" sz="1050" b="1" i="0" u="none" strike="noStrike" dirty="0">
                        <a:solidFill>
                          <a:srgbClr val="000000"/>
                        </a:solidFill>
                        <a:effectLst/>
                        <a:latin typeface="+mj-lt"/>
                      </a:endParaRPr>
                    </a:p>
                  </a:txBody>
                  <a:tcPr marL="3600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00401405"/>
                  </a:ext>
                </a:extLst>
              </a:tr>
            </a:tbl>
          </a:graphicData>
        </a:graphic>
      </p:graphicFrame>
      <p:graphicFrame>
        <p:nvGraphicFramePr>
          <p:cNvPr id="12" name="Table 11">
            <a:extLst>
              <a:ext uri="{FF2B5EF4-FFF2-40B4-BE49-F238E27FC236}">
                <a16:creationId xmlns:a16="http://schemas.microsoft.com/office/drawing/2014/main" id="{AB06A7A6-3F4C-45D2-A454-59865A985453}"/>
              </a:ext>
            </a:extLst>
          </p:cNvPr>
          <p:cNvGraphicFramePr>
            <a:graphicFrameLocks noGrp="1"/>
          </p:cNvGraphicFramePr>
          <p:nvPr>
            <p:extLst>
              <p:ext uri="{D42A27DB-BD31-4B8C-83A1-F6EECF244321}">
                <p14:modId xmlns:p14="http://schemas.microsoft.com/office/powerpoint/2010/main" val="3398973171"/>
              </p:ext>
            </p:extLst>
          </p:nvPr>
        </p:nvGraphicFramePr>
        <p:xfrm>
          <a:off x="250825" y="3933056"/>
          <a:ext cx="8441847" cy="2288925"/>
        </p:xfrm>
        <a:graphic>
          <a:graphicData uri="http://schemas.openxmlformats.org/drawingml/2006/table">
            <a:tbl>
              <a:tblPr firstRow="1" lastRow="1">
                <a:tableStyleId>{7D95DDBC-5C31-40A9-B56D-BDF15E579DC0}</a:tableStyleId>
              </a:tblPr>
              <a:tblGrid>
                <a:gridCol w="1368847">
                  <a:extLst>
                    <a:ext uri="{9D8B030D-6E8A-4147-A177-3AD203B41FA5}">
                      <a16:colId xmlns:a16="http://schemas.microsoft.com/office/drawing/2014/main" val="1357661170"/>
                    </a:ext>
                  </a:extLst>
                </a:gridCol>
                <a:gridCol w="1728192">
                  <a:extLst>
                    <a:ext uri="{9D8B030D-6E8A-4147-A177-3AD203B41FA5}">
                      <a16:colId xmlns:a16="http://schemas.microsoft.com/office/drawing/2014/main" val="727017366"/>
                    </a:ext>
                  </a:extLst>
                </a:gridCol>
                <a:gridCol w="1224136">
                  <a:extLst>
                    <a:ext uri="{9D8B030D-6E8A-4147-A177-3AD203B41FA5}">
                      <a16:colId xmlns:a16="http://schemas.microsoft.com/office/drawing/2014/main" val="1956403086"/>
                    </a:ext>
                  </a:extLst>
                </a:gridCol>
                <a:gridCol w="2088232">
                  <a:extLst>
                    <a:ext uri="{9D8B030D-6E8A-4147-A177-3AD203B41FA5}">
                      <a16:colId xmlns:a16="http://schemas.microsoft.com/office/drawing/2014/main" val="2877961110"/>
                    </a:ext>
                  </a:extLst>
                </a:gridCol>
                <a:gridCol w="2032440">
                  <a:extLst>
                    <a:ext uri="{9D8B030D-6E8A-4147-A177-3AD203B41FA5}">
                      <a16:colId xmlns:a16="http://schemas.microsoft.com/office/drawing/2014/main" val="2549616063"/>
                    </a:ext>
                  </a:extLst>
                </a:gridCol>
              </a:tblGrid>
              <a:tr h="437008">
                <a:tc>
                  <a:txBody>
                    <a:bodyPr/>
                    <a:lstStyle/>
                    <a:p>
                      <a:pPr algn="l"/>
                      <a:r>
                        <a:rPr lang="de-DE" sz="1200" noProof="0" dirty="0">
                          <a:solidFill>
                            <a:schemeClr val="tx1"/>
                          </a:solidFill>
                          <a:latin typeface="+mj-lt"/>
                        </a:rPr>
                        <a:t>Top 10 USA</a:t>
                      </a:r>
                      <a:endParaRPr lang="en-GB" sz="1200" baseline="30000" noProof="0" dirty="0">
                        <a:solidFill>
                          <a:schemeClr val="tx1"/>
                        </a:solidFill>
                        <a:latin typeface="+mj-lt"/>
                      </a:endParaRPr>
                    </a:p>
                  </a:txBody>
                  <a:tcPr marL="36000" marR="66462" marT="72000" marB="72000" anchor="b">
                    <a:lnR>
                      <a:noFill/>
                    </a:lnR>
                  </a:tcPr>
                </a:tc>
                <a:tc>
                  <a:txBody>
                    <a:bodyPr/>
                    <a:lstStyle/>
                    <a:p>
                      <a:pPr algn="l"/>
                      <a:r>
                        <a:rPr lang="de-DE" sz="1200" b="1" i="0" noProof="0" dirty="0">
                          <a:solidFill>
                            <a:schemeClr val="tx1"/>
                          </a:solidFill>
                          <a:latin typeface="+mj-lt"/>
                        </a:rPr>
                        <a:t>Sektor</a:t>
                      </a:r>
                      <a:endParaRPr lang="en-GB" sz="1200" b="1" i="0" noProof="0" dirty="0">
                        <a:solidFill>
                          <a:schemeClr val="tx1"/>
                        </a:solidFill>
                        <a:latin typeface="+mj-lt"/>
                      </a:endParaRPr>
                    </a:p>
                  </a:txBody>
                  <a:tcPr marL="36000" marR="66462" marT="72000" marB="72000" anchor="b">
                    <a:lnL>
                      <a:noFill/>
                    </a:lnL>
                    <a:lnR>
                      <a:noFill/>
                    </a:lnR>
                  </a:tcPr>
                </a:tc>
                <a:tc>
                  <a:txBody>
                    <a:bodyPr/>
                    <a:lstStyle/>
                    <a:p>
                      <a:pPr algn="l"/>
                      <a:r>
                        <a:rPr lang="de-DE" sz="1200" b="1" i="0" noProof="0" dirty="0">
                          <a:solidFill>
                            <a:schemeClr val="tx1"/>
                          </a:solidFill>
                          <a:latin typeface="+mj-lt"/>
                        </a:rPr>
                        <a:t>KGV 2023E</a:t>
                      </a:r>
                      <a:endParaRPr lang="en-GB" sz="1200" b="1" i="0" noProof="0" dirty="0">
                        <a:solidFill>
                          <a:schemeClr val="tx1"/>
                        </a:solidFill>
                        <a:latin typeface="+mj-lt"/>
                      </a:endParaRPr>
                    </a:p>
                  </a:txBody>
                  <a:tcPr marL="36000" marR="66462" marT="72000" marB="72000" anchor="b">
                    <a:lnL>
                      <a:noFill/>
                    </a:lnL>
                    <a:lnR>
                      <a:noFill/>
                    </a:lnR>
                  </a:tcPr>
                </a:tc>
                <a:tc>
                  <a:txBody>
                    <a:bodyPr/>
                    <a:lstStyle/>
                    <a:p>
                      <a:pPr algn="l"/>
                      <a:r>
                        <a:rPr lang="de-DE" sz="1200" b="1" i="0" noProof="0" dirty="0">
                          <a:solidFill>
                            <a:schemeClr val="tx1"/>
                          </a:solidFill>
                          <a:latin typeface="+mj-lt"/>
                        </a:rPr>
                        <a:t>Umsatzwachstum (22-25E)</a:t>
                      </a:r>
                      <a:endParaRPr lang="en-GB" sz="1200" b="1" i="0" noProof="0" dirty="0">
                        <a:solidFill>
                          <a:schemeClr val="tx1"/>
                        </a:solidFill>
                        <a:latin typeface="+mj-lt"/>
                      </a:endParaRPr>
                    </a:p>
                  </a:txBody>
                  <a:tcPr marL="36000" marR="66462" marT="72000" marB="72000" anchor="b">
                    <a:lnL>
                      <a:noFill/>
                    </a:lnL>
                    <a:lnR>
                      <a:noFill/>
                    </a:lnR>
                  </a:tcPr>
                </a:tc>
                <a:tc>
                  <a:txBody>
                    <a:bodyPr/>
                    <a:lstStyle/>
                    <a:p>
                      <a:pPr algn="l"/>
                      <a:r>
                        <a:rPr lang="de-DE" sz="1200" b="1" i="0" noProof="0" dirty="0">
                          <a:solidFill>
                            <a:schemeClr val="tx1"/>
                          </a:solidFill>
                          <a:latin typeface="+mj-lt"/>
                        </a:rPr>
                        <a:t>EPS Wachstum (22-25E)</a:t>
                      </a:r>
                      <a:endParaRPr lang="en-GB" sz="1200" b="1" i="0" noProof="0" dirty="0">
                        <a:solidFill>
                          <a:schemeClr val="tx1"/>
                        </a:solidFill>
                        <a:latin typeface="+mj-lt"/>
                      </a:endParaRPr>
                    </a:p>
                  </a:txBody>
                  <a:tcPr marL="36000" marR="66462" marT="72000" marB="72000" anchor="b">
                    <a:lnL>
                      <a:noFill/>
                    </a:lnL>
                    <a:lnR>
                      <a:noFill/>
                    </a:lnR>
                  </a:tcPr>
                </a:tc>
                <a:extLst>
                  <a:ext uri="{0D108BD9-81ED-4DB2-BD59-A6C34878D82A}">
                    <a16:rowId xmlns:a16="http://schemas.microsoft.com/office/drawing/2014/main" val="3635764662"/>
                  </a:ext>
                </a:extLst>
              </a:tr>
              <a:tr h="156467">
                <a:tc>
                  <a:txBody>
                    <a:bodyPr/>
                    <a:lstStyle/>
                    <a:p>
                      <a:pPr algn="l" fontAlgn="b"/>
                      <a:r>
                        <a:rPr lang="en-GB" sz="1000" b="0" i="0" u="none" strike="noStrike" dirty="0">
                          <a:solidFill>
                            <a:srgbClr val="000000"/>
                          </a:solidFill>
                          <a:effectLst/>
                          <a:latin typeface="Arial" panose="020B0604020202020204" pitchFamily="34" charset="0"/>
                        </a:rPr>
                        <a:t>Apple Inc</a:t>
                      </a:r>
                    </a:p>
                  </a:txBody>
                  <a:tcPr marL="9525" marR="9525" marT="9525" marB="0" anchor="b">
                    <a:lnR>
                      <a:noFill/>
                    </a:lnR>
                  </a:tcPr>
                </a:tc>
                <a:tc>
                  <a:txBody>
                    <a:bodyPr/>
                    <a:lstStyle/>
                    <a:p>
                      <a:pPr algn="l" fontAlgn="b"/>
                      <a:r>
                        <a:rPr lang="en-GB" sz="1000" b="0" i="0" u="none" strike="noStrike" dirty="0">
                          <a:solidFill>
                            <a:srgbClr val="000000"/>
                          </a:solidFill>
                          <a:effectLst/>
                          <a:latin typeface="Arial" panose="020B0604020202020204" pitchFamily="34" charset="0"/>
                        </a:rPr>
                        <a:t>Information Technology</a:t>
                      </a:r>
                    </a:p>
                  </a:txBody>
                  <a:tcPr marL="9525" marR="9525" marT="9525" marB="0" anchor="b">
                    <a:lnL>
                      <a:noFill/>
                    </a:lnL>
                    <a:lnR>
                      <a:noFill/>
                    </a:lnR>
                  </a:tcPr>
                </a:tc>
                <a:tc>
                  <a:txBody>
                    <a:bodyPr/>
                    <a:lstStyle/>
                    <a:p>
                      <a:pPr algn="ctr" fontAlgn="b"/>
                      <a:r>
                        <a:rPr lang="en-GB" sz="1050" b="0" i="0" u="none" strike="noStrike" dirty="0">
                          <a:solidFill>
                            <a:srgbClr val="000000"/>
                          </a:solidFill>
                          <a:effectLst/>
                          <a:latin typeface="Arial" panose="020B0604020202020204" pitchFamily="34" charset="0"/>
                        </a:rPr>
                        <a:t>23,0x</a:t>
                      </a:r>
                    </a:p>
                  </a:txBody>
                  <a:tcPr marL="9525" marR="9525" marT="9525" marB="0" anchor="b">
                    <a:lnL>
                      <a:noFill/>
                    </a:lnL>
                    <a:lnR>
                      <a:noFill/>
                    </a:lnR>
                  </a:tcPr>
                </a:tc>
                <a:tc>
                  <a:txBody>
                    <a:bodyPr/>
                    <a:lstStyle/>
                    <a:p>
                      <a:pPr algn="ctr" fontAlgn="b"/>
                      <a:r>
                        <a:rPr lang="en-GB" sz="1050" b="0" i="0" u="none" strike="noStrike">
                          <a:solidFill>
                            <a:srgbClr val="000000"/>
                          </a:solidFill>
                          <a:effectLst/>
                          <a:latin typeface="Arial" panose="020B0604020202020204" pitchFamily="34" charset="0"/>
                        </a:rPr>
                        <a:t>5%</a:t>
                      </a:r>
                    </a:p>
                  </a:txBody>
                  <a:tcPr marL="9525" marR="9525" marT="9525" marB="0" anchor="b">
                    <a:lnL>
                      <a:noFill/>
                    </a:lnL>
                    <a:lnR>
                      <a:noFill/>
                    </a:lnR>
                  </a:tcPr>
                </a:tc>
                <a:tc>
                  <a:txBody>
                    <a:bodyPr/>
                    <a:lstStyle/>
                    <a:p>
                      <a:pPr algn="ctr" fontAlgn="b"/>
                      <a:r>
                        <a:rPr lang="en-GB" sz="1050" b="0" i="0" u="none" strike="noStrike">
                          <a:solidFill>
                            <a:srgbClr val="000000"/>
                          </a:solidFill>
                          <a:effectLst/>
                          <a:latin typeface="Arial" panose="020B0604020202020204" pitchFamily="34" charset="0"/>
                        </a:rPr>
                        <a:t>6%</a:t>
                      </a:r>
                    </a:p>
                  </a:txBody>
                  <a:tcPr marL="9525" marR="9525" marT="9525" marB="0" anchor="b">
                    <a:lnL>
                      <a:noFill/>
                    </a:lnL>
                    <a:lnR>
                      <a:noFill/>
                    </a:lnR>
                  </a:tcPr>
                </a:tc>
                <a:extLst>
                  <a:ext uri="{0D108BD9-81ED-4DB2-BD59-A6C34878D82A}">
                    <a16:rowId xmlns:a16="http://schemas.microsoft.com/office/drawing/2014/main" val="3733163959"/>
                  </a:ext>
                </a:extLst>
              </a:tr>
              <a:tr h="156467">
                <a:tc>
                  <a:txBody>
                    <a:bodyPr/>
                    <a:lstStyle/>
                    <a:p>
                      <a:pPr algn="l" fontAlgn="b"/>
                      <a:r>
                        <a:rPr lang="en-GB" sz="1000" b="0" i="0" u="none" strike="noStrike" dirty="0">
                          <a:solidFill>
                            <a:srgbClr val="000000"/>
                          </a:solidFill>
                          <a:effectLst/>
                          <a:latin typeface="Arial" panose="020B0604020202020204" pitchFamily="34" charset="0"/>
                        </a:rPr>
                        <a:t>Microsoft Corp</a:t>
                      </a:r>
                    </a:p>
                  </a:txBody>
                  <a:tcPr marL="9525" marR="9525" marT="9525" marB="0" anchor="b">
                    <a:lnR>
                      <a:noFill/>
                    </a:lnR>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a:solidFill>
                            <a:srgbClr val="000000"/>
                          </a:solidFill>
                          <a:effectLst/>
                          <a:latin typeface="Arial" panose="020B0604020202020204" pitchFamily="34" charset="0"/>
                        </a:rPr>
                        <a:t>Information Technology</a:t>
                      </a:r>
                    </a:p>
                  </a:txBody>
                  <a:tcPr marL="9525" marR="9525" marT="9525" marB="0" anchor="b">
                    <a:lnL>
                      <a:noFill/>
                    </a:lnL>
                    <a:lnR>
                      <a:noFill/>
                    </a:lnR>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24,2x</a:t>
                      </a:r>
                    </a:p>
                  </a:txBody>
                  <a:tcPr marL="9525" marR="9525" marT="9525" marB="0" anchor="b">
                    <a:lnL>
                      <a:noFill/>
                    </a:lnL>
                    <a:lnR>
                      <a:noFill/>
                    </a:lnR>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Arial" panose="020B0604020202020204" pitchFamily="34" charset="0"/>
                        </a:rPr>
                        <a:t>10%</a:t>
                      </a:r>
                    </a:p>
                  </a:txBody>
                  <a:tcPr marL="9525" marR="9525" marT="9525" marB="0" anchor="b">
                    <a:lnL>
                      <a:noFill/>
                    </a:lnL>
                    <a:lnR>
                      <a:noFill/>
                    </a:lnR>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10%</a:t>
                      </a:r>
                    </a:p>
                  </a:txBody>
                  <a:tcPr marL="9525" marR="9525" marT="9525" marB="0" anchor="b">
                    <a:lnL>
                      <a:noFill/>
                    </a:lnL>
                    <a:lnR>
                      <a:noFill/>
                    </a:lnR>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194380627"/>
                  </a:ext>
                </a:extLst>
              </a:tr>
              <a:tr h="156467">
                <a:tc>
                  <a:txBody>
                    <a:bodyPr/>
                    <a:lstStyle/>
                    <a:p>
                      <a:pPr algn="l" fontAlgn="b"/>
                      <a:r>
                        <a:rPr lang="en-GB" sz="1000" b="0" i="0" u="none" strike="noStrike" dirty="0">
                          <a:solidFill>
                            <a:srgbClr val="000000"/>
                          </a:solidFill>
                          <a:effectLst/>
                          <a:latin typeface="Arial" panose="020B0604020202020204" pitchFamily="34" charset="0"/>
                        </a:rPr>
                        <a:t>Amazon.com Inc</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dirty="0">
                          <a:solidFill>
                            <a:srgbClr val="000000"/>
                          </a:solidFill>
                          <a:effectLst/>
                          <a:latin typeface="Arial" panose="020B0604020202020204" pitchFamily="34" charset="0"/>
                        </a:rPr>
                        <a:t>Consumer Discretionary</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34,5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12%</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59%</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496102406"/>
                  </a:ext>
                </a:extLst>
              </a:tr>
              <a:tr h="156467">
                <a:tc>
                  <a:txBody>
                    <a:bodyPr/>
                    <a:lstStyle/>
                    <a:p>
                      <a:pPr algn="l" fontAlgn="b"/>
                      <a:r>
                        <a:rPr lang="en-GB" sz="1000" b="0" i="0" u="none" strike="noStrike">
                          <a:solidFill>
                            <a:srgbClr val="000000"/>
                          </a:solidFill>
                          <a:effectLst/>
                          <a:latin typeface="Arial" panose="020B0604020202020204" pitchFamily="34" charset="0"/>
                        </a:rPr>
                        <a:t>Meta Platforms Inc</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dirty="0">
                          <a:solidFill>
                            <a:srgbClr val="000000"/>
                          </a:solidFill>
                          <a:effectLst/>
                          <a:latin typeface="Arial" panose="020B0604020202020204" pitchFamily="34" charset="0"/>
                        </a:rPr>
                        <a:t>Communication Services</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14,3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Arial" panose="020B0604020202020204" pitchFamily="34" charset="0"/>
                        </a:rPr>
                        <a:t>9%</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6%</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159701850"/>
                  </a:ext>
                </a:extLst>
              </a:tr>
              <a:tr h="156467">
                <a:tc>
                  <a:txBody>
                    <a:bodyPr/>
                    <a:lstStyle/>
                    <a:p>
                      <a:pPr algn="l" fontAlgn="b"/>
                      <a:r>
                        <a:rPr lang="en-GB" sz="1000" b="0" i="0" u="none" strike="noStrike">
                          <a:solidFill>
                            <a:srgbClr val="000000"/>
                          </a:solidFill>
                          <a:effectLst/>
                          <a:latin typeface="Arial" panose="020B0604020202020204" pitchFamily="34" charset="0"/>
                        </a:rPr>
                        <a:t>Tesla Inc</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a:solidFill>
                            <a:srgbClr val="000000"/>
                          </a:solidFill>
                          <a:effectLst/>
                          <a:latin typeface="Arial" panose="020B0604020202020204" pitchFamily="34" charset="0"/>
                        </a:rPr>
                        <a:t>Consumer Discretionary</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40,0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25%</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22%</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407189109"/>
                  </a:ext>
                </a:extLst>
              </a:tr>
              <a:tr h="156467">
                <a:tc>
                  <a:txBody>
                    <a:bodyPr/>
                    <a:lstStyle/>
                    <a:p>
                      <a:pPr algn="l" fontAlgn="b"/>
                      <a:r>
                        <a:rPr lang="en-GB" sz="1000" b="0" i="0" u="none" strike="noStrike">
                          <a:solidFill>
                            <a:srgbClr val="000000"/>
                          </a:solidFill>
                          <a:effectLst/>
                          <a:latin typeface="Arial" panose="020B0604020202020204" pitchFamily="34" charset="0"/>
                        </a:rPr>
                        <a:t>Alphabet Inc</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dirty="0">
                          <a:solidFill>
                            <a:srgbClr val="000000"/>
                          </a:solidFill>
                          <a:effectLst/>
                          <a:latin typeface="Arial" panose="020B0604020202020204" pitchFamily="34" charset="0"/>
                        </a:rPr>
                        <a:t>Communication Services</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17,3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11%</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Arial" panose="020B0604020202020204" pitchFamily="34" charset="0"/>
                        </a:rPr>
                        <a:t>16%</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9714314"/>
                  </a:ext>
                </a:extLst>
              </a:tr>
              <a:tr h="156467">
                <a:tc>
                  <a:txBody>
                    <a:bodyPr/>
                    <a:lstStyle/>
                    <a:p>
                      <a:pPr algn="l" fontAlgn="b"/>
                      <a:r>
                        <a:rPr lang="en-GB" sz="1000" b="0" i="0" u="none" strike="noStrike">
                          <a:solidFill>
                            <a:srgbClr val="000000"/>
                          </a:solidFill>
                          <a:effectLst/>
                          <a:latin typeface="Arial" panose="020B0604020202020204" pitchFamily="34" charset="0"/>
                        </a:rPr>
                        <a:t>Alphabet Inc</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a:solidFill>
                            <a:srgbClr val="000000"/>
                          </a:solidFill>
                          <a:effectLst/>
                          <a:latin typeface="Arial" panose="020B0604020202020204" pitchFamily="34" charset="0"/>
                        </a:rPr>
                        <a:t>Communication Services</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Arial" panose="020B0604020202020204" pitchFamily="34" charset="0"/>
                        </a:rPr>
                        <a:t>17,6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11%</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16%</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005757162"/>
                  </a:ext>
                </a:extLst>
              </a:tr>
              <a:tr h="156467">
                <a:tc>
                  <a:txBody>
                    <a:bodyPr/>
                    <a:lstStyle/>
                    <a:p>
                      <a:pPr algn="l" fontAlgn="b"/>
                      <a:r>
                        <a:rPr lang="en-GB" sz="1000" b="0" i="0" u="none" strike="noStrike">
                          <a:solidFill>
                            <a:srgbClr val="000000"/>
                          </a:solidFill>
                          <a:effectLst/>
                          <a:latin typeface="Arial" panose="020B0604020202020204" pitchFamily="34" charset="0"/>
                        </a:rPr>
                        <a:t>Berkshire Hathaway Inc</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dirty="0">
                          <a:solidFill>
                            <a:srgbClr val="000000"/>
                          </a:solidFill>
                          <a:effectLst/>
                          <a:latin typeface="Arial" panose="020B0604020202020204" pitchFamily="34" charset="0"/>
                        </a:rPr>
                        <a:t>Financials</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22,2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5%</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Arial" panose="020B0604020202020204" pitchFamily="34" charset="0"/>
                        </a:rPr>
                        <a:t>9%</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785862486"/>
                  </a:ext>
                </a:extLst>
              </a:tr>
              <a:tr h="156467">
                <a:tc>
                  <a:txBody>
                    <a:bodyPr/>
                    <a:lstStyle/>
                    <a:p>
                      <a:pPr algn="l" fontAlgn="b"/>
                      <a:r>
                        <a:rPr lang="en-GB" sz="1000" b="0" i="0" u="none" strike="noStrike" dirty="0">
                          <a:solidFill>
                            <a:srgbClr val="000000"/>
                          </a:solidFill>
                          <a:effectLst/>
                          <a:latin typeface="Arial" panose="020B0604020202020204" pitchFamily="34" charset="0"/>
                        </a:rPr>
                        <a:t>Johnson &amp; Johnson</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l" fontAlgn="b"/>
                      <a:r>
                        <a:rPr lang="en-GB" sz="1000" b="0" i="0" u="none" strike="noStrike" dirty="0">
                          <a:solidFill>
                            <a:srgbClr val="000000"/>
                          </a:solidFill>
                          <a:effectLst/>
                          <a:latin typeface="Arial" panose="020B0604020202020204" pitchFamily="34" charset="0"/>
                        </a:rPr>
                        <a:t>Health Care</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16,0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Arial" panose="020B0604020202020204" pitchFamily="34" charset="0"/>
                        </a:rPr>
                        <a:t>3%</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Arial" panose="020B0604020202020204" pitchFamily="34" charset="0"/>
                        </a:rPr>
                        <a:t>4%</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382821111"/>
                  </a:ext>
                </a:extLst>
              </a:tr>
              <a:tr h="156467">
                <a:tc>
                  <a:txBody>
                    <a:bodyPr/>
                    <a:lstStyle/>
                    <a:p>
                      <a:pPr algn="l" fontAlgn="b"/>
                      <a:r>
                        <a:rPr lang="en-GB" sz="1000" b="0" i="0" u="none" strike="noStrike">
                          <a:solidFill>
                            <a:srgbClr val="000000"/>
                          </a:solidFill>
                          <a:effectLst/>
                          <a:latin typeface="Arial" panose="020B0604020202020204" pitchFamily="34" charset="0"/>
                        </a:rPr>
                        <a:t>JPMorgan Chase &amp; Co</a:t>
                      </a:r>
                    </a:p>
                  </a:txBody>
                  <a:tcPr marL="9525" marR="9525" marT="9525" marB="0" anchor="b">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GB" sz="1000" b="0" i="0" u="none" strike="noStrike" dirty="0">
                          <a:solidFill>
                            <a:srgbClr val="000000"/>
                          </a:solidFill>
                          <a:effectLst/>
                          <a:latin typeface="Arial" panose="020B0604020202020204" pitchFamily="34" charset="0"/>
                        </a:rPr>
                        <a:t>Financials</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Arial" panose="020B0604020202020204" pitchFamily="34" charset="0"/>
                        </a:rPr>
                        <a:t>10,8x</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Arial" panose="020B0604020202020204" pitchFamily="34" charset="0"/>
                        </a:rPr>
                        <a:t>5%</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Arial" panose="020B0604020202020204" pitchFamily="34" charset="0"/>
                        </a:rPr>
                        <a:t>7%</a:t>
                      </a:r>
                    </a:p>
                  </a:txBody>
                  <a:tcPr marL="9525" marR="9525" marT="9525" marB="0" anchor="b">
                    <a:lnL>
                      <a:noFill/>
                    </a:lnL>
                    <a:lnR>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7725002"/>
                  </a:ext>
                </a:extLst>
              </a:tr>
              <a:tr h="156467">
                <a:tc>
                  <a:txBody>
                    <a:bodyPr/>
                    <a:lstStyle/>
                    <a:p>
                      <a:pPr algn="l" fontAlgn="b"/>
                      <a:r>
                        <a:rPr lang="en-US" sz="1000" b="1" i="0" u="none" strike="noStrike" dirty="0" err="1">
                          <a:solidFill>
                            <a:srgbClr val="000000"/>
                          </a:solidFill>
                          <a:effectLst/>
                          <a:latin typeface="+mj-lt"/>
                        </a:rPr>
                        <a:t>Durchschnitt</a:t>
                      </a:r>
                      <a:endParaRPr lang="en-US" sz="1000" b="1" i="0" u="none" strike="noStrike" dirty="0">
                        <a:solidFill>
                          <a:srgbClr val="000000"/>
                        </a:solidFill>
                        <a:effectLst/>
                        <a:latin typeface="+mj-lt"/>
                      </a:endParaRPr>
                    </a:p>
                  </a:txBody>
                  <a:tcPr marL="36000" marR="0" marT="0" marB="0" anchor="b">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GB" sz="1000" b="1" i="0" u="none" strike="noStrike" dirty="0">
                        <a:solidFill>
                          <a:srgbClr val="000000"/>
                        </a:solidFill>
                        <a:effectLst/>
                        <a:latin typeface="+mj-lt"/>
                      </a:endParaRPr>
                    </a:p>
                  </a:txBody>
                  <a:tcPr marL="3600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de-DE" sz="1000" b="1" i="0" u="none" strike="noStrike" dirty="0">
                          <a:solidFill>
                            <a:srgbClr val="000000"/>
                          </a:solidFill>
                          <a:effectLst/>
                          <a:latin typeface="+mj-lt"/>
                        </a:rPr>
                        <a:t>22,0x</a:t>
                      </a:r>
                      <a:endParaRPr lang="en-GB" sz="1000" b="1" i="0" u="none" strike="noStrike" dirty="0">
                        <a:solidFill>
                          <a:srgbClr val="000000"/>
                        </a:solidFill>
                        <a:effectLst/>
                        <a:latin typeface="+mj-lt"/>
                      </a:endParaRPr>
                    </a:p>
                  </a:txBody>
                  <a:tcPr marL="3600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de-DE" sz="1000" b="1" i="0" u="none" strike="noStrike" dirty="0">
                          <a:solidFill>
                            <a:srgbClr val="000000"/>
                          </a:solidFill>
                          <a:effectLst/>
                          <a:latin typeface="+mj-lt"/>
                        </a:rPr>
                        <a:t>10%</a:t>
                      </a:r>
                      <a:endParaRPr lang="en-GB" sz="1000" b="1" i="0" u="none" strike="noStrike" dirty="0">
                        <a:solidFill>
                          <a:srgbClr val="000000"/>
                        </a:solidFill>
                        <a:effectLst/>
                        <a:latin typeface="+mj-lt"/>
                      </a:endParaRPr>
                    </a:p>
                  </a:txBody>
                  <a:tcPr marL="3600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de-DE" sz="1000" b="1" i="0" u="none" strike="noStrike" dirty="0">
                          <a:solidFill>
                            <a:srgbClr val="000000"/>
                          </a:solidFill>
                          <a:effectLst/>
                          <a:latin typeface="+mj-lt"/>
                        </a:rPr>
                        <a:t>16%</a:t>
                      </a:r>
                      <a:endParaRPr lang="en-GB" sz="1000" b="1" i="0" u="none" strike="noStrike" dirty="0">
                        <a:solidFill>
                          <a:srgbClr val="000000"/>
                        </a:solidFill>
                        <a:effectLst/>
                        <a:latin typeface="+mj-lt"/>
                      </a:endParaRPr>
                    </a:p>
                  </a:txBody>
                  <a:tcPr marL="3600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00401405"/>
                  </a:ext>
                </a:extLst>
              </a:tr>
            </a:tbl>
          </a:graphicData>
        </a:graphic>
      </p:graphicFrame>
    </p:spTree>
    <p:extLst>
      <p:ext uri="{BB962C8B-B14F-4D97-AF65-F5344CB8AC3E}">
        <p14:creationId xmlns:p14="http://schemas.microsoft.com/office/powerpoint/2010/main" val="3819880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20">
            <a:extLst>
              <a:ext uri="{FF2B5EF4-FFF2-40B4-BE49-F238E27FC236}">
                <a16:creationId xmlns:a16="http://schemas.microsoft.com/office/drawing/2014/main" id="{EDB3543B-2F6D-4472-8E26-659790E1CFD9}"/>
              </a:ext>
            </a:extLst>
          </p:cNvPr>
          <p:cNvSpPr>
            <a:spLocks noGrp="1"/>
          </p:cNvSpPr>
          <p:nvPr>
            <p:ph type="title"/>
          </p:nvPr>
        </p:nvSpPr>
        <p:spPr bwMode="gray">
          <a:xfrm>
            <a:off x="250825" y="297447"/>
            <a:ext cx="6480000" cy="611273"/>
          </a:xfrm>
        </p:spPr>
        <p:txBody>
          <a:bodyPr/>
          <a:lstStyle/>
          <a:p>
            <a:r>
              <a:rPr lang="de-DE" dirty="0">
                <a:solidFill>
                  <a:srgbClr val="000000"/>
                </a:solidFill>
                <a:latin typeface="Arial"/>
              </a:rPr>
              <a:t>Europäische Small Caps bieten attraktive Chancen im Vergleich zu den USA</a:t>
            </a:r>
            <a:endParaRPr lang="de-DE" b="0" dirty="0">
              <a:solidFill>
                <a:srgbClr val="000000"/>
              </a:solidFill>
              <a:latin typeface="Arial"/>
            </a:endParaRPr>
          </a:p>
        </p:txBody>
      </p:sp>
      <p:sp>
        <p:nvSpPr>
          <p:cNvPr id="17" name="Text Box 6">
            <a:extLst>
              <a:ext uri="{FF2B5EF4-FFF2-40B4-BE49-F238E27FC236}">
                <a16:creationId xmlns:a16="http://schemas.microsoft.com/office/drawing/2014/main" id="{F638282C-2E4A-4E7E-9926-8949F24E0143}"/>
              </a:ext>
            </a:extLst>
          </p:cNvPr>
          <p:cNvSpPr txBox="1">
            <a:spLocks noChangeArrowheads="1"/>
          </p:cNvSpPr>
          <p:nvPr>
            <p:custDataLst>
              <p:tags r:id="rId1"/>
            </p:custDataLst>
          </p:nvPr>
        </p:nvSpPr>
        <p:spPr bwMode="gray">
          <a:xfrm>
            <a:off x="250824" y="6310028"/>
            <a:ext cx="7057555" cy="143308"/>
          </a:xfrm>
          <a:prstGeom prst="rect">
            <a:avLst/>
          </a:prstGeom>
          <a:noFill/>
          <a:ln w="9525">
            <a:noFill/>
            <a:miter lim="800000"/>
            <a:headEnd/>
            <a:tailEnd/>
          </a:ln>
        </p:spPr>
        <p:txBody>
          <a:bodyPr wrap="none" lIns="0" tIns="0" rIns="0" bIns="0" anchor="b" anchorCtr="0">
            <a:noAutofit/>
          </a:bodyPr>
          <a:lstStyle/>
          <a:p>
            <a:pPr fontAlgn="base">
              <a:spcBef>
                <a:spcPct val="0"/>
              </a:spcBef>
              <a:spcAft>
                <a:spcPct val="0"/>
              </a:spcAft>
            </a:pPr>
            <a:r>
              <a:rPr lang="de-DE" sz="900" dirty="0">
                <a:latin typeface="+mj-lt"/>
              </a:rPr>
              <a:t>Quelle: Bloomberg, eigene Berechnungen, 27.01.2023</a:t>
            </a:r>
          </a:p>
        </p:txBody>
      </p:sp>
      <p:sp>
        <p:nvSpPr>
          <p:cNvPr id="2" name="Foliennummernplatzhalter 1"/>
          <p:cNvSpPr>
            <a:spLocks noGrp="1"/>
          </p:cNvSpPr>
          <p:nvPr>
            <p:ph type="sldNum" sz="quarter" idx="12"/>
          </p:nvPr>
        </p:nvSpPr>
        <p:spPr/>
        <p:txBody>
          <a:bodyPr/>
          <a:lstStyle/>
          <a:p>
            <a:fld id="{D7FBF016-173F-4D13-AB5B-81861F2E6151}" type="slidenum">
              <a:rPr lang="de-DE" smtClean="0">
                <a:solidFill>
                  <a:prstClr val="black"/>
                </a:solidFill>
              </a:rPr>
              <a:pPr/>
              <a:t>14</a:t>
            </a:fld>
            <a:endParaRPr lang="de-DE" dirty="0">
              <a:solidFill>
                <a:prstClr val="black"/>
              </a:solidFill>
            </a:endParaRPr>
          </a:p>
        </p:txBody>
      </p:sp>
      <p:sp>
        <p:nvSpPr>
          <p:cNvPr id="9" name="Inhaltsplatzhalter 29">
            <a:extLst>
              <a:ext uri="{FF2B5EF4-FFF2-40B4-BE49-F238E27FC236}">
                <a16:creationId xmlns:a16="http://schemas.microsoft.com/office/drawing/2014/main" id="{2BC7089E-9A8C-4D1C-91F5-F531968A4302}"/>
              </a:ext>
            </a:extLst>
          </p:cNvPr>
          <p:cNvSpPr txBox="1">
            <a:spLocks/>
          </p:cNvSpPr>
          <p:nvPr/>
        </p:nvSpPr>
        <p:spPr>
          <a:xfrm>
            <a:off x="266294" y="1340768"/>
            <a:ext cx="4168904" cy="2502173"/>
          </a:xfrm>
          <a:prstGeom prst="rect">
            <a:avLst/>
          </a:prstGeom>
          <a:noFill/>
        </p:spPr>
        <p:txBody>
          <a:bodyPr vert="horz" lIns="0" tIns="0" rIns="36000" bIns="0" rtlCol="0">
            <a:noAutofit/>
          </a:bodyPr>
          <a:lstStyle>
            <a:lvl1pPr marL="0" indent="0" algn="l" defTabSz="914400" rtl="0" eaLnBrk="1" latinLnBrk="0" hangingPunct="1">
              <a:lnSpc>
                <a:spcPct val="110000"/>
              </a:lnSpc>
              <a:spcBef>
                <a:spcPts val="6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buClr>
                <a:schemeClr val="tx2"/>
              </a:buClr>
              <a:buFont typeface="Arial" panose="020B0604020202020204"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4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9pPr>
          </a:lstStyle>
          <a:p>
            <a:pPr marL="1588" lvl="1" indent="0" fontAlgn="base">
              <a:spcAft>
                <a:spcPts val="300"/>
              </a:spcAft>
              <a:buClr>
                <a:srgbClr val="C6562C"/>
              </a:buClr>
              <a:buNone/>
              <a:defRPr/>
            </a:pPr>
            <a:r>
              <a:rPr lang="de-DE" b="1" dirty="0">
                <a:solidFill>
                  <a:srgbClr val="C6562C"/>
                </a:solidFill>
              </a:rPr>
              <a:t>Small vs. Large Cap in Europa und den USA</a:t>
            </a:r>
          </a:p>
        </p:txBody>
      </p:sp>
      <p:graphicFrame>
        <p:nvGraphicFramePr>
          <p:cNvPr id="10" name="Diagramm 9">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973551197"/>
              </p:ext>
            </p:extLst>
          </p:nvPr>
        </p:nvGraphicFramePr>
        <p:xfrm>
          <a:off x="266294" y="1628680"/>
          <a:ext cx="8626882" cy="4681347"/>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Gerader Verbinder 14">
            <a:extLst>
              <a:ext uri="{FF2B5EF4-FFF2-40B4-BE49-F238E27FC236}">
                <a16:creationId xmlns:a16="http://schemas.microsoft.com/office/drawing/2014/main" id="{0E385D86-2579-4606-9128-1459F70EBE13}"/>
              </a:ext>
            </a:extLst>
          </p:cNvPr>
          <p:cNvCxnSpPr/>
          <p:nvPr/>
        </p:nvCxnSpPr>
        <p:spPr bwMode="gray">
          <a:xfrm>
            <a:off x="251520"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64161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1F6ED8D-0322-4A43-B63C-53E5A03B03AD}"/>
              </a:ext>
            </a:extLst>
          </p:cNvPr>
          <p:cNvSpPr>
            <a:spLocks noGrp="1"/>
          </p:cNvSpPr>
          <p:nvPr>
            <p:ph type="sldNum" sz="quarter" idx="12"/>
          </p:nvPr>
        </p:nvSpPr>
        <p:spPr/>
        <p:txBody>
          <a:bodyPr/>
          <a:lstStyle/>
          <a:p>
            <a:fld id="{D7FBF016-173F-4D13-AB5B-81861F2E6151}" type="slidenum">
              <a:rPr lang="de-DE" noProof="0" smtClean="0"/>
              <a:pPr/>
              <a:t>15</a:t>
            </a:fld>
            <a:endParaRPr lang="de-DE" noProof="0" dirty="0"/>
          </a:p>
        </p:txBody>
      </p:sp>
      <p:sp>
        <p:nvSpPr>
          <p:cNvPr id="5" name="Title 4">
            <a:extLst>
              <a:ext uri="{FF2B5EF4-FFF2-40B4-BE49-F238E27FC236}">
                <a16:creationId xmlns:a16="http://schemas.microsoft.com/office/drawing/2014/main" id="{93EF770F-234D-48EA-8E7C-3DFA8D6EBFC3}"/>
              </a:ext>
            </a:extLst>
          </p:cNvPr>
          <p:cNvSpPr>
            <a:spLocks noGrp="1"/>
          </p:cNvSpPr>
          <p:nvPr>
            <p:ph type="title"/>
          </p:nvPr>
        </p:nvSpPr>
        <p:spPr/>
        <p:txBody>
          <a:bodyPr/>
          <a:lstStyle/>
          <a:p>
            <a:r>
              <a:rPr lang="de-DE" b="1" dirty="0"/>
              <a:t>Europa vs. USA </a:t>
            </a:r>
          </a:p>
        </p:txBody>
      </p:sp>
      <p:sp>
        <p:nvSpPr>
          <p:cNvPr id="14" name="Text Placeholder 9">
            <a:extLst>
              <a:ext uri="{FF2B5EF4-FFF2-40B4-BE49-F238E27FC236}">
                <a16:creationId xmlns:a16="http://schemas.microsoft.com/office/drawing/2014/main" id="{F19B2FC6-BB2D-46F2-9078-35C588168F43}"/>
              </a:ext>
            </a:extLst>
          </p:cNvPr>
          <p:cNvSpPr txBox="1">
            <a:spLocks/>
          </p:cNvSpPr>
          <p:nvPr/>
        </p:nvSpPr>
        <p:spPr>
          <a:xfrm>
            <a:off x="250825" y="1268412"/>
            <a:ext cx="8172796" cy="4752875"/>
          </a:xfrm>
          <a:prstGeom prst="rect">
            <a:avLst/>
          </a:prstGeom>
          <a:solidFill>
            <a:schemeClr val="accent6">
              <a:lumMod val="20000"/>
              <a:lumOff val="80000"/>
            </a:schemeClr>
          </a:solidFill>
        </p:spPr>
        <p:txBody>
          <a:bodyPr anchor="t"/>
          <a:lstStyle>
            <a:lvl1pPr marL="0" indent="0" algn="l" defTabSz="914400" rtl="0" eaLnBrk="1" latinLnBrk="0" hangingPunct="1">
              <a:lnSpc>
                <a:spcPct val="110000"/>
              </a:lnSpc>
              <a:spcBef>
                <a:spcPts val="600"/>
              </a:spcBef>
              <a:spcAft>
                <a:spcPts val="0"/>
              </a:spcAft>
              <a:buFont typeface="Arial" pitchFamily="34" charset="0"/>
              <a:buNone/>
              <a:defRPr sz="1400" b="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9pPr>
          </a:lstStyle>
          <a:p>
            <a:pPr marL="171450" lvl="0" indent="-171450" fontAlgn="auto">
              <a:buFont typeface="Arial" panose="020B0604020202020204" pitchFamily="34" charset="0"/>
              <a:buChar char="•"/>
              <a:defRPr/>
            </a:pPr>
            <a:endParaRPr lang="en-US" dirty="0">
              <a:solidFill>
                <a:prstClr val="black"/>
              </a:solidFill>
              <a:latin typeface="Arial"/>
            </a:endParaRPr>
          </a:p>
          <a:p>
            <a:pPr marL="171450" lvl="0" indent="-171450" fontAlgn="auto">
              <a:buFont typeface="Arial" panose="020B0604020202020204" pitchFamily="34" charset="0"/>
              <a:buChar char="•"/>
              <a:defRPr/>
            </a:pPr>
            <a:endParaRPr lang="en-US" dirty="0">
              <a:solidFill>
                <a:prstClr val="black"/>
              </a:solidFill>
              <a:latin typeface="Arial"/>
            </a:endParaRPr>
          </a:p>
          <a:p>
            <a:pPr marL="171450" lvl="0" indent="-171450" fontAlgn="auto">
              <a:spcAft>
                <a:spcPts val="1200"/>
              </a:spcAft>
              <a:buClr>
                <a:schemeClr val="tx2"/>
              </a:buClr>
              <a:buFont typeface="Arial" panose="020B0604020202020204" pitchFamily="34" charset="0"/>
              <a:buChar char="•"/>
              <a:defRPr/>
            </a:pPr>
            <a:r>
              <a:rPr lang="de-DE" dirty="0">
                <a:solidFill>
                  <a:prstClr val="black"/>
                </a:solidFill>
                <a:latin typeface="Arial"/>
              </a:rPr>
              <a:t>Sektorale Treiber sind wichtiger als regionale Unterschiede, denn gerade die großen Firmen erwirtschaften Ihre Umsätze global</a:t>
            </a:r>
          </a:p>
          <a:p>
            <a:pPr marL="171450" lvl="0" indent="-171450" fontAlgn="auto">
              <a:spcAft>
                <a:spcPts val="1200"/>
              </a:spcAft>
              <a:buClr>
                <a:schemeClr val="tx2"/>
              </a:buClr>
              <a:buFont typeface="Arial" panose="020B0604020202020204" pitchFamily="34" charset="0"/>
              <a:buChar char="•"/>
              <a:defRPr/>
            </a:pPr>
            <a:r>
              <a:rPr lang="de-DE" dirty="0" err="1">
                <a:solidFill>
                  <a:prstClr val="black"/>
                </a:solidFill>
                <a:latin typeface="Arial"/>
              </a:rPr>
              <a:t>Europa’s</a:t>
            </a:r>
            <a:r>
              <a:rPr lang="de-DE" dirty="0">
                <a:solidFill>
                  <a:prstClr val="black"/>
                </a:solidFill>
                <a:latin typeface="Arial"/>
              </a:rPr>
              <a:t> Attraktivität wird bestimmt durch die Vielfalt der Opportunitäten (fast 7.000 gelistete Firmen)</a:t>
            </a:r>
          </a:p>
          <a:p>
            <a:pPr marL="171450" lvl="0" indent="-171450">
              <a:spcAft>
                <a:spcPts val="1200"/>
              </a:spcAft>
              <a:buClr>
                <a:schemeClr val="tx2"/>
              </a:buClr>
              <a:buFont typeface="Arial" panose="020B0604020202020204" pitchFamily="34" charset="0"/>
              <a:buChar char="•"/>
              <a:defRPr/>
            </a:pPr>
            <a:r>
              <a:rPr lang="de-DE" dirty="0">
                <a:solidFill>
                  <a:prstClr val="black"/>
                </a:solidFill>
                <a:latin typeface="Arial"/>
              </a:rPr>
              <a:t>Insbesondere Nebenwerte können punkten mit </a:t>
            </a:r>
            <a:r>
              <a:rPr lang="de-DE" dirty="0">
                <a:solidFill>
                  <a:prstClr val="black"/>
                </a:solidFill>
              </a:rPr>
              <a:t>vielen Hidden Champions, die im Schnitt besseres </a:t>
            </a:r>
            <a:r>
              <a:rPr lang="de-DE" dirty="0">
                <a:solidFill>
                  <a:prstClr val="black"/>
                </a:solidFill>
                <a:latin typeface="Arial"/>
              </a:rPr>
              <a:t>Wachstum aufweisen</a:t>
            </a:r>
          </a:p>
          <a:p>
            <a:pPr marL="171450" lvl="0" indent="-171450" fontAlgn="auto">
              <a:spcAft>
                <a:spcPts val="1200"/>
              </a:spcAft>
              <a:buClr>
                <a:schemeClr val="tx2"/>
              </a:buClr>
              <a:buFont typeface="Arial" panose="020B0604020202020204" pitchFamily="34" charset="0"/>
              <a:buChar char="•"/>
              <a:defRPr/>
            </a:pPr>
            <a:r>
              <a:rPr lang="de-DE" dirty="0">
                <a:solidFill>
                  <a:prstClr val="black"/>
                </a:solidFill>
                <a:latin typeface="Arial"/>
              </a:rPr>
              <a:t>Auch im Large Cap Segment gibt es Technologieführer (ASML, Infineon, Novo, </a:t>
            </a:r>
            <a:r>
              <a:rPr lang="de-DE" dirty="0" err="1">
                <a:solidFill>
                  <a:prstClr val="black"/>
                </a:solidFill>
                <a:latin typeface="Arial"/>
              </a:rPr>
              <a:t>Adyen</a:t>
            </a:r>
            <a:r>
              <a:rPr lang="de-DE" dirty="0">
                <a:solidFill>
                  <a:prstClr val="black"/>
                </a:solidFill>
                <a:latin typeface="Arial"/>
              </a:rPr>
              <a:t>), innovative Industrieplayer (Epiroc, Sika, </a:t>
            </a:r>
            <a:r>
              <a:rPr lang="de-DE" dirty="0" err="1">
                <a:solidFill>
                  <a:prstClr val="black"/>
                </a:solidFill>
                <a:latin typeface="Arial"/>
              </a:rPr>
              <a:t>Kone</a:t>
            </a:r>
            <a:r>
              <a:rPr lang="de-DE" dirty="0">
                <a:solidFill>
                  <a:prstClr val="black"/>
                </a:solidFill>
                <a:latin typeface="Arial"/>
              </a:rPr>
              <a:t>, DSM, Lonza) und starke Marken (LVMH, Richemont, </a:t>
            </a:r>
            <a:r>
              <a:rPr lang="de-DE" dirty="0" err="1">
                <a:solidFill>
                  <a:prstClr val="black"/>
                </a:solidFill>
                <a:latin typeface="Arial"/>
              </a:rPr>
              <a:t>Moncler</a:t>
            </a:r>
            <a:r>
              <a:rPr lang="de-DE" dirty="0">
                <a:solidFill>
                  <a:prstClr val="black"/>
                </a:solidFill>
                <a:latin typeface="Arial"/>
              </a:rPr>
              <a:t>, Campari)</a:t>
            </a:r>
          </a:p>
          <a:p>
            <a:pPr marL="171450" lvl="0" indent="-171450" fontAlgn="auto">
              <a:spcAft>
                <a:spcPts val="1200"/>
              </a:spcAft>
              <a:buClr>
                <a:schemeClr val="tx2"/>
              </a:buClr>
              <a:buFont typeface="Arial" panose="020B0604020202020204" pitchFamily="34" charset="0"/>
              <a:buChar char="•"/>
              <a:defRPr/>
            </a:pPr>
            <a:r>
              <a:rPr lang="de-DE" dirty="0">
                <a:solidFill>
                  <a:prstClr val="black"/>
                </a:solidFill>
                <a:latin typeface="Arial"/>
              </a:rPr>
              <a:t>Technologiegewicht in den USA kurzfristig als Nachteil, langfristig bleiben aber viele Technologietrends, die unser Leben bestimmen</a:t>
            </a:r>
          </a:p>
        </p:txBody>
      </p:sp>
      <p:cxnSp>
        <p:nvCxnSpPr>
          <p:cNvPr id="15" name="Straight Connector 14">
            <a:extLst>
              <a:ext uri="{FF2B5EF4-FFF2-40B4-BE49-F238E27FC236}">
                <a16:creationId xmlns:a16="http://schemas.microsoft.com/office/drawing/2014/main" id="{38523F1F-018D-4BDA-AE0A-32F9F8D2CA45}"/>
              </a:ext>
            </a:extLst>
          </p:cNvPr>
          <p:cNvCxnSpPr>
            <a:cxnSpLocks/>
          </p:cNvCxnSpPr>
          <p:nvPr/>
        </p:nvCxnSpPr>
        <p:spPr>
          <a:xfrm>
            <a:off x="250825" y="1268413"/>
            <a:ext cx="194399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DC3ECEF4-94C4-4B6C-84F3-4A09696326DA}"/>
              </a:ext>
            </a:extLst>
          </p:cNvPr>
          <p:cNvSpPr/>
          <p:nvPr/>
        </p:nvSpPr>
        <p:spPr bwMode="gray">
          <a:xfrm>
            <a:off x="3707904" y="6453336"/>
            <a:ext cx="910759" cy="30492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spTree>
    <p:extLst>
      <p:ext uri="{BB962C8B-B14F-4D97-AF65-F5344CB8AC3E}">
        <p14:creationId xmlns:p14="http://schemas.microsoft.com/office/powerpoint/2010/main" val="3325432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7"/>
          <p:cNvSpPr txBox="1">
            <a:spLocks/>
          </p:cNvSpPr>
          <p:nvPr/>
        </p:nvSpPr>
        <p:spPr bwMode="gray">
          <a:xfrm>
            <a:off x="249349" y="1253918"/>
            <a:ext cx="4178635" cy="2407535"/>
          </a:xfrm>
          <a:prstGeom prst="rect">
            <a:avLst/>
          </a:prstGeom>
          <a:no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marL="172800" indent="-172800" fontAlgn="base">
              <a:lnSpc>
                <a:spcPct val="120000"/>
              </a:lnSpc>
              <a:buClr>
                <a:srgbClr val="C6562C"/>
              </a:buClr>
            </a:pPr>
            <a:r>
              <a:rPr lang="de-DE" sz="1100" b="1" dirty="0">
                <a:solidFill>
                  <a:prstClr val="black"/>
                </a:solidFill>
              </a:rPr>
              <a:t>Anlagekonzept</a:t>
            </a:r>
            <a:endParaRPr lang="de-DE" sz="1200" b="1" dirty="0">
              <a:solidFill>
                <a:prstClr val="black"/>
              </a:solidFill>
            </a:endParaRPr>
          </a:p>
          <a:p>
            <a:pPr marL="172800" indent="-172800" fontAlgn="base">
              <a:lnSpc>
                <a:spcPct val="120000"/>
              </a:lnSpc>
              <a:buClr>
                <a:srgbClr val="C6562C"/>
              </a:buClr>
              <a:buFont typeface="Arial" pitchFamily="34" charset="0"/>
              <a:buChar char="•"/>
            </a:pPr>
            <a:r>
              <a:rPr lang="de-DE" sz="1000" dirty="0">
                <a:solidFill>
                  <a:prstClr val="black"/>
                </a:solidFill>
              </a:rPr>
              <a:t>Aktienfonds mit Fokus auf die Auswahl europäischer Werte mit überzeugendem strukturellen Wachstum und nachhaltigen Erträgen</a:t>
            </a:r>
          </a:p>
          <a:p>
            <a:pPr marL="172800" indent="-172800" fontAlgn="base">
              <a:lnSpc>
                <a:spcPct val="120000"/>
              </a:lnSpc>
              <a:buClr>
                <a:srgbClr val="C6562C"/>
              </a:buClr>
              <a:buFont typeface="Arial" pitchFamily="34" charset="0"/>
              <a:buChar char="•"/>
            </a:pPr>
            <a:r>
              <a:rPr lang="de-DE" sz="1000" dirty="0">
                <a:solidFill>
                  <a:prstClr val="black"/>
                </a:solidFill>
              </a:rPr>
              <a:t>Fundamentale Einzeltitelauswahl; Fokus auf unabhängiges Research </a:t>
            </a:r>
            <a:br>
              <a:rPr lang="de-DE" sz="1000" dirty="0">
                <a:solidFill>
                  <a:prstClr val="black"/>
                </a:solidFill>
              </a:rPr>
            </a:br>
            <a:r>
              <a:rPr lang="de-DE" sz="1000" dirty="0">
                <a:solidFill>
                  <a:prstClr val="black"/>
                </a:solidFill>
              </a:rPr>
              <a:t>mit engem Kontakt zum Top-Management der Unternehmen</a:t>
            </a:r>
          </a:p>
          <a:p>
            <a:pPr marL="172800" indent="-172800" fontAlgn="base">
              <a:lnSpc>
                <a:spcPct val="120000"/>
              </a:lnSpc>
              <a:buClr>
                <a:srgbClr val="C6562C"/>
              </a:buClr>
              <a:buFont typeface="Arial" pitchFamily="34" charset="0"/>
              <a:buChar char="•"/>
            </a:pPr>
            <a:r>
              <a:rPr lang="de-DE" sz="1000" dirty="0">
                <a:solidFill>
                  <a:prstClr val="black"/>
                </a:solidFill>
              </a:rPr>
              <a:t>Unternehmen mit entscheidenden Qualitätsmerkmalen wie exzellentes Geschäftsmodell, starke Wettbewerbsposition, Top Management und finanzielle Stärke</a:t>
            </a:r>
          </a:p>
          <a:p>
            <a:pPr marL="172800" indent="-172800" fontAlgn="base">
              <a:lnSpc>
                <a:spcPct val="120000"/>
              </a:lnSpc>
              <a:buClr>
                <a:srgbClr val="C6562C"/>
              </a:buClr>
              <a:buFont typeface="Arial" pitchFamily="34" charset="0"/>
              <a:buChar char="•"/>
            </a:pPr>
            <a:r>
              <a:rPr lang="de-DE" sz="1000" dirty="0">
                <a:solidFill>
                  <a:prstClr val="black"/>
                </a:solidFill>
              </a:rPr>
              <a:t>Unternehmen finden sich vor allem in den Bereichen Gesundheitswesen, Industrie, Technologie, Konsumgüter und Finanzwerte</a:t>
            </a:r>
          </a:p>
        </p:txBody>
      </p:sp>
      <p:cxnSp>
        <p:nvCxnSpPr>
          <p:cNvPr id="32" name="Gerader Verbinder 14">
            <a:extLst>
              <a:ext uri="{FF2B5EF4-FFF2-40B4-BE49-F238E27FC236}">
                <a16:creationId xmlns:a16="http://schemas.microsoft.com/office/drawing/2014/main" id="{990B2E7A-12E2-49D7-B0BA-2CA6E517BC07}"/>
              </a:ext>
            </a:extLst>
          </p:cNvPr>
          <p:cNvCxnSpPr/>
          <p:nvPr/>
        </p:nvCxnSpPr>
        <p:spPr bwMode="gray">
          <a:xfrm>
            <a:off x="259528" y="1274618"/>
            <a:ext cx="50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 name="Gerader Verbinder 14">
            <a:extLst>
              <a:ext uri="{FF2B5EF4-FFF2-40B4-BE49-F238E27FC236}">
                <a16:creationId xmlns:a16="http://schemas.microsoft.com/office/drawing/2014/main" id="{990B2E7A-12E2-49D7-B0BA-2CA6E517BC07}"/>
              </a:ext>
            </a:extLst>
          </p:cNvPr>
          <p:cNvCxnSpPr/>
          <p:nvPr/>
        </p:nvCxnSpPr>
        <p:spPr bwMode="gray">
          <a:xfrm>
            <a:off x="4716016" y="1276251"/>
            <a:ext cx="50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4" name="Gerader Verbinder 14">
            <a:extLst>
              <a:ext uri="{FF2B5EF4-FFF2-40B4-BE49-F238E27FC236}">
                <a16:creationId xmlns:a16="http://schemas.microsoft.com/office/drawing/2014/main" id="{990B2E7A-12E2-49D7-B0BA-2CA6E517BC07}"/>
              </a:ext>
            </a:extLst>
          </p:cNvPr>
          <p:cNvCxnSpPr/>
          <p:nvPr/>
        </p:nvCxnSpPr>
        <p:spPr bwMode="gray">
          <a:xfrm>
            <a:off x="4716463" y="3966958"/>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Gerader Verbinder 14">
            <a:extLst>
              <a:ext uri="{FF2B5EF4-FFF2-40B4-BE49-F238E27FC236}">
                <a16:creationId xmlns:a16="http://schemas.microsoft.com/office/drawing/2014/main" id="{990B2E7A-12E2-49D7-B0BA-2CA6E517BC07}"/>
              </a:ext>
            </a:extLst>
          </p:cNvPr>
          <p:cNvCxnSpPr/>
          <p:nvPr/>
        </p:nvCxnSpPr>
        <p:spPr bwMode="gray">
          <a:xfrm>
            <a:off x="4716635" y="3906522"/>
            <a:ext cx="504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Gerader Verbinder 14">
            <a:extLst>
              <a:ext uri="{FF2B5EF4-FFF2-40B4-BE49-F238E27FC236}">
                <a16:creationId xmlns:a16="http://schemas.microsoft.com/office/drawing/2014/main" id="{990B2E7A-12E2-49D7-B0BA-2CA6E517BC07}"/>
              </a:ext>
            </a:extLst>
          </p:cNvPr>
          <p:cNvCxnSpPr/>
          <p:nvPr/>
        </p:nvCxnSpPr>
        <p:spPr bwMode="gray">
          <a:xfrm>
            <a:off x="253176" y="3967080"/>
            <a:ext cx="50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1" name="Inhaltsplatzhalter 7"/>
          <p:cNvSpPr txBox="1">
            <a:spLocks/>
          </p:cNvSpPr>
          <p:nvPr/>
        </p:nvSpPr>
        <p:spPr bwMode="gray">
          <a:xfrm>
            <a:off x="4715277" y="1272818"/>
            <a:ext cx="4321219" cy="363731"/>
          </a:xfrm>
          <a:prstGeom prst="rect">
            <a:avLst/>
          </a:prstGeom>
          <a:no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fontAlgn="base">
              <a:buClr>
                <a:srgbClr val="C6562C"/>
              </a:buClr>
            </a:pPr>
            <a:r>
              <a:rPr lang="de-DE" sz="1100" b="1" dirty="0">
                <a:solidFill>
                  <a:prstClr val="black"/>
                </a:solidFill>
              </a:rPr>
              <a:t>Charakteristika</a:t>
            </a:r>
            <a:endParaRPr lang="de-DE" sz="1200" b="1" dirty="0">
              <a:solidFill>
                <a:prstClr val="black"/>
              </a:solidFill>
            </a:endParaRPr>
          </a:p>
        </p:txBody>
      </p:sp>
      <p:graphicFrame>
        <p:nvGraphicFramePr>
          <p:cNvPr id="2" name="Tabelle 1"/>
          <p:cNvGraphicFramePr>
            <a:graphicFrameLocks noGrp="1"/>
          </p:cNvGraphicFramePr>
          <p:nvPr/>
        </p:nvGraphicFramePr>
        <p:xfrm>
          <a:off x="4725164" y="1572530"/>
          <a:ext cx="4170862" cy="2160000"/>
        </p:xfrm>
        <a:graphic>
          <a:graphicData uri="http://schemas.openxmlformats.org/drawingml/2006/table">
            <a:tbl>
              <a:tblPr firstRow="1" bandRow="1">
                <a:tableStyleId>{5C22544A-7EE6-4342-B048-85BDC9FD1C3A}</a:tableStyleId>
              </a:tblPr>
              <a:tblGrid>
                <a:gridCol w="298260">
                  <a:extLst>
                    <a:ext uri="{9D8B030D-6E8A-4147-A177-3AD203B41FA5}">
                      <a16:colId xmlns:a16="http://schemas.microsoft.com/office/drawing/2014/main" val="20000"/>
                    </a:ext>
                  </a:extLst>
                </a:gridCol>
                <a:gridCol w="1708816">
                  <a:extLst>
                    <a:ext uri="{9D8B030D-6E8A-4147-A177-3AD203B41FA5}">
                      <a16:colId xmlns:a16="http://schemas.microsoft.com/office/drawing/2014/main" val="20001"/>
                    </a:ext>
                  </a:extLst>
                </a:gridCol>
                <a:gridCol w="62428">
                  <a:extLst>
                    <a:ext uri="{9D8B030D-6E8A-4147-A177-3AD203B41FA5}">
                      <a16:colId xmlns:a16="http://schemas.microsoft.com/office/drawing/2014/main" val="20002"/>
                    </a:ext>
                  </a:extLst>
                </a:gridCol>
                <a:gridCol w="2101358">
                  <a:extLst>
                    <a:ext uri="{9D8B030D-6E8A-4147-A177-3AD203B41FA5}">
                      <a16:colId xmlns:a16="http://schemas.microsoft.com/office/drawing/2014/main" val="20003"/>
                    </a:ext>
                  </a:extLst>
                </a:gridCol>
              </a:tblGrid>
              <a:tr h="432000">
                <a:tc>
                  <a:txBody>
                    <a:bodyPr/>
                    <a:lstStyle/>
                    <a:p>
                      <a:pPr algn="l"/>
                      <a:endParaRPr lang="de-DE" b="1" dirty="0"/>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de-DE" sz="1000" b="1" i="0" u="none" strike="noStrike" kern="1200" cap="none" spc="0" normalizeH="0" baseline="0" noProof="0" dirty="0">
                          <a:ln>
                            <a:noFill/>
                          </a:ln>
                          <a:solidFill>
                            <a:prstClr val="black"/>
                          </a:solidFill>
                          <a:effectLst/>
                          <a:uLnTx/>
                          <a:uFillTx/>
                          <a:latin typeface="+mn-lt"/>
                          <a:ea typeface="+mn-ea"/>
                          <a:cs typeface="+mn-cs"/>
                        </a:rPr>
                        <a:t>Anlageuniversum</a:t>
                      </a:r>
                      <a:endParaRPr lang="de-DE" b="1" dirty="0"/>
                    </a:p>
                  </a:txBody>
                  <a:tcPr anchor="ctr">
                    <a:lnL w="12700" cmpd="sng">
                      <a:noFill/>
                    </a:lnL>
                    <a:lnR w="12700" cmpd="sng">
                      <a:noFill/>
                    </a:lnR>
                    <a:lnT w="12700" cmpd="sng">
                      <a:noFill/>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marL="0" marR="0"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Aktien Europa</a:t>
                      </a:r>
                      <a:endParaRPr lang="de-DE" dirty="0"/>
                    </a:p>
                  </a:txBody>
                  <a:tcPr anchor="ctr">
                    <a:lnL w="12700" cmpd="sng">
                      <a:noFill/>
                    </a:lnL>
                    <a:lnR w="12700" cmpd="sng">
                      <a:noFill/>
                    </a:lnR>
                    <a:lnT w="12700" cmpd="sng">
                      <a:noFill/>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pPr algn="l"/>
                      <a:endParaRPr lang="de-DE"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de-DE" sz="1000" b="1" i="0" u="none" strike="noStrike" kern="1200" cap="none" spc="0" normalizeH="0" baseline="0" noProof="0" dirty="0">
                          <a:ln>
                            <a:noFill/>
                          </a:ln>
                          <a:solidFill>
                            <a:prstClr val="black"/>
                          </a:solidFill>
                          <a:effectLst/>
                          <a:uLnTx/>
                          <a:uFillTx/>
                          <a:latin typeface="+mn-lt"/>
                          <a:ea typeface="+mn-ea"/>
                          <a:cs typeface="+mn-cs"/>
                        </a:rPr>
                        <a:t>Fokus</a:t>
                      </a:r>
                      <a:endParaRPr lang="de-DE" b="1" dirty="0"/>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endParaRPr kumimoji="0" lang="de-DE" sz="1000" b="0" i="0" u="none" strike="noStrike" kern="1200" cap="none" spc="0" normalizeH="0" baseline="0" noProof="0" dirty="0">
                        <a:ln>
                          <a:noFill/>
                        </a:ln>
                        <a:solidFill>
                          <a:sysClr val="windowText" lastClr="000000"/>
                        </a:solidFill>
                        <a:effectLst/>
                        <a:uLnTx/>
                        <a:uFillTx/>
                        <a:latin typeface="+mn-lt"/>
                        <a:ea typeface="+mn-ea"/>
                        <a:cs typeface="+mn-cs"/>
                      </a:endParaRP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 50 Aktien | Benchmark-unabhängig | „Quality-Growth“</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pPr algn="l"/>
                      <a:endParaRPr lang="de-DE"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000" b="1" dirty="0"/>
                        <a:t>Benchmark</a:t>
                      </a:r>
                      <a:endParaRPr lang="de-DE" b="1" dirty="0"/>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000" dirty="0"/>
                        <a:t>MSCI</a:t>
                      </a:r>
                      <a:r>
                        <a:rPr lang="de-DE" sz="1000" baseline="0" dirty="0"/>
                        <a:t> Europe</a:t>
                      </a:r>
                      <a:endParaRPr lang="de-DE" dirty="0"/>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a:txBody>
                    <a:bodyPr/>
                    <a:lstStyle/>
                    <a:p>
                      <a:pPr algn="l"/>
                      <a:endParaRPr lang="de-DE" sz="1000"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000" b="1" dirty="0"/>
                        <a:t>Haltedauer</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endParaRPr kumimoji="0" lang="de-DE" sz="1000" b="0" i="0" u="none" strike="noStrike" kern="1200" cap="none" spc="0" normalizeH="0" baseline="0" noProof="0" dirty="0">
                        <a:ln>
                          <a:noFill/>
                        </a:ln>
                        <a:solidFill>
                          <a:sysClr val="windowText" lastClr="000000"/>
                        </a:solidFill>
                        <a:effectLst/>
                        <a:uLnTx/>
                        <a:uFillTx/>
                        <a:latin typeface="+mn-lt"/>
                        <a:ea typeface="+mn-ea"/>
                        <a:cs typeface="+mn-cs"/>
                      </a:endParaRP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Durchschnittlich 4 Jahre </a:t>
                      </a:r>
                      <a:b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br>
                      <a:r>
                        <a:rPr kumimoji="0" lang="de-DE" sz="1000" b="0" i="0" u="none" strike="noStrike" kern="1200" cap="none" spc="0" normalizeH="0" baseline="0" noProof="0" dirty="0" err="1">
                          <a:ln>
                            <a:noFill/>
                          </a:ln>
                          <a:solidFill>
                            <a:sysClr val="windowText" lastClr="000000"/>
                          </a:solidFill>
                          <a:effectLst/>
                          <a:uLnTx/>
                          <a:uFillTx/>
                          <a:latin typeface="+mn-lt"/>
                          <a:ea typeface="+mn-ea"/>
                          <a:cs typeface="+mn-cs"/>
                        </a:rPr>
                        <a:t>Turnover</a:t>
                      </a:r>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 rund 25% p.a.</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a:txBody>
                    <a:bodyPr/>
                    <a:lstStyle/>
                    <a:p>
                      <a:pPr algn="l"/>
                      <a:endParaRPr lang="de-DE" sz="1000"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000" b="1" dirty="0"/>
                        <a:t>Marktkapitalisierung</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000" noProof="0" dirty="0">
                          <a:solidFill>
                            <a:sysClr val="windowText" lastClr="000000"/>
                          </a:solidFill>
                        </a:rPr>
                        <a:t>&gt; 500 Mio. EUR</a:t>
                      </a:r>
                    </a:p>
                    <a:p>
                      <a:r>
                        <a:rPr lang="de-DE" sz="1000" noProof="0" dirty="0">
                          <a:solidFill>
                            <a:sysClr val="windowText" lastClr="000000"/>
                          </a:solidFill>
                        </a:rPr>
                        <a:t>75% &gt; 5 Mrd. und 25% &lt; 5 Mrd. </a:t>
                      </a:r>
                      <a:endParaRPr kumimoji="0" lang="de-DE" sz="1000" b="0" i="0" u="none" strike="noStrike" kern="1200" cap="none" spc="0" normalizeH="0" baseline="0" noProof="0" dirty="0">
                        <a:ln>
                          <a:noFill/>
                        </a:ln>
                        <a:solidFill>
                          <a:sysClr val="windowText" lastClr="000000"/>
                        </a:solidFill>
                        <a:effectLst/>
                        <a:uLnTx/>
                        <a:uFillTx/>
                        <a:latin typeface="+mn-lt"/>
                        <a:ea typeface="+mn-ea"/>
                        <a:cs typeface="+mn-cs"/>
                      </a:endParaRP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43" name="Titel 1"/>
          <p:cNvSpPr>
            <a:spLocks noGrp="1"/>
          </p:cNvSpPr>
          <p:nvPr>
            <p:ph type="title"/>
          </p:nvPr>
        </p:nvSpPr>
        <p:spPr>
          <a:xfrm>
            <a:off x="250825" y="381360"/>
            <a:ext cx="6480000" cy="611273"/>
          </a:xfrm>
        </p:spPr>
        <p:txBody>
          <a:bodyPr/>
          <a:lstStyle/>
          <a:p>
            <a:r>
              <a:rPr lang="de-DE" b="1" dirty="0"/>
              <a:t>Berenberg European Focus Fund</a:t>
            </a:r>
            <a:endParaRPr lang="de-DE" b="0" dirty="0"/>
          </a:p>
        </p:txBody>
      </p:sp>
      <p:sp>
        <p:nvSpPr>
          <p:cNvPr id="50" name="Inhaltsplatzhalter 7"/>
          <p:cNvSpPr txBox="1">
            <a:spLocks/>
          </p:cNvSpPr>
          <p:nvPr/>
        </p:nvSpPr>
        <p:spPr bwMode="gray">
          <a:xfrm>
            <a:off x="251926" y="3975747"/>
            <a:ext cx="2971378" cy="348099"/>
          </a:xfrm>
          <a:prstGeom prst="rect">
            <a:avLst/>
          </a:prstGeom>
          <a:noFill/>
          <a:ln w="6350">
            <a:noFill/>
          </a:ln>
        </p:spPr>
        <p:txBody>
          <a:bodyPr vert="horz" wrap="square" lIns="0" tIns="108000" rIns="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fontAlgn="base">
              <a:spcAft>
                <a:spcPts val="100"/>
              </a:spcAft>
              <a:buClr>
                <a:srgbClr val="C6562C"/>
              </a:buClr>
            </a:pPr>
            <a:r>
              <a:rPr lang="de-DE" sz="1100" b="1" dirty="0">
                <a:solidFill>
                  <a:prstClr val="black"/>
                </a:solidFill>
              </a:rPr>
              <a:t>Investmentprozess</a:t>
            </a:r>
          </a:p>
        </p:txBody>
      </p:sp>
      <p:sp>
        <p:nvSpPr>
          <p:cNvPr id="33" name="Freeform 8">
            <a:extLst>
              <a:ext uri="{FF2B5EF4-FFF2-40B4-BE49-F238E27FC236}">
                <a16:creationId xmlns:a16="http://schemas.microsoft.com/office/drawing/2014/main" id="{5CC95A97-1BC2-483F-9C06-500043DD5977}"/>
              </a:ext>
            </a:extLst>
          </p:cNvPr>
          <p:cNvSpPr>
            <a:spLocks noEditPoints="1"/>
          </p:cNvSpPr>
          <p:nvPr/>
        </p:nvSpPr>
        <p:spPr bwMode="auto">
          <a:xfrm>
            <a:off x="4706470" y="1672908"/>
            <a:ext cx="246062" cy="277812"/>
          </a:xfrm>
          <a:custGeom>
            <a:avLst/>
            <a:gdLst>
              <a:gd name="T0" fmla="*/ 7826 w 23448"/>
              <a:gd name="T1" fmla="*/ 22824 h 26520"/>
              <a:gd name="T2" fmla="*/ 8908 w 23448"/>
              <a:gd name="T3" fmla="*/ 21597 h 26520"/>
              <a:gd name="T4" fmla="*/ 6994 w 23448"/>
              <a:gd name="T5" fmla="*/ 19638 h 26520"/>
              <a:gd name="T6" fmla="*/ 6 w 23448"/>
              <a:gd name="T7" fmla="*/ 10206 h 26520"/>
              <a:gd name="T8" fmla="*/ 6216 w 23448"/>
              <a:gd name="T9" fmla="*/ 2991 h 26520"/>
              <a:gd name="T10" fmla="*/ 8429 w 23448"/>
              <a:gd name="T11" fmla="*/ 1912 h 26520"/>
              <a:gd name="T12" fmla="*/ 7669 w 23448"/>
              <a:gd name="T13" fmla="*/ 1657 h 26520"/>
              <a:gd name="T14" fmla="*/ 9019 w 23448"/>
              <a:gd name="T15" fmla="*/ 104 h 26520"/>
              <a:gd name="T16" fmla="*/ 17953 w 23448"/>
              <a:gd name="T17" fmla="*/ 2017 h 26520"/>
              <a:gd name="T18" fmla="*/ 23268 w 23448"/>
              <a:gd name="T19" fmla="*/ 9992 h 26520"/>
              <a:gd name="T20" fmla="*/ 14661 w 23448"/>
              <a:gd name="T21" fmla="*/ 20586 h 26520"/>
              <a:gd name="T22" fmla="*/ 11343 w 23448"/>
              <a:gd name="T23" fmla="*/ 20857 h 26520"/>
              <a:gd name="T24" fmla="*/ 11630 w 23448"/>
              <a:gd name="T25" fmla="*/ 22333 h 26520"/>
              <a:gd name="T26" fmla="*/ 14839 w 23448"/>
              <a:gd name="T27" fmla="*/ 24825 h 26520"/>
              <a:gd name="T28" fmla="*/ 8606 w 23448"/>
              <a:gd name="T29" fmla="*/ 26408 h 26520"/>
              <a:gd name="T30" fmla="*/ 12962 w 23448"/>
              <a:gd name="T31" fmla="*/ 19647 h 26520"/>
              <a:gd name="T32" fmla="*/ 18626 w 23448"/>
              <a:gd name="T33" fmla="*/ 16544 h 26520"/>
              <a:gd name="T34" fmla="*/ 10524 w 23448"/>
              <a:gd name="T35" fmla="*/ 1740 h 26520"/>
              <a:gd name="T36" fmla="*/ 10535 w 23448"/>
              <a:gd name="T37" fmla="*/ 2592 h 26520"/>
              <a:gd name="T38" fmla="*/ 15714 w 23448"/>
              <a:gd name="T39" fmla="*/ 17470 h 26520"/>
              <a:gd name="T40" fmla="*/ 12962 w 23448"/>
              <a:gd name="T41" fmla="*/ 19647 h 26520"/>
              <a:gd name="T42" fmla="*/ 8161 w 23448"/>
              <a:gd name="T43" fmla="*/ 3862 h 26520"/>
              <a:gd name="T44" fmla="*/ 1478 w 23448"/>
              <a:gd name="T45" fmla="*/ 11036 h 26520"/>
              <a:gd name="T46" fmla="*/ 4766 w 23448"/>
              <a:gd name="T47" fmla="*/ 11536 h 26520"/>
              <a:gd name="T48" fmla="*/ 5583 w 23448"/>
              <a:gd name="T49" fmla="*/ 8176 h 26520"/>
              <a:gd name="T50" fmla="*/ 8552 w 23448"/>
              <a:gd name="T51" fmla="*/ 3876 h 26520"/>
              <a:gd name="T52" fmla="*/ 8704 w 23448"/>
              <a:gd name="T53" fmla="*/ 4978 h 26520"/>
              <a:gd name="T54" fmla="*/ 6075 w 23448"/>
              <a:gd name="T55" fmla="*/ 11017 h 26520"/>
              <a:gd name="T56" fmla="*/ 9095 w 23448"/>
              <a:gd name="T57" fmla="*/ 11250 h 26520"/>
              <a:gd name="T58" fmla="*/ 2101 w 23448"/>
              <a:gd name="T59" fmla="*/ 12360 h 26520"/>
              <a:gd name="T60" fmla="*/ 4679 w 23448"/>
              <a:gd name="T61" fmla="*/ 17192 h 26520"/>
              <a:gd name="T62" fmla="*/ 7433 w 23448"/>
              <a:gd name="T63" fmla="*/ 18780 h 26520"/>
              <a:gd name="T64" fmla="*/ 6070 w 23448"/>
              <a:gd name="T65" fmla="*/ 16415 h 26520"/>
              <a:gd name="T66" fmla="*/ 3099 w 23448"/>
              <a:gd name="T67" fmla="*/ 12434 h 26520"/>
              <a:gd name="T68" fmla="*/ 10561 w 23448"/>
              <a:gd name="T69" fmla="*/ 4789 h 26520"/>
              <a:gd name="T70" fmla="*/ 10496 w 23448"/>
              <a:gd name="T71" fmla="*/ 7562 h 26520"/>
              <a:gd name="T72" fmla="*/ 12741 w 23448"/>
              <a:gd name="T73" fmla="*/ 11198 h 26520"/>
              <a:gd name="T74" fmla="*/ 11675 w 23448"/>
              <a:gd name="T75" fmla="*/ 6476 h 26520"/>
              <a:gd name="T76" fmla="*/ 9034 w 23448"/>
              <a:gd name="T77" fmla="*/ 18734 h 26520"/>
              <a:gd name="T78" fmla="*/ 9096 w 23448"/>
              <a:gd name="T79" fmla="*/ 14742 h 26520"/>
              <a:gd name="T80" fmla="*/ 6419 w 23448"/>
              <a:gd name="T81" fmla="*/ 12914 h 26520"/>
              <a:gd name="T82" fmla="*/ 8739 w 23448"/>
              <a:gd name="T83" fmla="*/ 18450 h 26520"/>
              <a:gd name="T84" fmla="*/ 11933 w 23448"/>
              <a:gd name="T85" fmla="*/ 4417 h 26520"/>
              <a:gd name="T86" fmla="*/ 13928 w 23448"/>
              <a:gd name="T87" fmla="*/ 7446 h 26520"/>
              <a:gd name="T88" fmla="*/ 14734 w 23448"/>
              <a:gd name="T89" fmla="*/ 11078 h 26520"/>
              <a:gd name="T90" fmla="*/ 16451 w 23448"/>
              <a:gd name="T91" fmla="*/ 10667 h 26520"/>
              <a:gd name="T92" fmla="*/ 12599 w 23448"/>
              <a:gd name="T93" fmla="*/ 4677 h 26520"/>
              <a:gd name="T94" fmla="*/ 15948 w 23448"/>
              <a:gd name="T95" fmla="*/ 14294 h 26520"/>
              <a:gd name="T96" fmla="*/ 14602 w 23448"/>
              <a:gd name="T97" fmla="*/ 12615 h 26520"/>
              <a:gd name="T98" fmla="*/ 13084 w 23448"/>
              <a:gd name="T99" fmla="*/ 16433 h 26520"/>
              <a:gd name="T100" fmla="*/ 10465 w 23448"/>
              <a:gd name="T101" fmla="*/ 18811 h 26520"/>
              <a:gd name="T102" fmla="*/ 12014 w 23448"/>
              <a:gd name="T103" fmla="*/ 16194 h 26520"/>
              <a:gd name="T104" fmla="*/ 12849 w 23448"/>
              <a:gd name="T105" fmla="*/ 12849 h 26520"/>
              <a:gd name="T106" fmla="*/ 10454 w 23448"/>
              <a:gd name="T107" fmla="*/ 18607 h 26520"/>
              <a:gd name="T108" fmla="*/ 11649 w 23448"/>
              <a:gd name="T109" fmla="*/ 25082 h 26520"/>
              <a:gd name="T110" fmla="*/ 10321 w 23448"/>
              <a:gd name="T111" fmla="*/ 22658 h 26520"/>
              <a:gd name="T112" fmla="*/ 9817 w 23448"/>
              <a:gd name="T113" fmla="*/ 22331 h 26520"/>
              <a:gd name="T114" fmla="*/ 10007 w 23448"/>
              <a:gd name="T115" fmla="*/ 25511 h 26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448" h="26520">
                <a:moveTo>
                  <a:pt x="5092" y="24899"/>
                </a:moveTo>
                <a:cubicBezTo>
                  <a:pt x="5393" y="24681"/>
                  <a:pt x="5648" y="24482"/>
                  <a:pt x="5917" y="24303"/>
                </a:cubicBezTo>
                <a:cubicBezTo>
                  <a:pt x="6588" y="23855"/>
                  <a:pt x="7243" y="23384"/>
                  <a:pt x="7826" y="22824"/>
                </a:cubicBezTo>
                <a:cubicBezTo>
                  <a:pt x="7916" y="22737"/>
                  <a:pt x="8021" y="22669"/>
                  <a:pt x="8108" y="22582"/>
                </a:cubicBezTo>
                <a:cubicBezTo>
                  <a:pt x="8355" y="22331"/>
                  <a:pt x="8598" y="22080"/>
                  <a:pt x="8833" y="21820"/>
                </a:cubicBezTo>
                <a:cubicBezTo>
                  <a:pt x="8882" y="21767"/>
                  <a:pt x="8908" y="21672"/>
                  <a:pt x="8908" y="21597"/>
                </a:cubicBezTo>
                <a:cubicBezTo>
                  <a:pt x="8916" y="21110"/>
                  <a:pt x="8908" y="20623"/>
                  <a:pt x="8916" y="20136"/>
                </a:cubicBezTo>
                <a:cubicBezTo>
                  <a:pt x="8916" y="19990"/>
                  <a:pt x="8840" y="19953"/>
                  <a:pt x="8718" y="19935"/>
                </a:cubicBezTo>
                <a:cubicBezTo>
                  <a:pt x="8143" y="19841"/>
                  <a:pt x="7558" y="19780"/>
                  <a:pt x="6994" y="19638"/>
                </a:cubicBezTo>
                <a:cubicBezTo>
                  <a:pt x="4014" y="18883"/>
                  <a:pt x="1848" y="17144"/>
                  <a:pt x="639" y="14284"/>
                </a:cubicBezTo>
                <a:cubicBezTo>
                  <a:pt x="264" y="13403"/>
                  <a:pt x="95" y="12471"/>
                  <a:pt x="41" y="11519"/>
                </a:cubicBezTo>
                <a:cubicBezTo>
                  <a:pt x="17" y="11082"/>
                  <a:pt x="0" y="10645"/>
                  <a:pt x="6" y="10206"/>
                </a:cubicBezTo>
                <a:cubicBezTo>
                  <a:pt x="8" y="10010"/>
                  <a:pt x="56" y="9809"/>
                  <a:pt x="113" y="9621"/>
                </a:cubicBezTo>
                <a:cubicBezTo>
                  <a:pt x="438" y="8562"/>
                  <a:pt x="810" y="7523"/>
                  <a:pt x="1433" y="6595"/>
                </a:cubicBezTo>
                <a:cubicBezTo>
                  <a:pt x="2608" y="4837"/>
                  <a:pt x="4209" y="3635"/>
                  <a:pt x="6216" y="2991"/>
                </a:cubicBezTo>
                <a:cubicBezTo>
                  <a:pt x="6867" y="2782"/>
                  <a:pt x="7551" y="2677"/>
                  <a:pt x="8222" y="2535"/>
                </a:cubicBezTo>
                <a:cubicBezTo>
                  <a:pt x="8342" y="2509"/>
                  <a:pt x="8390" y="2465"/>
                  <a:pt x="8396" y="2349"/>
                </a:cubicBezTo>
                <a:cubicBezTo>
                  <a:pt x="8401" y="2203"/>
                  <a:pt x="8412" y="2057"/>
                  <a:pt x="8429" y="1912"/>
                </a:cubicBezTo>
                <a:cubicBezTo>
                  <a:pt x="8444" y="1775"/>
                  <a:pt x="8385" y="1727"/>
                  <a:pt x="8252" y="1735"/>
                </a:cubicBezTo>
                <a:cubicBezTo>
                  <a:pt x="8100" y="1740"/>
                  <a:pt x="7949" y="1740"/>
                  <a:pt x="7798" y="1731"/>
                </a:cubicBezTo>
                <a:cubicBezTo>
                  <a:pt x="7752" y="1729"/>
                  <a:pt x="7697" y="1694"/>
                  <a:pt x="7669" y="1657"/>
                </a:cubicBezTo>
                <a:cubicBezTo>
                  <a:pt x="7652" y="1637"/>
                  <a:pt x="7667" y="1570"/>
                  <a:pt x="7691" y="1543"/>
                </a:cubicBezTo>
                <a:cubicBezTo>
                  <a:pt x="7988" y="1190"/>
                  <a:pt x="8285" y="838"/>
                  <a:pt x="8591" y="495"/>
                </a:cubicBezTo>
                <a:cubicBezTo>
                  <a:pt x="8720" y="351"/>
                  <a:pt x="8858" y="205"/>
                  <a:pt x="9019" y="104"/>
                </a:cubicBezTo>
                <a:cubicBezTo>
                  <a:pt x="9122" y="37"/>
                  <a:pt x="9273" y="32"/>
                  <a:pt x="9404" y="24"/>
                </a:cubicBezTo>
                <a:cubicBezTo>
                  <a:pt x="9604" y="15"/>
                  <a:pt x="9803" y="34"/>
                  <a:pt x="10002" y="32"/>
                </a:cubicBezTo>
                <a:cubicBezTo>
                  <a:pt x="12825" y="0"/>
                  <a:pt x="15498" y="578"/>
                  <a:pt x="17953" y="2017"/>
                </a:cubicBezTo>
                <a:cubicBezTo>
                  <a:pt x="19059" y="2666"/>
                  <a:pt x="20013" y="3498"/>
                  <a:pt x="20830" y="4494"/>
                </a:cubicBezTo>
                <a:cubicBezTo>
                  <a:pt x="21359" y="5142"/>
                  <a:pt x="21868" y="5798"/>
                  <a:pt x="22257" y="6542"/>
                </a:cubicBezTo>
                <a:cubicBezTo>
                  <a:pt x="22825" y="7623"/>
                  <a:pt x="23179" y="8769"/>
                  <a:pt x="23268" y="9992"/>
                </a:cubicBezTo>
                <a:cubicBezTo>
                  <a:pt x="23448" y="12486"/>
                  <a:pt x="22635" y="14646"/>
                  <a:pt x="21056" y="16542"/>
                </a:cubicBezTo>
                <a:cubicBezTo>
                  <a:pt x="20097" y="17693"/>
                  <a:pt x="18926" y="18581"/>
                  <a:pt x="17619" y="19304"/>
                </a:cubicBezTo>
                <a:cubicBezTo>
                  <a:pt x="16674" y="19826"/>
                  <a:pt x="15697" y="20274"/>
                  <a:pt x="14661" y="20586"/>
                </a:cubicBezTo>
                <a:cubicBezTo>
                  <a:pt x="14448" y="20649"/>
                  <a:pt x="14242" y="20735"/>
                  <a:pt x="14030" y="20798"/>
                </a:cubicBezTo>
                <a:cubicBezTo>
                  <a:pt x="13923" y="20831"/>
                  <a:pt x="13808" y="20853"/>
                  <a:pt x="13698" y="20853"/>
                </a:cubicBezTo>
                <a:cubicBezTo>
                  <a:pt x="12912" y="20859"/>
                  <a:pt x="12128" y="20855"/>
                  <a:pt x="11343" y="20857"/>
                </a:cubicBezTo>
                <a:cubicBezTo>
                  <a:pt x="11114" y="20857"/>
                  <a:pt x="11108" y="20864"/>
                  <a:pt x="11108" y="21095"/>
                </a:cubicBezTo>
                <a:cubicBezTo>
                  <a:pt x="11107" y="21117"/>
                  <a:pt x="11110" y="21139"/>
                  <a:pt x="11107" y="21160"/>
                </a:cubicBezTo>
                <a:cubicBezTo>
                  <a:pt x="11007" y="21674"/>
                  <a:pt x="11265" y="22030"/>
                  <a:pt x="11630" y="22333"/>
                </a:cubicBezTo>
                <a:cubicBezTo>
                  <a:pt x="12359" y="22938"/>
                  <a:pt x="13047" y="23591"/>
                  <a:pt x="13847" y="24108"/>
                </a:cubicBezTo>
                <a:cubicBezTo>
                  <a:pt x="14142" y="24298"/>
                  <a:pt x="14423" y="24510"/>
                  <a:pt x="14708" y="24714"/>
                </a:cubicBezTo>
                <a:cubicBezTo>
                  <a:pt x="14751" y="24744"/>
                  <a:pt x="14790" y="24781"/>
                  <a:pt x="14839" y="24825"/>
                </a:cubicBezTo>
                <a:cubicBezTo>
                  <a:pt x="14581" y="25109"/>
                  <a:pt x="14295" y="25332"/>
                  <a:pt x="13973" y="25513"/>
                </a:cubicBezTo>
                <a:cubicBezTo>
                  <a:pt x="13178" y="25958"/>
                  <a:pt x="12322" y="26223"/>
                  <a:pt x="11422" y="26330"/>
                </a:cubicBezTo>
                <a:cubicBezTo>
                  <a:pt x="10487" y="26441"/>
                  <a:pt x="9550" y="26520"/>
                  <a:pt x="8606" y="26408"/>
                </a:cubicBezTo>
                <a:cubicBezTo>
                  <a:pt x="7571" y="26284"/>
                  <a:pt x="6597" y="25978"/>
                  <a:pt x="5716" y="25412"/>
                </a:cubicBezTo>
                <a:cubicBezTo>
                  <a:pt x="5502" y="25273"/>
                  <a:pt x="5317" y="25085"/>
                  <a:pt x="5092" y="24899"/>
                </a:cubicBezTo>
                <a:close/>
                <a:moveTo>
                  <a:pt x="12962" y="19647"/>
                </a:moveTo>
                <a:cubicBezTo>
                  <a:pt x="13036" y="19629"/>
                  <a:pt x="13110" y="19617"/>
                  <a:pt x="13180" y="19595"/>
                </a:cubicBezTo>
                <a:cubicBezTo>
                  <a:pt x="13619" y="19448"/>
                  <a:pt x="14056" y="19291"/>
                  <a:pt x="14498" y="19149"/>
                </a:cubicBezTo>
                <a:cubicBezTo>
                  <a:pt x="16095" y="18631"/>
                  <a:pt x="17491" y="17789"/>
                  <a:pt x="18626" y="16544"/>
                </a:cubicBezTo>
                <a:cubicBezTo>
                  <a:pt x="20304" y="14699"/>
                  <a:pt x="21115" y="12532"/>
                  <a:pt x="20931" y="10030"/>
                </a:cubicBezTo>
                <a:cubicBezTo>
                  <a:pt x="20784" y="8047"/>
                  <a:pt x="20005" y="6321"/>
                  <a:pt x="18663" y="4863"/>
                </a:cubicBezTo>
                <a:cubicBezTo>
                  <a:pt x="16470" y="2482"/>
                  <a:pt x="13670" y="1650"/>
                  <a:pt x="10524" y="1740"/>
                </a:cubicBezTo>
                <a:cubicBezTo>
                  <a:pt x="10478" y="1742"/>
                  <a:pt x="10402" y="1810"/>
                  <a:pt x="10393" y="1858"/>
                </a:cubicBezTo>
                <a:cubicBezTo>
                  <a:pt x="10360" y="2026"/>
                  <a:pt x="10352" y="2199"/>
                  <a:pt x="10332" y="2369"/>
                </a:cubicBezTo>
                <a:cubicBezTo>
                  <a:pt x="10315" y="2524"/>
                  <a:pt x="10391" y="2572"/>
                  <a:pt x="10535" y="2592"/>
                </a:cubicBezTo>
                <a:cubicBezTo>
                  <a:pt x="13169" y="2983"/>
                  <a:pt x="15319" y="4201"/>
                  <a:pt x="16870" y="6387"/>
                </a:cubicBezTo>
                <a:cubicBezTo>
                  <a:pt x="18058" y="8062"/>
                  <a:pt x="18589" y="9947"/>
                  <a:pt x="18366" y="11991"/>
                </a:cubicBezTo>
                <a:cubicBezTo>
                  <a:pt x="18131" y="14116"/>
                  <a:pt x="17292" y="15980"/>
                  <a:pt x="15714" y="17470"/>
                </a:cubicBezTo>
                <a:cubicBezTo>
                  <a:pt x="15116" y="18037"/>
                  <a:pt x="14506" y="18586"/>
                  <a:pt x="13781" y="18992"/>
                </a:cubicBezTo>
                <a:cubicBezTo>
                  <a:pt x="13536" y="19129"/>
                  <a:pt x="13292" y="19272"/>
                  <a:pt x="13045" y="19405"/>
                </a:cubicBezTo>
                <a:cubicBezTo>
                  <a:pt x="12942" y="19461"/>
                  <a:pt x="12925" y="19529"/>
                  <a:pt x="12962" y="19647"/>
                </a:cubicBezTo>
                <a:close/>
                <a:moveTo>
                  <a:pt x="8552" y="3876"/>
                </a:moveTo>
                <a:cubicBezTo>
                  <a:pt x="8543" y="3862"/>
                  <a:pt x="8534" y="3845"/>
                  <a:pt x="8525" y="3830"/>
                </a:cubicBezTo>
                <a:cubicBezTo>
                  <a:pt x="8405" y="3839"/>
                  <a:pt x="8281" y="3841"/>
                  <a:pt x="8161" y="3862"/>
                </a:cubicBezTo>
                <a:cubicBezTo>
                  <a:pt x="5585" y="4282"/>
                  <a:pt x="3709" y="5673"/>
                  <a:pt x="2514" y="7983"/>
                </a:cubicBezTo>
                <a:cubicBezTo>
                  <a:pt x="2311" y="8376"/>
                  <a:pt x="2160" y="8796"/>
                  <a:pt x="2020" y="9217"/>
                </a:cubicBezTo>
                <a:cubicBezTo>
                  <a:pt x="1823" y="9818"/>
                  <a:pt x="1658" y="10429"/>
                  <a:pt x="1478" y="11036"/>
                </a:cubicBezTo>
                <a:cubicBezTo>
                  <a:pt x="1448" y="11137"/>
                  <a:pt x="1492" y="11191"/>
                  <a:pt x="1581" y="11220"/>
                </a:cubicBezTo>
                <a:cubicBezTo>
                  <a:pt x="1631" y="11239"/>
                  <a:pt x="1682" y="11257"/>
                  <a:pt x="1736" y="11270"/>
                </a:cubicBezTo>
                <a:cubicBezTo>
                  <a:pt x="2732" y="11504"/>
                  <a:pt x="3746" y="11558"/>
                  <a:pt x="4766" y="11536"/>
                </a:cubicBezTo>
                <a:cubicBezTo>
                  <a:pt x="4869" y="11532"/>
                  <a:pt x="4914" y="11491"/>
                  <a:pt x="4912" y="11388"/>
                </a:cubicBezTo>
                <a:cubicBezTo>
                  <a:pt x="4908" y="11270"/>
                  <a:pt x="4906" y="11150"/>
                  <a:pt x="4917" y="11032"/>
                </a:cubicBezTo>
                <a:cubicBezTo>
                  <a:pt x="5015" y="10051"/>
                  <a:pt x="5264" y="9104"/>
                  <a:pt x="5583" y="8176"/>
                </a:cubicBezTo>
                <a:cubicBezTo>
                  <a:pt x="5699" y="7839"/>
                  <a:pt x="5843" y="7509"/>
                  <a:pt x="6009" y="7193"/>
                </a:cubicBezTo>
                <a:cubicBezTo>
                  <a:pt x="6620" y="6033"/>
                  <a:pt x="7461" y="5048"/>
                  <a:pt x="8373" y="4118"/>
                </a:cubicBezTo>
                <a:cubicBezTo>
                  <a:pt x="8442" y="4048"/>
                  <a:pt x="8493" y="3957"/>
                  <a:pt x="8552" y="3876"/>
                </a:cubicBezTo>
                <a:close/>
                <a:moveTo>
                  <a:pt x="9076" y="4695"/>
                </a:moveTo>
                <a:cubicBezTo>
                  <a:pt x="9061" y="4684"/>
                  <a:pt x="9045" y="4675"/>
                  <a:pt x="9028" y="4664"/>
                </a:cubicBezTo>
                <a:cubicBezTo>
                  <a:pt x="8917" y="4767"/>
                  <a:pt x="8787" y="4856"/>
                  <a:pt x="8704" y="4978"/>
                </a:cubicBezTo>
                <a:cubicBezTo>
                  <a:pt x="8252" y="5638"/>
                  <a:pt x="7805" y="6302"/>
                  <a:pt x="7370" y="6972"/>
                </a:cubicBezTo>
                <a:cubicBezTo>
                  <a:pt x="6931" y="7645"/>
                  <a:pt x="6531" y="8339"/>
                  <a:pt x="6391" y="9147"/>
                </a:cubicBezTo>
                <a:cubicBezTo>
                  <a:pt x="6282" y="9770"/>
                  <a:pt x="6168" y="10392"/>
                  <a:pt x="6075" y="11017"/>
                </a:cubicBezTo>
                <a:cubicBezTo>
                  <a:pt x="6037" y="11281"/>
                  <a:pt x="6074" y="11316"/>
                  <a:pt x="6334" y="11335"/>
                </a:cubicBezTo>
                <a:cubicBezTo>
                  <a:pt x="7169" y="11395"/>
                  <a:pt x="8006" y="11447"/>
                  <a:pt x="8842" y="11495"/>
                </a:cubicBezTo>
                <a:cubicBezTo>
                  <a:pt x="9069" y="11510"/>
                  <a:pt x="9095" y="11477"/>
                  <a:pt x="9095" y="11250"/>
                </a:cubicBezTo>
                <a:cubicBezTo>
                  <a:pt x="9096" y="9126"/>
                  <a:pt x="9096" y="7003"/>
                  <a:pt x="9095" y="4882"/>
                </a:cubicBezTo>
                <a:cubicBezTo>
                  <a:pt x="9095" y="4819"/>
                  <a:pt x="9083" y="4758"/>
                  <a:pt x="9076" y="4695"/>
                </a:cubicBezTo>
                <a:close/>
                <a:moveTo>
                  <a:pt x="2101" y="12360"/>
                </a:moveTo>
                <a:cubicBezTo>
                  <a:pt x="2105" y="12384"/>
                  <a:pt x="2107" y="12405"/>
                  <a:pt x="2110" y="12427"/>
                </a:cubicBezTo>
                <a:cubicBezTo>
                  <a:pt x="2265" y="13631"/>
                  <a:pt x="2730" y="14718"/>
                  <a:pt x="3372" y="15736"/>
                </a:cubicBezTo>
                <a:cubicBezTo>
                  <a:pt x="3724" y="16295"/>
                  <a:pt x="4174" y="16769"/>
                  <a:pt x="4679" y="17192"/>
                </a:cubicBezTo>
                <a:cubicBezTo>
                  <a:pt x="5048" y="17500"/>
                  <a:pt x="5415" y="17819"/>
                  <a:pt x="5825" y="18066"/>
                </a:cubicBezTo>
                <a:cubicBezTo>
                  <a:pt x="6280" y="18339"/>
                  <a:pt x="6784" y="18538"/>
                  <a:pt x="7269" y="18765"/>
                </a:cubicBezTo>
                <a:cubicBezTo>
                  <a:pt x="7315" y="18787"/>
                  <a:pt x="7378" y="18776"/>
                  <a:pt x="7433" y="18780"/>
                </a:cubicBezTo>
                <a:cubicBezTo>
                  <a:pt x="7418" y="18723"/>
                  <a:pt x="7416" y="18656"/>
                  <a:pt x="7385" y="18610"/>
                </a:cubicBezTo>
                <a:cubicBezTo>
                  <a:pt x="7140" y="18247"/>
                  <a:pt x="6870" y="17898"/>
                  <a:pt x="6645" y="17524"/>
                </a:cubicBezTo>
                <a:cubicBezTo>
                  <a:pt x="6431" y="17168"/>
                  <a:pt x="6260" y="16786"/>
                  <a:pt x="6070" y="16415"/>
                </a:cubicBezTo>
                <a:cubicBezTo>
                  <a:pt x="5515" y="15332"/>
                  <a:pt x="5190" y="14185"/>
                  <a:pt x="5116" y="12969"/>
                </a:cubicBezTo>
                <a:cubicBezTo>
                  <a:pt x="5107" y="12829"/>
                  <a:pt x="5059" y="12775"/>
                  <a:pt x="4919" y="12753"/>
                </a:cubicBezTo>
                <a:cubicBezTo>
                  <a:pt x="4311" y="12655"/>
                  <a:pt x="3704" y="12547"/>
                  <a:pt x="3099" y="12434"/>
                </a:cubicBezTo>
                <a:cubicBezTo>
                  <a:pt x="2817" y="12382"/>
                  <a:pt x="2540" y="12310"/>
                  <a:pt x="2260" y="12251"/>
                </a:cubicBezTo>
                <a:cubicBezTo>
                  <a:pt x="2173" y="12233"/>
                  <a:pt x="2088" y="12233"/>
                  <a:pt x="2101" y="12360"/>
                </a:cubicBezTo>
                <a:close/>
                <a:moveTo>
                  <a:pt x="10561" y="4789"/>
                </a:moveTo>
                <a:cubicBezTo>
                  <a:pt x="10539" y="4802"/>
                  <a:pt x="10515" y="4813"/>
                  <a:pt x="10492" y="4826"/>
                </a:cubicBezTo>
                <a:cubicBezTo>
                  <a:pt x="10492" y="4906"/>
                  <a:pt x="10492" y="4983"/>
                  <a:pt x="10492" y="5062"/>
                </a:cubicBezTo>
                <a:cubicBezTo>
                  <a:pt x="10494" y="5894"/>
                  <a:pt x="10504" y="6728"/>
                  <a:pt x="10496" y="7562"/>
                </a:cubicBezTo>
                <a:cubicBezTo>
                  <a:pt x="10489" y="8671"/>
                  <a:pt x="10463" y="9781"/>
                  <a:pt x="10456" y="10892"/>
                </a:cubicBezTo>
                <a:cubicBezTo>
                  <a:pt x="10454" y="11344"/>
                  <a:pt x="10350" y="11323"/>
                  <a:pt x="10896" y="11300"/>
                </a:cubicBezTo>
                <a:cubicBezTo>
                  <a:pt x="11511" y="11274"/>
                  <a:pt x="12127" y="11228"/>
                  <a:pt x="12741" y="11198"/>
                </a:cubicBezTo>
                <a:cubicBezTo>
                  <a:pt x="13030" y="11183"/>
                  <a:pt x="13086" y="11137"/>
                  <a:pt x="13025" y="10859"/>
                </a:cubicBezTo>
                <a:cubicBezTo>
                  <a:pt x="12918" y="10366"/>
                  <a:pt x="12809" y="9875"/>
                  <a:pt x="12682" y="9388"/>
                </a:cubicBezTo>
                <a:cubicBezTo>
                  <a:pt x="12420" y="8392"/>
                  <a:pt x="12068" y="7426"/>
                  <a:pt x="11675" y="6476"/>
                </a:cubicBezTo>
                <a:cubicBezTo>
                  <a:pt x="11461" y="5957"/>
                  <a:pt x="11247" y="5442"/>
                  <a:pt x="10841" y="5038"/>
                </a:cubicBezTo>
                <a:cubicBezTo>
                  <a:pt x="10753" y="4950"/>
                  <a:pt x="10655" y="4872"/>
                  <a:pt x="10561" y="4789"/>
                </a:cubicBezTo>
                <a:close/>
                <a:moveTo>
                  <a:pt x="9034" y="18734"/>
                </a:moveTo>
                <a:cubicBezTo>
                  <a:pt x="9054" y="18723"/>
                  <a:pt x="9074" y="18714"/>
                  <a:pt x="9096" y="18702"/>
                </a:cubicBezTo>
                <a:cubicBezTo>
                  <a:pt x="9096" y="18579"/>
                  <a:pt x="9096" y="18455"/>
                  <a:pt x="9096" y="18332"/>
                </a:cubicBezTo>
                <a:cubicBezTo>
                  <a:pt x="9096" y="17134"/>
                  <a:pt x="9096" y="15939"/>
                  <a:pt x="9096" y="14742"/>
                </a:cubicBezTo>
                <a:cubicBezTo>
                  <a:pt x="9096" y="14227"/>
                  <a:pt x="9093" y="13712"/>
                  <a:pt x="9096" y="13198"/>
                </a:cubicBezTo>
                <a:cubicBezTo>
                  <a:pt x="9098" y="13069"/>
                  <a:pt x="9052" y="13017"/>
                  <a:pt x="8917" y="13013"/>
                </a:cubicBezTo>
                <a:cubicBezTo>
                  <a:pt x="8084" y="12984"/>
                  <a:pt x="7252" y="12947"/>
                  <a:pt x="6419" y="12914"/>
                </a:cubicBezTo>
                <a:cubicBezTo>
                  <a:pt x="6199" y="12904"/>
                  <a:pt x="6194" y="12908"/>
                  <a:pt x="6253" y="13128"/>
                </a:cubicBezTo>
                <a:cubicBezTo>
                  <a:pt x="6352" y="13498"/>
                  <a:pt x="6465" y="13867"/>
                  <a:pt x="6559" y="14240"/>
                </a:cubicBezTo>
                <a:cubicBezTo>
                  <a:pt x="6955" y="15815"/>
                  <a:pt x="7645" y="17238"/>
                  <a:pt x="8739" y="18450"/>
                </a:cubicBezTo>
                <a:cubicBezTo>
                  <a:pt x="8831" y="18551"/>
                  <a:pt x="8934" y="18640"/>
                  <a:pt x="9034" y="18734"/>
                </a:cubicBezTo>
                <a:close/>
                <a:moveTo>
                  <a:pt x="11979" y="4358"/>
                </a:moveTo>
                <a:cubicBezTo>
                  <a:pt x="11962" y="4378"/>
                  <a:pt x="11948" y="4396"/>
                  <a:pt x="11933" y="4417"/>
                </a:cubicBezTo>
                <a:cubicBezTo>
                  <a:pt x="11981" y="4472"/>
                  <a:pt x="12018" y="4544"/>
                  <a:pt x="12077" y="4579"/>
                </a:cubicBezTo>
                <a:cubicBezTo>
                  <a:pt x="12359" y="4745"/>
                  <a:pt x="12521" y="5022"/>
                  <a:pt x="12698" y="5276"/>
                </a:cubicBezTo>
                <a:cubicBezTo>
                  <a:pt x="13176" y="5959"/>
                  <a:pt x="13624" y="6662"/>
                  <a:pt x="13928" y="7446"/>
                </a:cubicBezTo>
                <a:cubicBezTo>
                  <a:pt x="14268" y="8315"/>
                  <a:pt x="14511" y="9202"/>
                  <a:pt x="14495" y="10145"/>
                </a:cubicBezTo>
                <a:cubicBezTo>
                  <a:pt x="14489" y="10372"/>
                  <a:pt x="14491" y="10599"/>
                  <a:pt x="14489" y="10825"/>
                </a:cubicBezTo>
                <a:cubicBezTo>
                  <a:pt x="14487" y="11023"/>
                  <a:pt x="14541" y="11082"/>
                  <a:pt x="14734" y="11078"/>
                </a:cubicBezTo>
                <a:cubicBezTo>
                  <a:pt x="14858" y="11076"/>
                  <a:pt x="14981" y="11062"/>
                  <a:pt x="15103" y="11047"/>
                </a:cubicBezTo>
                <a:cubicBezTo>
                  <a:pt x="15494" y="10995"/>
                  <a:pt x="15885" y="10940"/>
                  <a:pt x="16276" y="10890"/>
                </a:cubicBezTo>
                <a:cubicBezTo>
                  <a:pt x="16413" y="10873"/>
                  <a:pt x="16461" y="10794"/>
                  <a:pt x="16451" y="10667"/>
                </a:cubicBezTo>
                <a:cubicBezTo>
                  <a:pt x="16440" y="10506"/>
                  <a:pt x="16426" y="10344"/>
                  <a:pt x="16416" y="10183"/>
                </a:cubicBezTo>
                <a:cubicBezTo>
                  <a:pt x="16398" y="9903"/>
                  <a:pt x="16383" y="9630"/>
                  <a:pt x="16300" y="9353"/>
                </a:cubicBezTo>
                <a:cubicBezTo>
                  <a:pt x="15688" y="7300"/>
                  <a:pt x="14467" y="5732"/>
                  <a:pt x="12599" y="4677"/>
                </a:cubicBezTo>
                <a:cubicBezTo>
                  <a:pt x="12396" y="4563"/>
                  <a:pt x="12186" y="4463"/>
                  <a:pt x="11979" y="4358"/>
                </a:cubicBezTo>
                <a:close/>
                <a:moveTo>
                  <a:pt x="11594" y="18579"/>
                </a:moveTo>
                <a:cubicBezTo>
                  <a:pt x="13545" y="17651"/>
                  <a:pt x="15022" y="16245"/>
                  <a:pt x="15948" y="14294"/>
                </a:cubicBezTo>
                <a:cubicBezTo>
                  <a:pt x="16274" y="13605"/>
                  <a:pt x="16453" y="12868"/>
                  <a:pt x="16652" y="12102"/>
                </a:cubicBezTo>
                <a:cubicBezTo>
                  <a:pt x="16566" y="12119"/>
                  <a:pt x="16525" y="12126"/>
                  <a:pt x="16485" y="12135"/>
                </a:cubicBezTo>
                <a:cubicBezTo>
                  <a:pt x="15857" y="12296"/>
                  <a:pt x="15230" y="12462"/>
                  <a:pt x="14602" y="12615"/>
                </a:cubicBezTo>
                <a:cubicBezTo>
                  <a:pt x="14354" y="12674"/>
                  <a:pt x="14369" y="12666"/>
                  <a:pt x="14319" y="12906"/>
                </a:cubicBezTo>
                <a:cubicBezTo>
                  <a:pt x="14198" y="13493"/>
                  <a:pt x="14107" y="14094"/>
                  <a:pt x="13908" y="14657"/>
                </a:cubicBezTo>
                <a:cubicBezTo>
                  <a:pt x="13692" y="15269"/>
                  <a:pt x="13392" y="15858"/>
                  <a:pt x="13084" y="16433"/>
                </a:cubicBezTo>
                <a:cubicBezTo>
                  <a:pt x="12715" y="17118"/>
                  <a:pt x="12337" y="17802"/>
                  <a:pt x="11778" y="18361"/>
                </a:cubicBezTo>
                <a:cubicBezTo>
                  <a:pt x="11710" y="18428"/>
                  <a:pt x="11654" y="18505"/>
                  <a:pt x="11594" y="18579"/>
                </a:cubicBezTo>
                <a:close/>
                <a:moveTo>
                  <a:pt x="10465" y="18811"/>
                </a:moveTo>
                <a:cubicBezTo>
                  <a:pt x="10480" y="18819"/>
                  <a:pt x="10494" y="18824"/>
                  <a:pt x="10509" y="18832"/>
                </a:cubicBezTo>
                <a:cubicBezTo>
                  <a:pt x="10540" y="18806"/>
                  <a:pt x="10575" y="18784"/>
                  <a:pt x="10598" y="18752"/>
                </a:cubicBezTo>
                <a:cubicBezTo>
                  <a:pt x="11177" y="17957"/>
                  <a:pt x="11712" y="17134"/>
                  <a:pt x="12014" y="16194"/>
                </a:cubicBezTo>
                <a:cubicBezTo>
                  <a:pt x="12333" y="15207"/>
                  <a:pt x="12615" y="14207"/>
                  <a:pt x="12912" y="13213"/>
                </a:cubicBezTo>
                <a:cubicBezTo>
                  <a:pt x="12945" y="13100"/>
                  <a:pt x="12962" y="12984"/>
                  <a:pt x="12991" y="12849"/>
                </a:cubicBezTo>
                <a:cubicBezTo>
                  <a:pt x="12931" y="12849"/>
                  <a:pt x="12890" y="12847"/>
                  <a:pt x="12849" y="12849"/>
                </a:cubicBezTo>
                <a:cubicBezTo>
                  <a:pt x="12110" y="12895"/>
                  <a:pt x="11370" y="12947"/>
                  <a:pt x="10631" y="12987"/>
                </a:cubicBezTo>
                <a:cubicBezTo>
                  <a:pt x="10491" y="12995"/>
                  <a:pt x="10450" y="13045"/>
                  <a:pt x="10450" y="13185"/>
                </a:cubicBezTo>
                <a:cubicBezTo>
                  <a:pt x="10454" y="14993"/>
                  <a:pt x="10452" y="16801"/>
                  <a:pt x="10454" y="18607"/>
                </a:cubicBezTo>
                <a:cubicBezTo>
                  <a:pt x="10454" y="18675"/>
                  <a:pt x="10461" y="18743"/>
                  <a:pt x="10465" y="18811"/>
                </a:cubicBezTo>
                <a:close/>
                <a:moveTo>
                  <a:pt x="11866" y="25375"/>
                </a:moveTo>
                <a:cubicBezTo>
                  <a:pt x="11769" y="25244"/>
                  <a:pt x="11710" y="25163"/>
                  <a:pt x="11649" y="25082"/>
                </a:cubicBezTo>
                <a:cubicBezTo>
                  <a:pt x="11490" y="24871"/>
                  <a:pt x="11315" y="24670"/>
                  <a:pt x="11175" y="24447"/>
                </a:cubicBezTo>
                <a:cubicBezTo>
                  <a:pt x="11002" y="24176"/>
                  <a:pt x="10856" y="23888"/>
                  <a:pt x="10703" y="23606"/>
                </a:cubicBezTo>
                <a:cubicBezTo>
                  <a:pt x="10539" y="23305"/>
                  <a:pt x="10317" y="23028"/>
                  <a:pt x="10321" y="22658"/>
                </a:cubicBezTo>
                <a:cubicBezTo>
                  <a:pt x="10323" y="22578"/>
                  <a:pt x="10304" y="22497"/>
                  <a:pt x="10295" y="22416"/>
                </a:cubicBezTo>
                <a:cubicBezTo>
                  <a:pt x="10262" y="22150"/>
                  <a:pt x="10253" y="22147"/>
                  <a:pt x="9983" y="22152"/>
                </a:cubicBezTo>
                <a:cubicBezTo>
                  <a:pt x="9854" y="22156"/>
                  <a:pt x="9814" y="22213"/>
                  <a:pt x="9817" y="22331"/>
                </a:cubicBezTo>
                <a:cubicBezTo>
                  <a:pt x="9821" y="22479"/>
                  <a:pt x="9817" y="22624"/>
                  <a:pt x="9817" y="22770"/>
                </a:cubicBezTo>
                <a:cubicBezTo>
                  <a:pt x="9817" y="23615"/>
                  <a:pt x="9819" y="24458"/>
                  <a:pt x="9817" y="25303"/>
                </a:cubicBezTo>
                <a:cubicBezTo>
                  <a:pt x="9816" y="25441"/>
                  <a:pt x="9856" y="25511"/>
                  <a:pt x="10007" y="25511"/>
                </a:cubicBezTo>
                <a:cubicBezTo>
                  <a:pt x="10310" y="25511"/>
                  <a:pt x="10612" y="25548"/>
                  <a:pt x="10911" y="25526"/>
                </a:cubicBezTo>
                <a:cubicBezTo>
                  <a:pt x="11215" y="25504"/>
                  <a:pt x="11516" y="25432"/>
                  <a:pt x="11866" y="25375"/>
                </a:cubicBezTo>
                <a:close/>
              </a:path>
            </a:pathLst>
          </a:custGeom>
          <a:solidFill>
            <a:srgbClr val="C65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49" name="Freeform 15">
            <a:extLst>
              <a:ext uri="{FF2B5EF4-FFF2-40B4-BE49-F238E27FC236}">
                <a16:creationId xmlns:a16="http://schemas.microsoft.com/office/drawing/2014/main" id="{05547B21-3561-47B2-8722-AEAE5A7212FF}"/>
              </a:ext>
            </a:extLst>
          </p:cNvPr>
          <p:cNvSpPr>
            <a:spLocks noEditPoints="1"/>
          </p:cNvSpPr>
          <p:nvPr/>
        </p:nvSpPr>
        <p:spPr bwMode="auto">
          <a:xfrm>
            <a:off x="4745038" y="2114550"/>
            <a:ext cx="215900" cy="247650"/>
          </a:xfrm>
          <a:custGeom>
            <a:avLst/>
            <a:gdLst>
              <a:gd name="T0" fmla="*/ 10579 w 22224"/>
              <a:gd name="T1" fmla="*/ 13371 h 25496"/>
              <a:gd name="T2" fmla="*/ 10389 w 22224"/>
              <a:gd name="T3" fmla="*/ 13467 h 25496"/>
              <a:gd name="T4" fmla="*/ 6712 w 22224"/>
              <a:gd name="T5" fmla="*/ 14294 h 25496"/>
              <a:gd name="T6" fmla="*/ 381 w 22224"/>
              <a:gd name="T7" fmla="*/ 8991 h 25496"/>
              <a:gd name="T8" fmla="*/ 1182 w 22224"/>
              <a:gd name="T9" fmla="*/ 4028 h 25496"/>
              <a:gd name="T10" fmla="*/ 6567 w 22224"/>
              <a:gd name="T11" fmla="*/ 410 h 25496"/>
              <a:gd name="T12" fmla="*/ 13642 w 22224"/>
              <a:gd name="T13" fmla="*/ 4167 h 25496"/>
              <a:gd name="T14" fmla="*/ 14253 w 22224"/>
              <a:gd name="T15" fmla="*/ 7898 h 25496"/>
              <a:gd name="T16" fmla="*/ 12276 w 22224"/>
              <a:gd name="T17" fmla="*/ 12054 h 25496"/>
              <a:gd name="T18" fmla="*/ 12236 w 22224"/>
              <a:gd name="T19" fmla="*/ 12109 h 25496"/>
              <a:gd name="T20" fmla="*/ 13110 w 22224"/>
              <a:gd name="T21" fmla="*/ 13290 h 25496"/>
              <a:gd name="T22" fmla="*/ 13571 w 22224"/>
              <a:gd name="T23" fmla="*/ 13247 h 25496"/>
              <a:gd name="T24" fmla="*/ 13872 w 22224"/>
              <a:gd name="T25" fmla="*/ 13361 h 25496"/>
              <a:gd name="T26" fmla="*/ 16319 w 22224"/>
              <a:gd name="T27" fmla="*/ 15780 h 25496"/>
              <a:gd name="T28" fmla="*/ 16999 w 22224"/>
              <a:gd name="T29" fmla="*/ 16498 h 25496"/>
              <a:gd name="T30" fmla="*/ 17953 w 22224"/>
              <a:gd name="T31" fmla="*/ 17422 h 25496"/>
              <a:gd name="T32" fmla="*/ 20928 w 22224"/>
              <a:gd name="T33" fmla="*/ 20416 h 25496"/>
              <a:gd name="T34" fmla="*/ 22036 w 22224"/>
              <a:gd name="T35" fmla="*/ 21514 h 25496"/>
              <a:gd name="T36" fmla="*/ 22152 w 22224"/>
              <a:gd name="T37" fmla="*/ 21780 h 25496"/>
              <a:gd name="T38" fmla="*/ 20606 w 22224"/>
              <a:gd name="T39" fmla="*/ 24789 h 25496"/>
              <a:gd name="T40" fmla="*/ 18161 w 22224"/>
              <a:gd name="T41" fmla="*/ 25348 h 25496"/>
              <a:gd name="T42" fmla="*/ 17868 w 22224"/>
              <a:gd name="T43" fmla="*/ 25277 h 25496"/>
              <a:gd name="T44" fmla="*/ 17455 w 22224"/>
              <a:gd name="T45" fmla="*/ 24947 h 25496"/>
              <a:gd name="T46" fmla="*/ 15549 w 22224"/>
              <a:gd name="T47" fmla="*/ 21727 h 25496"/>
              <a:gd name="T48" fmla="*/ 14788 w 22224"/>
              <a:gd name="T49" fmla="*/ 20406 h 25496"/>
              <a:gd name="T50" fmla="*/ 14149 w 22224"/>
              <a:gd name="T51" fmla="*/ 19322 h 25496"/>
              <a:gd name="T52" fmla="*/ 13547 w 22224"/>
              <a:gd name="T53" fmla="*/ 18281 h 25496"/>
              <a:gd name="T54" fmla="*/ 12328 w 22224"/>
              <a:gd name="T55" fmla="*/ 16222 h 25496"/>
              <a:gd name="T56" fmla="*/ 11633 w 22224"/>
              <a:gd name="T57" fmla="*/ 14929 h 25496"/>
              <a:gd name="T58" fmla="*/ 11064 w 22224"/>
              <a:gd name="T59" fmla="*/ 14016 h 25496"/>
              <a:gd name="T60" fmla="*/ 10658 w 22224"/>
              <a:gd name="T61" fmla="*/ 13455 h 25496"/>
              <a:gd name="T62" fmla="*/ 10579 w 22224"/>
              <a:gd name="T63" fmla="*/ 13371 h 25496"/>
              <a:gd name="T64" fmla="*/ 12127 w 22224"/>
              <a:gd name="T65" fmla="*/ 10624 h 25496"/>
              <a:gd name="T66" fmla="*/ 12307 w 22224"/>
              <a:gd name="T67" fmla="*/ 10363 h 25496"/>
              <a:gd name="T68" fmla="*/ 12603 w 22224"/>
              <a:gd name="T69" fmla="*/ 9681 h 25496"/>
              <a:gd name="T70" fmla="*/ 12952 w 22224"/>
              <a:gd name="T71" fmla="*/ 5571 h 25496"/>
              <a:gd name="T72" fmla="*/ 9617 w 22224"/>
              <a:gd name="T73" fmla="*/ 1956 h 25496"/>
              <a:gd name="T74" fmla="*/ 7145 w 22224"/>
              <a:gd name="T75" fmla="*/ 1584 h 25496"/>
              <a:gd name="T76" fmla="*/ 5341 w 22224"/>
              <a:gd name="T77" fmla="*/ 2074 h 25496"/>
              <a:gd name="T78" fmla="*/ 5215 w 22224"/>
              <a:gd name="T79" fmla="*/ 2191 h 25496"/>
              <a:gd name="T80" fmla="*/ 5235 w 22224"/>
              <a:gd name="T81" fmla="*/ 2245 h 25496"/>
              <a:gd name="T82" fmla="*/ 5428 w 22224"/>
              <a:gd name="T83" fmla="*/ 2247 h 25496"/>
              <a:gd name="T84" fmla="*/ 6486 w 22224"/>
              <a:gd name="T85" fmla="*/ 2148 h 25496"/>
              <a:gd name="T86" fmla="*/ 11295 w 22224"/>
              <a:gd name="T87" fmla="*/ 4614 h 25496"/>
              <a:gd name="T88" fmla="*/ 12108 w 22224"/>
              <a:gd name="T89" fmla="*/ 9979 h 25496"/>
              <a:gd name="T90" fmla="*/ 12009 w 22224"/>
              <a:gd name="T91" fmla="*/ 10282 h 25496"/>
              <a:gd name="T92" fmla="*/ 12127 w 22224"/>
              <a:gd name="T93" fmla="*/ 10624 h 25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224" h="25496">
                <a:moveTo>
                  <a:pt x="10579" y="13371"/>
                </a:moveTo>
                <a:cubicBezTo>
                  <a:pt x="10514" y="13404"/>
                  <a:pt x="10451" y="13435"/>
                  <a:pt x="10389" y="13467"/>
                </a:cubicBezTo>
                <a:cubicBezTo>
                  <a:pt x="9238" y="14072"/>
                  <a:pt x="8010" y="14347"/>
                  <a:pt x="6712" y="14294"/>
                </a:cubicBezTo>
                <a:cubicBezTo>
                  <a:pt x="3619" y="14168"/>
                  <a:pt x="1039" y="12018"/>
                  <a:pt x="381" y="8991"/>
                </a:cubicBezTo>
                <a:cubicBezTo>
                  <a:pt x="0" y="7240"/>
                  <a:pt x="281" y="5569"/>
                  <a:pt x="1182" y="4028"/>
                </a:cubicBezTo>
                <a:cubicBezTo>
                  <a:pt x="2389" y="1962"/>
                  <a:pt x="4198" y="735"/>
                  <a:pt x="6567" y="410"/>
                </a:cubicBezTo>
                <a:cubicBezTo>
                  <a:pt x="9564" y="0"/>
                  <a:pt x="12366" y="1510"/>
                  <a:pt x="13642" y="4167"/>
                </a:cubicBezTo>
                <a:cubicBezTo>
                  <a:pt x="14210" y="5348"/>
                  <a:pt x="14410" y="6597"/>
                  <a:pt x="14253" y="7898"/>
                </a:cubicBezTo>
                <a:cubicBezTo>
                  <a:pt x="14060" y="9502"/>
                  <a:pt x="13387" y="10884"/>
                  <a:pt x="12276" y="12054"/>
                </a:cubicBezTo>
                <a:cubicBezTo>
                  <a:pt x="12260" y="12072"/>
                  <a:pt x="12249" y="12093"/>
                  <a:pt x="12236" y="12109"/>
                </a:cubicBezTo>
                <a:cubicBezTo>
                  <a:pt x="12304" y="12291"/>
                  <a:pt x="12752" y="12897"/>
                  <a:pt x="13110" y="13290"/>
                </a:cubicBezTo>
                <a:cubicBezTo>
                  <a:pt x="13271" y="13276"/>
                  <a:pt x="13421" y="13266"/>
                  <a:pt x="13571" y="13247"/>
                </a:cubicBezTo>
                <a:cubicBezTo>
                  <a:pt x="13695" y="13231"/>
                  <a:pt x="13788" y="13276"/>
                  <a:pt x="13872" y="13361"/>
                </a:cubicBezTo>
                <a:cubicBezTo>
                  <a:pt x="14687" y="14168"/>
                  <a:pt x="15505" y="14972"/>
                  <a:pt x="16319" y="15780"/>
                </a:cubicBezTo>
                <a:cubicBezTo>
                  <a:pt x="16552" y="16013"/>
                  <a:pt x="16767" y="16264"/>
                  <a:pt x="16999" y="16498"/>
                </a:cubicBezTo>
                <a:cubicBezTo>
                  <a:pt x="17313" y="16810"/>
                  <a:pt x="17641" y="17108"/>
                  <a:pt x="17953" y="17422"/>
                </a:cubicBezTo>
                <a:cubicBezTo>
                  <a:pt x="18946" y="18418"/>
                  <a:pt x="19935" y="19418"/>
                  <a:pt x="20928" y="20416"/>
                </a:cubicBezTo>
                <a:cubicBezTo>
                  <a:pt x="21294" y="20786"/>
                  <a:pt x="21664" y="21151"/>
                  <a:pt x="22036" y="21514"/>
                </a:cubicBezTo>
                <a:cubicBezTo>
                  <a:pt x="22112" y="21591"/>
                  <a:pt x="22146" y="21671"/>
                  <a:pt x="22152" y="21780"/>
                </a:cubicBezTo>
                <a:cubicBezTo>
                  <a:pt x="22224" y="23085"/>
                  <a:pt x="21648" y="24063"/>
                  <a:pt x="20606" y="24789"/>
                </a:cubicBezTo>
                <a:cubicBezTo>
                  <a:pt x="19873" y="25298"/>
                  <a:pt x="19053" y="25496"/>
                  <a:pt x="18161" y="25348"/>
                </a:cubicBezTo>
                <a:cubicBezTo>
                  <a:pt x="18062" y="25332"/>
                  <a:pt x="17963" y="25311"/>
                  <a:pt x="17868" y="25277"/>
                </a:cubicBezTo>
                <a:cubicBezTo>
                  <a:pt x="17695" y="25215"/>
                  <a:pt x="17558" y="25125"/>
                  <a:pt x="17455" y="24947"/>
                </a:cubicBezTo>
                <a:cubicBezTo>
                  <a:pt x="16829" y="23870"/>
                  <a:pt x="16184" y="22802"/>
                  <a:pt x="15549" y="21727"/>
                </a:cubicBezTo>
                <a:cubicBezTo>
                  <a:pt x="15291" y="21290"/>
                  <a:pt x="15043" y="20845"/>
                  <a:pt x="14788" y="20406"/>
                </a:cubicBezTo>
                <a:cubicBezTo>
                  <a:pt x="14577" y="20043"/>
                  <a:pt x="14361" y="19684"/>
                  <a:pt x="14149" y="19322"/>
                </a:cubicBezTo>
                <a:cubicBezTo>
                  <a:pt x="13948" y="18976"/>
                  <a:pt x="13751" y="18626"/>
                  <a:pt x="13547" y="18281"/>
                </a:cubicBezTo>
                <a:cubicBezTo>
                  <a:pt x="13142" y="17595"/>
                  <a:pt x="12728" y="16912"/>
                  <a:pt x="12328" y="16222"/>
                </a:cubicBezTo>
                <a:cubicBezTo>
                  <a:pt x="12083" y="15798"/>
                  <a:pt x="11822" y="15378"/>
                  <a:pt x="11633" y="14929"/>
                </a:cubicBezTo>
                <a:cubicBezTo>
                  <a:pt x="11490" y="14586"/>
                  <a:pt x="11273" y="14307"/>
                  <a:pt x="11064" y="14016"/>
                </a:cubicBezTo>
                <a:cubicBezTo>
                  <a:pt x="10930" y="13827"/>
                  <a:pt x="10794" y="13641"/>
                  <a:pt x="10658" y="13455"/>
                </a:cubicBezTo>
                <a:cubicBezTo>
                  <a:pt x="10639" y="13428"/>
                  <a:pt x="10611" y="13404"/>
                  <a:pt x="10579" y="13371"/>
                </a:cubicBezTo>
                <a:close/>
                <a:moveTo>
                  <a:pt x="12127" y="10624"/>
                </a:moveTo>
                <a:cubicBezTo>
                  <a:pt x="12191" y="10532"/>
                  <a:pt x="12264" y="10455"/>
                  <a:pt x="12307" y="10363"/>
                </a:cubicBezTo>
                <a:cubicBezTo>
                  <a:pt x="12412" y="10139"/>
                  <a:pt x="12497" y="9906"/>
                  <a:pt x="12603" y="9681"/>
                </a:cubicBezTo>
                <a:cubicBezTo>
                  <a:pt x="13232" y="8354"/>
                  <a:pt x="13386" y="6980"/>
                  <a:pt x="12952" y="5571"/>
                </a:cubicBezTo>
                <a:cubicBezTo>
                  <a:pt x="12419" y="3842"/>
                  <a:pt x="11295" y="2636"/>
                  <a:pt x="9617" y="1956"/>
                </a:cubicBezTo>
                <a:cubicBezTo>
                  <a:pt x="8826" y="1634"/>
                  <a:pt x="7992" y="1539"/>
                  <a:pt x="7145" y="1584"/>
                </a:cubicBezTo>
                <a:cubicBezTo>
                  <a:pt x="6511" y="1619"/>
                  <a:pt x="5914" y="1807"/>
                  <a:pt x="5341" y="2074"/>
                </a:cubicBezTo>
                <a:cubicBezTo>
                  <a:pt x="5292" y="2098"/>
                  <a:pt x="5256" y="2151"/>
                  <a:pt x="5215" y="2191"/>
                </a:cubicBezTo>
                <a:cubicBezTo>
                  <a:pt x="5221" y="2209"/>
                  <a:pt x="5227" y="2228"/>
                  <a:pt x="5235" y="2245"/>
                </a:cubicBezTo>
                <a:cubicBezTo>
                  <a:pt x="5300" y="2247"/>
                  <a:pt x="5364" y="2253"/>
                  <a:pt x="5428" y="2247"/>
                </a:cubicBezTo>
                <a:cubicBezTo>
                  <a:pt x="5781" y="2213"/>
                  <a:pt x="6134" y="2144"/>
                  <a:pt x="6486" y="2148"/>
                </a:cubicBezTo>
                <a:cubicBezTo>
                  <a:pt x="8498" y="2164"/>
                  <a:pt x="10134" y="2968"/>
                  <a:pt x="11295" y="4614"/>
                </a:cubicBezTo>
                <a:cubicBezTo>
                  <a:pt x="12449" y="6250"/>
                  <a:pt x="12662" y="8066"/>
                  <a:pt x="12108" y="9979"/>
                </a:cubicBezTo>
                <a:cubicBezTo>
                  <a:pt x="12078" y="10080"/>
                  <a:pt x="12039" y="10179"/>
                  <a:pt x="12009" y="10282"/>
                </a:cubicBezTo>
                <a:cubicBezTo>
                  <a:pt x="11964" y="10434"/>
                  <a:pt x="11990" y="10533"/>
                  <a:pt x="12127" y="10624"/>
                </a:cubicBezTo>
                <a:close/>
              </a:path>
            </a:pathLst>
          </a:custGeom>
          <a:solidFill>
            <a:srgbClr val="C65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pic>
        <p:nvPicPr>
          <p:cNvPr id="53" name="Picture 5">
            <a:extLst>
              <a:ext uri="{FF2B5EF4-FFF2-40B4-BE49-F238E27FC236}">
                <a16:creationId xmlns:a16="http://schemas.microsoft.com/office/drawing/2014/main" id="{090E4209-F364-46C8-AEEC-C609E913107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716463" y="2550410"/>
            <a:ext cx="267017" cy="229057"/>
          </a:xfrm>
          <a:prstGeom prst="rect">
            <a:avLst/>
          </a:prstGeom>
          <a:solidFill>
            <a:schemeClr val="tx2"/>
          </a:solidFill>
          <a:ln>
            <a:noFill/>
          </a:ln>
          <a:effectLst/>
        </p:spPr>
      </p:pic>
      <p:sp>
        <p:nvSpPr>
          <p:cNvPr id="55" name="AutoShape 11">
            <a:extLst>
              <a:ext uri="{FF2B5EF4-FFF2-40B4-BE49-F238E27FC236}">
                <a16:creationId xmlns:a16="http://schemas.microsoft.com/office/drawing/2014/main" id="{DF875979-AFCA-4C27-9BCD-A4F87701BB6E}"/>
              </a:ext>
            </a:extLst>
          </p:cNvPr>
          <p:cNvSpPr>
            <a:spLocks noChangeAspect="1" noChangeArrowheads="1" noTextEdit="1"/>
          </p:cNvSpPr>
          <p:nvPr/>
        </p:nvSpPr>
        <p:spPr bwMode="auto">
          <a:xfrm>
            <a:off x="4759667" y="2966983"/>
            <a:ext cx="215900" cy="255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6" name="Freeform 13">
            <a:extLst>
              <a:ext uri="{FF2B5EF4-FFF2-40B4-BE49-F238E27FC236}">
                <a16:creationId xmlns:a16="http://schemas.microsoft.com/office/drawing/2014/main" id="{468D2326-1BE1-407C-9C7D-56FB6F990EAB}"/>
              </a:ext>
            </a:extLst>
          </p:cNvPr>
          <p:cNvSpPr>
            <a:spLocks noEditPoints="1"/>
          </p:cNvSpPr>
          <p:nvPr/>
        </p:nvSpPr>
        <p:spPr bwMode="auto">
          <a:xfrm>
            <a:off x="4725164" y="2955444"/>
            <a:ext cx="215900" cy="260126"/>
          </a:xfrm>
          <a:custGeom>
            <a:avLst/>
            <a:gdLst>
              <a:gd name="T0" fmla="*/ 358 w 3040"/>
              <a:gd name="T1" fmla="*/ 3532 h 3600"/>
              <a:gd name="T2" fmla="*/ 523 w 3040"/>
              <a:gd name="T3" fmla="*/ 3296 h 3600"/>
              <a:gd name="T4" fmla="*/ 511 w 3040"/>
              <a:gd name="T5" fmla="*/ 3205 h 3600"/>
              <a:gd name="T6" fmla="*/ 24 w 3040"/>
              <a:gd name="T7" fmla="*/ 2338 h 3600"/>
              <a:gd name="T8" fmla="*/ 486 w 3040"/>
              <a:gd name="T9" fmla="*/ 1086 h 3600"/>
              <a:gd name="T10" fmla="*/ 762 w 3040"/>
              <a:gd name="T11" fmla="*/ 903 h 3600"/>
              <a:gd name="T12" fmla="*/ 919 w 3040"/>
              <a:gd name="T13" fmla="*/ 480 h 3600"/>
              <a:gd name="T14" fmla="*/ 1206 w 3040"/>
              <a:gd name="T15" fmla="*/ 289 h 3600"/>
              <a:gd name="T16" fmla="*/ 1440 w 3040"/>
              <a:gd name="T17" fmla="*/ 21 h 3600"/>
              <a:gd name="T18" fmla="*/ 1572 w 3040"/>
              <a:gd name="T19" fmla="*/ 300 h 3600"/>
              <a:gd name="T20" fmla="*/ 1926 w 3040"/>
              <a:gd name="T21" fmla="*/ 699 h 3600"/>
              <a:gd name="T22" fmla="*/ 2367 w 3040"/>
              <a:gd name="T23" fmla="*/ 917 h 3600"/>
              <a:gd name="T24" fmla="*/ 2742 w 3040"/>
              <a:gd name="T25" fmla="*/ 1256 h 3600"/>
              <a:gd name="T26" fmla="*/ 2951 w 3040"/>
              <a:gd name="T27" fmla="*/ 1689 h 3600"/>
              <a:gd name="T28" fmla="*/ 3025 w 3040"/>
              <a:gd name="T29" fmla="*/ 2006 h 3600"/>
              <a:gd name="T30" fmla="*/ 2995 w 3040"/>
              <a:gd name="T31" fmla="*/ 2528 h 3600"/>
              <a:gd name="T32" fmla="*/ 2796 w 3040"/>
              <a:gd name="T33" fmla="*/ 2904 h 3600"/>
              <a:gd name="T34" fmla="*/ 2519 w 3040"/>
              <a:gd name="T35" fmla="*/ 3201 h 3600"/>
              <a:gd name="T36" fmla="*/ 2380 w 3040"/>
              <a:gd name="T37" fmla="*/ 3587 h 3600"/>
              <a:gd name="T38" fmla="*/ 1983 w 3040"/>
              <a:gd name="T39" fmla="*/ 3492 h 3600"/>
              <a:gd name="T40" fmla="*/ 1532 w 3040"/>
              <a:gd name="T41" fmla="*/ 3574 h 3600"/>
              <a:gd name="T42" fmla="*/ 772 w 3040"/>
              <a:gd name="T43" fmla="*/ 3415 h 3600"/>
              <a:gd name="T44" fmla="*/ 1755 w 3040"/>
              <a:gd name="T45" fmla="*/ 878 h 3600"/>
              <a:gd name="T46" fmla="*/ 2665 w 3040"/>
              <a:gd name="T47" fmla="*/ 2381 h 3600"/>
              <a:gd name="T48" fmla="*/ 2616 w 3040"/>
              <a:gd name="T49" fmla="*/ 2823 h 3600"/>
              <a:gd name="T50" fmla="*/ 2779 w 3040"/>
              <a:gd name="T51" fmla="*/ 2311 h 3600"/>
              <a:gd name="T52" fmla="*/ 2687 w 3040"/>
              <a:gd name="T53" fmla="*/ 1570 h 3600"/>
              <a:gd name="T54" fmla="*/ 1987 w 3040"/>
              <a:gd name="T55" fmla="*/ 925 h 3600"/>
              <a:gd name="T56" fmla="*/ 1784 w 3040"/>
              <a:gd name="T57" fmla="*/ 3159 h 3600"/>
              <a:gd name="T58" fmla="*/ 1649 w 3040"/>
              <a:gd name="T59" fmla="*/ 2690 h 3600"/>
              <a:gd name="T60" fmla="*/ 1510 w 3040"/>
              <a:gd name="T61" fmla="*/ 2151 h 3600"/>
              <a:gd name="T62" fmla="*/ 1474 w 3040"/>
              <a:gd name="T63" fmla="*/ 1718 h 3600"/>
              <a:gd name="T64" fmla="*/ 1396 w 3040"/>
              <a:gd name="T65" fmla="*/ 1135 h 3600"/>
              <a:gd name="T66" fmla="*/ 1375 w 3040"/>
              <a:gd name="T67" fmla="*/ 1489 h 3600"/>
              <a:gd name="T68" fmla="*/ 1336 w 3040"/>
              <a:gd name="T69" fmla="*/ 2112 h 3600"/>
              <a:gd name="T70" fmla="*/ 1352 w 3040"/>
              <a:gd name="T71" fmla="*/ 2329 h 3600"/>
              <a:gd name="T72" fmla="*/ 1766 w 3040"/>
              <a:gd name="T73" fmla="*/ 3144 h 3600"/>
              <a:gd name="T74" fmla="*/ 143 w 3040"/>
              <a:gd name="T75" fmla="*/ 2252 h 3600"/>
              <a:gd name="T76" fmla="*/ 143 w 3040"/>
              <a:gd name="T77" fmla="*/ 2006 h 3600"/>
              <a:gd name="T78" fmla="*/ 2535 w 3040"/>
              <a:gd name="T79" fmla="*/ 2007 h 3600"/>
              <a:gd name="T80" fmla="*/ 1311 w 3040"/>
              <a:gd name="T81" fmla="*/ 1026 h 3600"/>
              <a:gd name="T82" fmla="*/ 1311 w 3040"/>
              <a:gd name="T83" fmla="*/ 745 h 3600"/>
              <a:gd name="T84" fmla="*/ 1609 w 3040"/>
              <a:gd name="T85" fmla="*/ 3180 h 3600"/>
              <a:gd name="T86" fmla="*/ 1609 w 3040"/>
              <a:gd name="T87" fmla="*/ 34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40" h="3600">
                <a:moveTo>
                  <a:pt x="765" y="3411"/>
                </a:moveTo>
                <a:cubicBezTo>
                  <a:pt x="734" y="3452"/>
                  <a:pt x="704" y="3491"/>
                  <a:pt x="673" y="3532"/>
                </a:cubicBezTo>
                <a:cubicBezTo>
                  <a:pt x="569" y="3532"/>
                  <a:pt x="463" y="3532"/>
                  <a:pt x="358" y="3532"/>
                </a:cubicBezTo>
                <a:cubicBezTo>
                  <a:pt x="351" y="3522"/>
                  <a:pt x="356" y="3515"/>
                  <a:pt x="362" y="3507"/>
                </a:cubicBezTo>
                <a:cubicBezTo>
                  <a:pt x="401" y="3458"/>
                  <a:pt x="439" y="3408"/>
                  <a:pt x="477" y="3359"/>
                </a:cubicBezTo>
                <a:cubicBezTo>
                  <a:pt x="493" y="3338"/>
                  <a:pt x="508" y="3317"/>
                  <a:pt x="523" y="3296"/>
                </a:cubicBezTo>
                <a:cubicBezTo>
                  <a:pt x="528" y="3290"/>
                  <a:pt x="530" y="3283"/>
                  <a:pt x="534" y="3276"/>
                </a:cubicBezTo>
                <a:cubicBezTo>
                  <a:pt x="539" y="3266"/>
                  <a:pt x="545" y="3256"/>
                  <a:pt x="552" y="3243"/>
                </a:cubicBezTo>
                <a:cubicBezTo>
                  <a:pt x="540" y="3231"/>
                  <a:pt x="525" y="3218"/>
                  <a:pt x="511" y="3205"/>
                </a:cubicBezTo>
                <a:cubicBezTo>
                  <a:pt x="468" y="3163"/>
                  <a:pt x="424" y="3122"/>
                  <a:pt x="383" y="3078"/>
                </a:cubicBezTo>
                <a:cubicBezTo>
                  <a:pt x="311" y="3002"/>
                  <a:pt x="256" y="2915"/>
                  <a:pt x="203" y="2825"/>
                </a:cubicBezTo>
                <a:cubicBezTo>
                  <a:pt x="114" y="2673"/>
                  <a:pt x="51" y="2512"/>
                  <a:pt x="24" y="2338"/>
                </a:cubicBezTo>
                <a:cubicBezTo>
                  <a:pt x="3" y="2207"/>
                  <a:pt x="0" y="2076"/>
                  <a:pt x="19" y="1945"/>
                </a:cubicBezTo>
                <a:cubicBezTo>
                  <a:pt x="58" y="1666"/>
                  <a:pt x="174" y="1423"/>
                  <a:pt x="363" y="1214"/>
                </a:cubicBezTo>
                <a:cubicBezTo>
                  <a:pt x="403" y="1170"/>
                  <a:pt x="442" y="1125"/>
                  <a:pt x="486" y="1086"/>
                </a:cubicBezTo>
                <a:cubicBezTo>
                  <a:pt x="501" y="1072"/>
                  <a:pt x="517" y="1061"/>
                  <a:pt x="531" y="1046"/>
                </a:cubicBezTo>
                <a:cubicBezTo>
                  <a:pt x="578" y="994"/>
                  <a:pt x="643" y="969"/>
                  <a:pt x="702" y="935"/>
                </a:cubicBezTo>
                <a:cubicBezTo>
                  <a:pt x="721" y="923"/>
                  <a:pt x="742" y="914"/>
                  <a:pt x="762" y="903"/>
                </a:cubicBezTo>
                <a:cubicBezTo>
                  <a:pt x="769" y="899"/>
                  <a:pt x="775" y="893"/>
                  <a:pt x="783" y="888"/>
                </a:cubicBezTo>
                <a:cubicBezTo>
                  <a:pt x="783" y="882"/>
                  <a:pt x="783" y="876"/>
                  <a:pt x="783" y="870"/>
                </a:cubicBezTo>
                <a:cubicBezTo>
                  <a:pt x="780" y="723"/>
                  <a:pt x="828" y="595"/>
                  <a:pt x="919" y="480"/>
                </a:cubicBezTo>
                <a:cubicBezTo>
                  <a:pt x="969" y="419"/>
                  <a:pt x="1028" y="369"/>
                  <a:pt x="1095" y="330"/>
                </a:cubicBezTo>
                <a:cubicBezTo>
                  <a:pt x="1125" y="313"/>
                  <a:pt x="1158" y="302"/>
                  <a:pt x="1189" y="289"/>
                </a:cubicBezTo>
                <a:cubicBezTo>
                  <a:pt x="1194" y="287"/>
                  <a:pt x="1201" y="289"/>
                  <a:pt x="1206" y="289"/>
                </a:cubicBezTo>
                <a:cubicBezTo>
                  <a:pt x="1212" y="285"/>
                  <a:pt x="1218" y="281"/>
                  <a:pt x="1226" y="276"/>
                </a:cubicBezTo>
                <a:cubicBezTo>
                  <a:pt x="1216" y="245"/>
                  <a:pt x="1212" y="211"/>
                  <a:pt x="1217" y="177"/>
                </a:cubicBezTo>
                <a:cubicBezTo>
                  <a:pt x="1234" y="73"/>
                  <a:pt x="1336" y="0"/>
                  <a:pt x="1440" y="21"/>
                </a:cubicBezTo>
                <a:cubicBezTo>
                  <a:pt x="1476" y="29"/>
                  <a:pt x="1511" y="42"/>
                  <a:pt x="1540" y="67"/>
                </a:cubicBezTo>
                <a:cubicBezTo>
                  <a:pt x="1600" y="120"/>
                  <a:pt x="1616" y="201"/>
                  <a:pt x="1583" y="277"/>
                </a:cubicBezTo>
                <a:cubicBezTo>
                  <a:pt x="1579" y="284"/>
                  <a:pt x="1576" y="292"/>
                  <a:pt x="1572" y="300"/>
                </a:cubicBezTo>
                <a:cubicBezTo>
                  <a:pt x="1595" y="310"/>
                  <a:pt x="1619" y="317"/>
                  <a:pt x="1639" y="329"/>
                </a:cubicBezTo>
                <a:cubicBezTo>
                  <a:pt x="1667" y="346"/>
                  <a:pt x="1693" y="365"/>
                  <a:pt x="1717" y="387"/>
                </a:cubicBezTo>
                <a:cubicBezTo>
                  <a:pt x="1813" y="473"/>
                  <a:pt x="1883" y="577"/>
                  <a:pt x="1926" y="699"/>
                </a:cubicBezTo>
                <a:cubicBezTo>
                  <a:pt x="1937" y="729"/>
                  <a:pt x="1952" y="746"/>
                  <a:pt x="1984" y="754"/>
                </a:cubicBezTo>
                <a:cubicBezTo>
                  <a:pt x="2059" y="771"/>
                  <a:pt x="2130" y="798"/>
                  <a:pt x="2200" y="827"/>
                </a:cubicBezTo>
                <a:cubicBezTo>
                  <a:pt x="2259" y="852"/>
                  <a:pt x="2313" y="883"/>
                  <a:pt x="2367" y="917"/>
                </a:cubicBezTo>
                <a:cubicBezTo>
                  <a:pt x="2433" y="959"/>
                  <a:pt x="2497" y="1005"/>
                  <a:pt x="2557" y="1055"/>
                </a:cubicBezTo>
                <a:cubicBezTo>
                  <a:pt x="2595" y="1087"/>
                  <a:pt x="2630" y="1124"/>
                  <a:pt x="2664" y="1161"/>
                </a:cubicBezTo>
                <a:cubicBezTo>
                  <a:pt x="2691" y="1191"/>
                  <a:pt x="2717" y="1223"/>
                  <a:pt x="2742" y="1256"/>
                </a:cubicBezTo>
                <a:cubicBezTo>
                  <a:pt x="2793" y="1328"/>
                  <a:pt x="2832" y="1406"/>
                  <a:pt x="2867" y="1486"/>
                </a:cubicBezTo>
                <a:cubicBezTo>
                  <a:pt x="2878" y="1511"/>
                  <a:pt x="2891" y="1534"/>
                  <a:pt x="2901" y="1559"/>
                </a:cubicBezTo>
                <a:cubicBezTo>
                  <a:pt x="2919" y="1602"/>
                  <a:pt x="2936" y="1645"/>
                  <a:pt x="2951" y="1689"/>
                </a:cubicBezTo>
                <a:cubicBezTo>
                  <a:pt x="2966" y="1734"/>
                  <a:pt x="2981" y="1780"/>
                  <a:pt x="2993" y="1826"/>
                </a:cubicBezTo>
                <a:cubicBezTo>
                  <a:pt x="3003" y="1869"/>
                  <a:pt x="3008" y="1913"/>
                  <a:pt x="3015" y="1957"/>
                </a:cubicBezTo>
                <a:cubicBezTo>
                  <a:pt x="3018" y="1973"/>
                  <a:pt x="3022" y="1990"/>
                  <a:pt x="3025" y="2006"/>
                </a:cubicBezTo>
                <a:cubicBezTo>
                  <a:pt x="3040" y="2086"/>
                  <a:pt x="3040" y="2167"/>
                  <a:pt x="3036" y="2248"/>
                </a:cubicBezTo>
                <a:cubicBezTo>
                  <a:pt x="3033" y="2294"/>
                  <a:pt x="3030" y="2341"/>
                  <a:pt x="3024" y="2387"/>
                </a:cubicBezTo>
                <a:cubicBezTo>
                  <a:pt x="3017" y="2434"/>
                  <a:pt x="3007" y="2482"/>
                  <a:pt x="2995" y="2528"/>
                </a:cubicBezTo>
                <a:cubicBezTo>
                  <a:pt x="2988" y="2554"/>
                  <a:pt x="2975" y="2579"/>
                  <a:pt x="2964" y="2604"/>
                </a:cubicBezTo>
                <a:cubicBezTo>
                  <a:pt x="2951" y="2636"/>
                  <a:pt x="2939" y="2669"/>
                  <a:pt x="2923" y="2700"/>
                </a:cubicBezTo>
                <a:cubicBezTo>
                  <a:pt x="2886" y="2771"/>
                  <a:pt x="2844" y="2839"/>
                  <a:pt x="2796" y="2904"/>
                </a:cubicBezTo>
                <a:cubicBezTo>
                  <a:pt x="2776" y="2930"/>
                  <a:pt x="2759" y="2959"/>
                  <a:pt x="2739" y="2986"/>
                </a:cubicBezTo>
                <a:cubicBezTo>
                  <a:pt x="2702" y="3037"/>
                  <a:pt x="2655" y="3079"/>
                  <a:pt x="2609" y="3120"/>
                </a:cubicBezTo>
                <a:cubicBezTo>
                  <a:pt x="2579" y="3147"/>
                  <a:pt x="2551" y="3177"/>
                  <a:pt x="2519" y="3201"/>
                </a:cubicBezTo>
                <a:cubicBezTo>
                  <a:pt x="2434" y="3266"/>
                  <a:pt x="2349" y="3330"/>
                  <a:pt x="2254" y="3379"/>
                </a:cubicBezTo>
                <a:cubicBezTo>
                  <a:pt x="2256" y="3404"/>
                  <a:pt x="2272" y="3423"/>
                  <a:pt x="2285" y="3444"/>
                </a:cubicBezTo>
                <a:cubicBezTo>
                  <a:pt x="2317" y="3491"/>
                  <a:pt x="2348" y="3539"/>
                  <a:pt x="2380" y="3587"/>
                </a:cubicBezTo>
                <a:cubicBezTo>
                  <a:pt x="2382" y="3590"/>
                  <a:pt x="2384" y="3594"/>
                  <a:pt x="2388" y="3600"/>
                </a:cubicBezTo>
                <a:cubicBezTo>
                  <a:pt x="2280" y="3600"/>
                  <a:pt x="2174" y="3600"/>
                  <a:pt x="2066" y="3600"/>
                </a:cubicBezTo>
                <a:cubicBezTo>
                  <a:pt x="2039" y="3565"/>
                  <a:pt x="2011" y="3529"/>
                  <a:pt x="1983" y="3492"/>
                </a:cubicBezTo>
                <a:cubicBezTo>
                  <a:pt x="1964" y="3497"/>
                  <a:pt x="1945" y="3502"/>
                  <a:pt x="1926" y="3507"/>
                </a:cubicBezTo>
                <a:cubicBezTo>
                  <a:pt x="1845" y="3533"/>
                  <a:pt x="1763" y="3551"/>
                  <a:pt x="1679" y="3563"/>
                </a:cubicBezTo>
                <a:cubicBezTo>
                  <a:pt x="1631" y="3571"/>
                  <a:pt x="1581" y="3573"/>
                  <a:pt x="1532" y="3574"/>
                </a:cubicBezTo>
                <a:cubicBezTo>
                  <a:pt x="1467" y="3576"/>
                  <a:pt x="1402" y="3574"/>
                  <a:pt x="1338" y="3574"/>
                </a:cubicBezTo>
                <a:cubicBezTo>
                  <a:pt x="1255" y="3574"/>
                  <a:pt x="1174" y="3568"/>
                  <a:pt x="1093" y="3552"/>
                </a:cubicBezTo>
                <a:cubicBezTo>
                  <a:pt x="976" y="3529"/>
                  <a:pt x="868" y="3486"/>
                  <a:pt x="772" y="3415"/>
                </a:cubicBezTo>
                <a:cubicBezTo>
                  <a:pt x="770" y="3413"/>
                  <a:pt x="768" y="3412"/>
                  <a:pt x="765" y="3411"/>
                </a:cubicBezTo>
                <a:close/>
                <a:moveTo>
                  <a:pt x="1779" y="863"/>
                </a:moveTo>
                <a:cubicBezTo>
                  <a:pt x="1773" y="867"/>
                  <a:pt x="1766" y="872"/>
                  <a:pt x="1755" y="878"/>
                </a:cubicBezTo>
                <a:cubicBezTo>
                  <a:pt x="1781" y="892"/>
                  <a:pt x="1803" y="906"/>
                  <a:pt x="1825" y="917"/>
                </a:cubicBezTo>
                <a:cubicBezTo>
                  <a:pt x="1935" y="974"/>
                  <a:pt x="2037" y="1041"/>
                  <a:pt x="2128" y="1124"/>
                </a:cubicBezTo>
                <a:cubicBezTo>
                  <a:pt x="2497" y="1461"/>
                  <a:pt x="2669" y="1884"/>
                  <a:pt x="2665" y="2381"/>
                </a:cubicBezTo>
                <a:cubicBezTo>
                  <a:pt x="2664" y="2557"/>
                  <a:pt x="2632" y="2727"/>
                  <a:pt x="2575" y="2893"/>
                </a:cubicBezTo>
                <a:cubicBezTo>
                  <a:pt x="2573" y="2899"/>
                  <a:pt x="2572" y="2904"/>
                  <a:pt x="2571" y="2910"/>
                </a:cubicBezTo>
                <a:cubicBezTo>
                  <a:pt x="2589" y="2882"/>
                  <a:pt x="2603" y="2853"/>
                  <a:pt x="2616" y="2823"/>
                </a:cubicBezTo>
                <a:cubicBezTo>
                  <a:pt x="2635" y="2774"/>
                  <a:pt x="2653" y="2724"/>
                  <a:pt x="2671" y="2676"/>
                </a:cubicBezTo>
                <a:cubicBezTo>
                  <a:pt x="2688" y="2630"/>
                  <a:pt x="2709" y="2586"/>
                  <a:pt x="2723" y="2539"/>
                </a:cubicBezTo>
                <a:cubicBezTo>
                  <a:pt x="2745" y="2464"/>
                  <a:pt x="2771" y="2390"/>
                  <a:pt x="2779" y="2311"/>
                </a:cubicBezTo>
                <a:cubicBezTo>
                  <a:pt x="2788" y="2229"/>
                  <a:pt x="2798" y="2148"/>
                  <a:pt x="2798" y="2065"/>
                </a:cubicBezTo>
                <a:cubicBezTo>
                  <a:pt x="2798" y="2022"/>
                  <a:pt x="2792" y="1979"/>
                  <a:pt x="2787" y="1936"/>
                </a:cubicBezTo>
                <a:cubicBezTo>
                  <a:pt x="2771" y="1809"/>
                  <a:pt x="2739" y="1687"/>
                  <a:pt x="2687" y="1570"/>
                </a:cubicBezTo>
                <a:cubicBezTo>
                  <a:pt x="2611" y="1401"/>
                  <a:pt x="2503" y="1256"/>
                  <a:pt x="2353" y="1145"/>
                </a:cubicBezTo>
                <a:cubicBezTo>
                  <a:pt x="2293" y="1101"/>
                  <a:pt x="2231" y="1061"/>
                  <a:pt x="2170" y="1019"/>
                </a:cubicBezTo>
                <a:cubicBezTo>
                  <a:pt x="2113" y="980"/>
                  <a:pt x="2051" y="950"/>
                  <a:pt x="1987" y="925"/>
                </a:cubicBezTo>
                <a:cubicBezTo>
                  <a:pt x="1921" y="899"/>
                  <a:pt x="1852" y="879"/>
                  <a:pt x="1779" y="863"/>
                </a:cubicBezTo>
                <a:close/>
                <a:moveTo>
                  <a:pt x="1778" y="3161"/>
                </a:moveTo>
                <a:cubicBezTo>
                  <a:pt x="1780" y="3160"/>
                  <a:pt x="1782" y="3160"/>
                  <a:pt x="1784" y="3159"/>
                </a:cubicBezTo>
                <a:cubicBezTo>
                  <a:pt x="1784" y="3144"/>
                  <a:pt x="1779" y="3130"/>
                  <a:pt x="1775" y="3116"/>
                </a:cubicBezTo>
                <a:cubicBezTo>
                  <a:pt x="1756" y="3048"/>
                  <a:pt x="1737" y="2981"/>
                  <a:pt x="1717" y="2913"/>
                </a:cubicBezTo>
                <a:cubicBezTo>
                  <a:pt x="1695" y="2839"/>
                  <a:pt x="1671" y="2765"/>
                  <a:pt x="1649" y="2690"/>
                </a:cubicBezTo>
                <a:cubicBezTo>
                  <a:pt x="1634" y="2644"/>
                  <a:pt x="1619" y="2597"/>
                  <a:pt x="1606" y="2550"/>
                </a:cubicBezTo>
                <a:cubicBezTo>
                  <a:pt x="1579" y="2455"/>
                  <a:pt x="1555" y="2359"/>
                  <a:pt x="1528" y="2263"/>
                </a:cubicBezTo>
                <a:cubicBezTo>
                  <a:pt x="1517" y="2226"/>
                  <a:pt x="1505" y="2190"/>
                  <a:pt x="1510" y="2151"/>
                </a:cubicBezTo>
                <a:cubicBezTo>
                  <a:pt x="1512" y="2136"/>
                  <a:pt x="1509" y="2120"/>
                  <a:pt x="1508" y="2105"/>
                </a:cubicBezTo>
                <a:cubicBezTo>
                  <a:pt x="1506" y="2061"/>
                  <a:pt x="1505" y="2017"/>
                  <a:pt x="1501" y="1973"/>
                </a:cubicBezTo>
                <a:cubicBezTo>
                  <a:pt x="1493" y="1888"/>
                  <a:pt x="1484" y="1803"/>
                  <a:pt x="1474" y="1718"/>
                </a:cubicBezTo>
                <a:cubicBezTo>
                  <a:pt x="1463" y="1622"/>
                  <a:pt x="1452" y="1527"/>
                  <a:pt x="1440" y="1432"/>
                </a:cubicBezTo>
                <a:cubicBezTo>
                  <a:pt x="1427" y="1338"/>
                  <a:pt x="1414" y="1243"/>
                  <a:pt x="1402" y="1148"/>
                </a:cubicBezTo>
                <a:cubicBezTo>
                  <a:pt x="1401" y="1146"/>
                  <a:pt x="1399" y="1143"/>
                  <a:pt x="1396" y="1135"/>
                </a:cubicBezTo>
                <a:cubicBezTo>
                  <a:pt x="1395" y="1143"/>
                  <a:pt x="1393" y="1146"/>
                  <a:pt x="1393" y="1148"/>
                </a:cubicBezTo>
                <a:cubicBezTo>
                  <a:pt x="1389" y="1209"/>
                  <a:pt x="1386" y="1270"/>
                  <a:pt x="1382" y="1331"/>
                </a:cubicBezTo>
                <a:cubicBezTo>
                  <a:pt x="1380" y="1384"/>
                  <a:pt x="1378" y="1436"/>
                  <a:pt x="1375" y="1489"/>
                </a:cubicBezTo>
                <a:cubicBezTo>
                  <a:pt x="1373" y="1527"/>
                  <a:pt x="1368" y="1565"/>
                  <a:pt x="1365" y="1603"/>
                </a:cubicBezTo>
                <a:cubicBezTo>
                  <a:pt x="1360" y="1688"/>
                  <a:pt x="1355" y="1773"/>
                  <a:pt x="1350" y="1859"/>
                </a:cubicBezTo>
                <a:cubicBezTo>
                  <a:pt x="1345" y="1943"/>
                  <a:pt x="1340" y="2028"/>
                  <a:pt x="1336" y="2112"/>
                </a:cubicBezTo>
                <a:cubicBezTo>
                  <a:pt x="1333" y="2155"/>
                  <a:pt x="1332" y="2198"/>
                  <a:pt x="1329" y="2240"/>
                </a:cubicBezTo>
                <a:cubicBezTo>
                  <a:pt x="1326" y="2270"/>
                  <a:pt x="1327" y="2297"/>
                  <a:pt x="1348" y="2321"/>
                </a:cubicBezTo>
                <a:cubicBezTo>
                  <a:pt x="1350" y="2323"/>
                  <a:pt x="1351" y="2326"/>
                  <a:pt x="1352" y="2329"/>
                </a:cubicBezTo>
                <a:cubicBezTo>
                  <a:pt x="1364" y="2353"/>
                  <a:pt x="1376" y="2378"/>
                  <a:pt x="1389" y="2402"/>
                </a:cubicBezTo>
                <a:cubicBezTo>
                  <a:pt x="1442" y="2504"/>
                  <a:pt x="1496" y="2605"/>
                  <a:pt x="1549" y="2708"/>
                </a:cubicBezTo>
                <a:cubicBezTo>
                  <a:pt x="1623" y="2852"/>
                  <a:pt x="1701" y="2995"/>
                  <a:pt x="1766" y="3144"/>
                </a:cubicBezTo>
                <a:cubicBezTo>
                  <a:pt x="1769" y="3150"/>
                  <a:pt x="1774" y="3155"/>
                  <a:pt x="1778" y="3161"/>
                </a:cubicBezTo>
                <a:close/>
                <a:moveTo>
                  <a:pt x="143" y="2006"/>
                </a:moveTo>
                <a:cubicBezTo>
                  <a:pt x="143" y="2090"/>
                  <a:pt x="143" y="2171"/>
                  <a:pt x="143" y="2252"/>
                </a:cubicBezTo>
                <a:cubicBezTo>
                  <a:pt x="255" y="2252"/>
                  <a:pt x="365" y="2252"/>
                  <a:pt x="476" y="2252"/>
                </a:cubicBezTo>
                <a:cubicBezTo>
                  <a:pt x="476" y="2170"/>
                  <a:pt x="476" y="2089"/>
                  <a:pt x="476" y="2006"/>
                </a:cubicBezTo>
                <a:cubicBezTo>
                  <a:pt x="365" y="2006"/>
                  <a:pt x="255" y="2006"/>
                  <a:pt x="143" y="2006"/>
                </a:cubicBezTo>
                <a:close/>
                <a:moveTo>
                  <a:pt x="2202" y="2252"/>
                </a:moveTo>
                <a:cubicBezTo>
                  <a:pt x="2315" y="2252"/>
                  <a:pt x="2424" y="2252"/>
                  <a:pt x="2535" y="2252"/>
                </a:cubicBezTo>
                <a:cubicBezTo>
                  <a:pt x="2535" y="2169"/>
                  <a:pt x="2535" y="2088"/>
                  <a:pt x="2535" y="2007"/>
                </a:cubicBezTo>
                <a:cubicBezTo>
                  <a:pt x="2423" y="2007"/>
                  <a:pt x="2313" y="2007"/>
                  <a:pt x="2202" y="2007"/>
                </a:cubicBezTo>
                <a:cubicBezTo>
                  <a:pt x="2202" y="2089"/>
                  <a:pt x="2202" y="2170"/>
                  <a:pt x="2202" y="2252"/>
                </a:cubicBezTo>
                <a:close/>
                <a:moveTo>
                  <a:pt x="1311" y="1026"/>
                </a:moveTo>
                <a:cubicBezTo>
                  <a:pt x="1394" y="1026"/>
                  <a:pt x="1475" y="1026"/>
                  <a:pt x="1556" y="1026"/>
                </a:cubicBezTo>
                <a:cubicBezTo>
                  <a:pt x="1560" y="989"/>
                  <a:pt x="1559" y="760"/>
                  <a:pt x="1554" y="745"/>
                </a:cubicBezTo>
                <a:cubicBezTo>
                  <a:pt x="1473" y="745"/>
                  <a:pt x="1393" y="745"/>
                  <a:pt x="1311" y="745"/>
                </a:cubicBezTo>
                <a:cubicBezTo>
                  <a:pt x="1311" y="839"/>
                  <a:pt x="1311" y="932"/>
                  <a:pt x="1311" y="1026"/>
                </a:cubicBezTo>
                <a:close/>
                <a:moveTo>
                  <a:pt x="1609" y="3456"/>
                </a:moveTo>
                <a:cubicBezTo>
                  <a:pt x="1609" y="3363"/>
                  <a:pt x="1609" y="3272"/>
                  <a:pt x="1609" y="3180"/>
                </a:cubicBezTo>
                <a:cubicBezTo>
                  <a:pt x="1537" y="3180"/>
                  <a:pt x="1466" y="3180"/>
                  <a:pt x="1395" y="3180"/>
                </a:cubicBezTo>
                <a:cubicBezTo>
                  <a:pt x="1395" y="3273"/>
                  <a:pt x="1395" y="3364"/>
                  <a:pt x="1395" y="3456"/>
                </a:cubicBezTo>
                <a:cubicBezTo>
                  <a:pt x="1466" y="3456"/>
                  <a:pt x="1536" y="3456"/>
                  <a:pt x="1609" y="3456"/>
                </a:cubicBezTo>
                <a:close/>
              </a:path>
            </a:pathLst>
          </a:custGeom>
          <a:solidFill>
            <a:schemeClr val="tx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pic>
        <p:nvPicPr>
          <p:cNvPr id="57" name="Picture 24">
            <a:extLst>
              <a:ext uri="{FF2B5EF4-FFF2-40B4-BE49-F238E27FC236}">
                <a16:creationId xmlns:a16="http://schemas.microsoft.com/office/drawing/2014/main" id="{4003EC25-0551-493B-9422-B7C31235339E}"/>
              </a:ext>
            </a:extLst>
          </p:cNvPr>
          <p:cNvPicPr>
            <a:picLocks noChangeAspect="1" noChangeArrowheads="1"/>
          </p:cNvPicPr>
          <p:nvPr/>
        </p:nvPicPr>
        <p:blipFill>
          <a:blip r:embed="rId3" cstate="print">
            <a:duotone>
              <a:prstClr val="black"/>
              <a:schemeClr val="tx2">
                <a:tint val="45000"/>
                <a:satMod val="400000"/>
              </a:schemeClr>
            </a:duotone>
            <a:lum bright="-33000" contrast="23000"/>
            <a:extLst>
              <a:ext uri="{28A0092B-C50C-407E-A947-70E740481C1C}">
                <a14:useLocalDpi xmlns:a14="http://schemas.microsoft.com/office/drawing/2010/main" val="0"/>
              </a:ext>
            </a:extLst>
          </a:blip>
          <a:srcRect/>
          <a:stretch>
            <a:fillRect/>
          </a:stretch>
        </p:blipFill>
        <p:spPr bwMode="gray">
          <a:xfrm>
            <a:off x="4715215" y="3403135"/>
            <a:ext cx="267017" cy="229057"/>
          </a:xfrm>
          <a:prstGeom prst="rect">
            <a:avLst/>
          </a:prstGeom>
          <a:noFill/>
          <a:ln>
            <a:noFill/>
          </a:ln>
          <a:effectLst/>
        </p:spPr>
      </p:pic>
      <p:sp>
        <p:nvSpPr>
          <p:cNvPr id="58" name="Rechteck 80">
            <a:extLst>
              <a:ext uri="{FF2B5EF4-FFF2-40B4-BE49-F238E27FC236}">
                <a16:creationId xmlns:a16="http://schemas.microsoft.com/office/drawing/2014/main" id="{84575091-FBBA-4207-90BD-04A0159795D4}"/>
              </a:ext>
            </a:extLst>
          </p:cNvPr>
          <p:cNvSpPr/>
          <p:nvPr/>
        </p:nvSpPr>
        <p:spPr>
          <a:xfrm>
            <a:off x="4607260" y="4368820"/>
            <a:ext cx="352982" cy="523220"/>
          </a:xfrm>
          <a:prstGeom prst="rect">
            <a:avLst/>
          </a:prstGeom>
        </p:spPr>
        <p:txBody>
          <a:bodyPr wrap="none">
            <a:spAutoFit/>
          </a:bodyPr>
          <a:lstStyle/>
          <a:p>
            <a:pPr fontAlgn="base">
              <a:spcBef>
                <a:spcPct val="0"/>
              </a:spcBef>
              <a:spcAft>
                <a:spcPct val="0"/>
              </a:spcAft>
            </a:pPr>
            <a:r>
              <a:rPr lang="en-GB" sz="2800" dirty="0">
                <a:solidFill>
                  <a:srgbClr val="C6562C"/>
                </a:solidFill>
                <a:latin typeface="Garamond" panose="02020404030301010803" pitchFamily="18" charset="0"/>
              </a:rPr>
              <a:t>1</a:t>
            </a:r>
          </a:p>
        </p:txBody>
      </p:sp>
      <p:sp>
        <p:nvSpPr>
          <p:cNvPr id="59" name="Rechteck 81">
            <a:extLst>
              <a:ext uri="{FF2B5EF4-FFF2-40B4-BE49-F238E27FC236}">
                <a16:creationId xmlns:a16="http://schemas.microsoft.com/office/drawing/2014/main" id="{E7B85ED9-56F2-4D6B-8609-64BD423FB41A}"/>
              </a:ext>
            </a:extLst>
          </p:cNvPr>
          <p:cNvSpPr/>
          <p:nvPr/>
        </p:nvSpPr>
        <p:spPr>
          <a:xfrm>
            <a:off x="4607260" y="4991472"/>
            <a:ext cx="352982" cy="523220"/>
          </a:xfrm>
          <a:prstGeom prst="rect">
            <a:avLst/>
          </a:prstGeom>
        </p:spPr>
        <p:txBody>
          <a:bodyPr wrap="none">
            <a:spAutoFit/>
          </a:bodyPr>
          <a:lstStyle/>
          <a:p>
            <a:pPr fontAlgn="base">
              <a:spcBef>
                <a:spcPct val="0"/>
              </a:spcBef>
              <a:spcAft>
                <a:spcPct val="0"/>
              </a:spcAft>
            </a:pPr>
            <a:r>
              <a:rPr lang="en-GB" sz="2800" dirty="0">
                <a:solidFill>
                  <a:srgbClr val="C6562C"/>
                </a:solidFill>
                <a:latin typeface="Garamond" panose="02020404030301010803" pitchFamily="18" charset="0"/>
              </a:rPr>
              <a:t>2</a:t>
            </a:r>
          </a:p>
        </p:txBody>
      </p:sp>
      <p:sp>
        <p:nvSpPr>
          <p:cNvPr id="60" name="Rechteck 82">
            <a:extLst>
              <a:ext uri="{FF2B5EF4-FFF2-40B4-BE49-F238E27FC236}">
                <a16:creationId xmlns:a16="http://schemas.microsoft.com/office/drawing/2014/main" id="{34A70216-D2BA-44DD-9CEB-CAD884A16279}"/>
              </a:ext>
            </a:extLst>
          </p:cNvPr>
          <p:cNvSpPr/>
          <p:nvPr/>
        </p:nvSpPr>
        <p:spPr>
          <a:xfrm>
            <a:off x="4607260" y="5648980"/>
            <a:ext cx="352982" cy="523220"/>
          </a:xfrm>
          <a:prstGeom prst="rect">
            <a:avLst/>
          </a:prstGeom>
        </p:spPr>
        <p:txBody>
          <a:bodyPr wrap="none">
            <a:spAutoFit/>
          </a:bodyPr>
          <a:lstStyle/>
          <a:p>
            <a:pPr fontAlgn="base">
              <a:spcBef>
                <a:spcPct val="0"/>
              </a:spcBef>
              <a:spcAft>
                <a:spcPct val="0"/>
              </a:spcAft>
            </a:pPr>
            <a:r>
              <a:rPr lang="en-GB" sz="2800" dirty="0">
                <a:solidFill>
                  <a:srgbClr val="C6562C"/>
                </a:solidFill>
                <a:latin typeface="Garamond" panose="02020404030301010803" pitchFamily="18" charset="0"/>
              </a:rPr>
              <a:t>3</a:t>
            </a:r>
          </a:p>
        </p:txBody>
      </p:sp>
      <p:sp>
        <p:nvSpPr>
          <p:cNvPr id="62" name="Inhaltsplatzhalter 7">
            <a:extLst>
              <a:ext uri="{FF2B5EF4-FFF2-40B4-BE49-F238E27FC236}">
                <a16:creationId xmlns:a16="http://schemas.microsoft.com/office/drawing/2014/main" id="{A70E42CD-BE8E-4101-94CB-54CCB08A6E78}"/>
              </a:ext>
            </a:extLst>
          </p:cNvPr>
          <p:cNvSpPr txBox="1">
            <a:spLocks/>
          </p:cNvSpPr>
          <p:nvPr/>
        </p:nvSpPr>
        <p:spPr bwMode="gray">
          <a:xfrm>
            <a:off x="4706470" y="3979010"/>
            <a:ext cx="4189557" cy="2329712"/>
          </a:xfrm>
          <a:prstGeom prst="rect">
            <a:avLst/>
          </a:prstGeom>
          <a:no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a:spcBef>
                <a:spcPts val="1400"/>
              </a:spcBef>
              <a:spcAft>
                <a:spcPts val="1400"/>
              </a:spcAft>
            </a:pPr>
            <a:r>
              <a:rPr lang="de-DE" sz="1100" b="1" dirty="0">
                <a:solidFill>
                  <a:schemeClr val="tx2"/>
                </a:solidFill>
              </a:rPr>
              <a:t>Profitieren Sie von</a:t>
            </a:r>
          </a:p>
          <a:p>
            <a:pPr marL="387350" indent="7938">
              <a:spcBef>
                <a:spcPts val="600"/>
              </a:spcBef>
              <a:spcAft>
                <a:spcPts val="600"/>
              </a:spcAft>
              <a:buClr>
                <a:srgbClr val="C6562C"/>
              </a:buClr>
            </a:pPr>
            <a:r>
              <a:rPr lang="de-DE" sz="1000" dirty="0">
                <a:solidFill>
                  <a:prstClr val="black"/>
                </a:solidFill>
              </a:rPr>
              <a:t>Einem </a:t>
            </a:r>
            <a:r>
              <a:rPr lang="de-DE" sz="1000" dirty="0" err="1">
                <a:solidFill>
                  <a:prstClr val="black"/>
                </a:solidFill>
              </a:rPr>
              <a:t>Exposure</a:t>
            </a:r>
            <a:r>
              <a:rPr lang="de-DE" sz="1000" dirty="0">
                <a:solidFill>
                  <a:prstClr val="black"/>
                </a:solidFill>
              </a:rPr>
              <a:t> zu strukturell wachsenden Endmärkten</a:t>
            </a:r>
          </a:p>
          <a:p>
            <a:pPr marL="387350" indent="7938">
              <a:spcBef>
                <a:spcPts val="600"/>
              </a:spcBef>
              <a:spcAft>
                <a:spcPts val="0"/>
              </a:spcAft>
              <a:buClr>
                <a:srgbClr val="C6562C"/>
              </a:buClr>
            </a:pPr>
            <a:endParaRPr lang="de-DE" sz="1100" b="1" dirty="0">
              <a:solidFill>
                <a:schemeClr val="tx2"/>
              </a:solidFill>
            </a:endParaRPr>
          </a:p>
          <a:p>
            <a:pPr marL="387350" indent="7938">
              <a:spcBef>
                <a:spcPts val="600"/>
              </a:spcBef>
              <a:spcAft>
                <a:spcPts val="600"/>
              </a:spcAft>
              <a:buClr>
                <a:srgbClr val="C6562C"/>
              </a:buClr>
            </a:pPr>
            <a:r>
              <a:rPr lang="de-DE" sz="1000" dirty="0">
                <a:solidFill>
                  <a:prstClr val="black"/>
                </a:solidFill>
              </a:rPr>
              <a:t>Einer kleinen Fondsgröße für mehr Flexibilität im Vergleich zu ähnlichen Ansätzen der Wettbewerber und starken Synergien mit unseren Small- und Mid-Cap-Experten</a:t>
            </a:r>
          </a:p>
          <a:p>
            <a:pPr marL="387350" indent="7938">
              <a:spcBef>
                <a:spcPts val="600"/>
              </a:spcBef>
              <a:spcAft>
                <a:spcPts val="600"/>
              </a:spcAft>
              <a:buClr>
                <a:srgbClr val="C6562C"/>
              </a:buClr>
            </a:pPr>
            <a:r>
              <a:rPr lang="de-DE" sz="1000" dirty="0">
                <a:solidFill>
                  <a:prstClr val="black"/>
                </a:solidFill>
              </a:rPr>
              <a:t>Einem exzellenten Track </a:t>
            </a:r>
            <a:r>
              <a:rPr lang="de-DE" sz="1000" dirty="0" err="1">
                <a:solidFill>
                  <a:prstClr val="black"/>
                </a:solidFill>
              </a:rPr>
              <a:t>Record</a:t>
            </a:r>
            <a:r>
              <a:rPr lang="de-DE" sz="1000" dirty="0">
                <a:solidFill>
                  <a:prstClr val="black"/>
                </a:solidFill>
              </a:rPr>
              <a:t> des Fondsmanagers mit diesem Investmentansatz seit 2002</a:t>
            </a:r>
          </a:p>
          <a:p>
            <a:pPr marL="387350" indent="7938">
              <a:spcBef>
                <a:spcPts val="600"/>
              </a:spcBef>
              <a:spcAft>
                <a:spcPts val="600"/>
              </a:spcAft>
              <a:buClr>
                <a:srgbClr val="C6562C"/>
              </a:buClr>
            </a:pPr>
            <a:r>
              <a:rPr lang="de-DE" sz="1000" dirty="0">
                <a:solidFill>
                  <a:prstClr val="black"/>
                </a:solidFill>
              </a:rPr>
              <a:t> </a:t>
            </a:r>
          </a:p>
          <a:p>
            <a:pPr marL="449263">
              <a:spcBef>
                <a:spcPts val="600"/>
              </a:spcBef>
              <a:spcAft>
                <a:spcPts val="600"/>
              </a:spcAft>
              <a:buClr>
                <a:srgbClr val="C6562C"/>
              </a:buClr>
            </a:pPr>
            <a:endParaRPr lang="de-DE" sz="1000" dirty="0">
              <a:solidFill>
                <a:schemeClr val="tx2"/>
              </a:solidFill>
            </a:endParaRPr>
          </a:p>
        </p:txBody>
      </p:sp>
      <p:pic>
        <p:nvPicPr>
          <p:cNvPr id="4" name="Grafik 3">
            <a:extLst>
              <a:ext uri="{FF2B5EF4-FFF2-40B4-BE49-F238E27FC236}">
                <a16:creationId xmlns:a16="http://schemas.microsoft.com/office/drawing/2014/main" id="{CE7F7A89-D441-49C0-828A-FA3AA3EE1C9A}"/>
              </a:ext>
            </a:extLst>
          </p:cNvPr>
          <p:cNvPicPr>
            <a:picLocks noChangeAspect="1"/>
          </p:cNvPicPr>
          <p:nvPr/>
        </p:nvPicPr>
        <p:blipFill>
          <a:blip r:embed="rId4"/>
          <a:stretch>
            <a:fillRect/>
          </a:stretch>
        </p:blipFill>
        <p:spPr>
          <a:xfrm>
            <a:off x="227188" y="4388606"/>
            <a:ext cx="4344812" cy="1943961"/>
          </a:xfrm>
          <a:prstGeom prst="rect">
            <a:avLst/>
          </a:prstGeom>
        </p:spPr>
      </p:pic>
    </p:spTree>
    <p:extLst>
      <p:ext uri="{BB962C8B-B14F-4D97-AF65-F5344CB8AC3E}">
        <p14:creationId xmlns:p14="http://schemas.microsoft.com/office/powerpoint/2010/main" val="18504042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7"/>
          <p:cNvSpPr txBox="1">
            <a:spLocks/>
          </p:cNvSpPr>
          <p:nvPr/>
        </p:nvSpPr>
        <p:spPr bwMode="gray">
          <a:xfrm>
            <a:off x="249349" y="1253918"/>
            <a:ext cx="4178635" cy="2407535"/>
          </a:xfrm>
          <a:prstGeom prst="rect">
            <a:avLst/>
          </a:prstGeom>
          <a:no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marL="172800" indent="-172800" fontAlgn="base">
              <a:lnSpc>
                <a:spcPct val="120000"/>
              </a:lnSpc>
              <a:buClr>
                <a:srgbClr val="C6562C"/>
              </a:buClr>
            </a:pPr>
            <a:r>
              <a:rPr lang="de-DE" sz="1100" b="1" dirty="0">
                <a:solidFill>
                  <a:prstClr val="black"/>
                </a:solidFill>
              </a:rPr>
              <a:t>Anlagekonzept</a:t>
            </a:r>
            <a:endParaRPr lang="de-DE" sz="1200" b="1" dirty="0">
              <a:solidFill>
                <a:prstClr val="black"/>
              </a:solidFill>
            </a:endParaRPr>
          </a:p>
          <a:p>
            <a:pPr marL="172800" indent="-172800" fontAlgn="base">
              <a:lnSpc>
                <a:spcPct val="120000"/>
              </a:lnSpc>
              <a:buClr>
                <a:srgbClr val="C6562C"/>
              </a:buClr>
              <a:buFont typeface="Arial" pitchFamily="34" charset="0"/>
              <a:buChar char="•"/>
            </a:pPr>
            <a:r>
              <a:rPr lang="de-DE" sz="1000" dirty="0">
                <a:solidFill>
                  <a:prstClr val="black"/>
                </a:solidFill>
              </a:rPr>
              <a:t>Aktienfonds mit Fokus auf die Auswahl europäischer Small-Caps mit überzeugendem strukturellen Wachstum und nachhaltigen Erträgen</a:t>
            </a:r>
          </a:p>
          <a:p>
            <a:pPr marL="172800" indent="-172800" fontAlgn="base">
              <a:lnSpc>
                <a:spcPct val="120000"/>
              </a:lnSpc>
              <a:buClr>
                <a:srgbClr val="C6562C"/>
              </a:buClr>
              <a:buFont typeface="Arial" pitchFamily="34" charset="0"/>
              <a:buChar char="•"/>
            </a:pPr>
            <a:r>
              <a:rPr lang="de-DE" sz="1000" dirty="0">
                <a:solidFill>
                  <a:prstClr val="black"/>
                </a:solidFill>
              </a:rPr>
              <a:t>Disziplinierte </a:t>
            </a:r>
            <a:r>
              <a:rPr lang="de-DE" sz="1000" dirty="0" err="1">
                <a:solidFill>
                  <a:prstClr val="black"/>
                </a:solidFill>
              </a:rPr>
              <a:t>Bottom-up-Aktienauswahl</a:t>
            </a:r>
            <a:r>
              <a:rPr lang="de-DE" sz="1000" dirty="0">
                <a:solidFill>
                  <a:prstClr val="black"/>
                </a:solidFill>
              </a:rPr>
              <a:t> von attraktiven kleineren Unternehmen die in Europa ansässig sind, deren Geschäftstätigkeit aber in der Regel global ausgerichtet ist</a:t>
            </a:r>
          </a:p>
          <a:p>
            <a:pPr marL="172800" indent="-172800" fontAlgn="base">
              <a:lnSpc>
                <a:spcPct val="120000"/>
              </a:lnSpc>
              <a:buClr>
                <a:srgbClr val="C6562C"/>
              </a:buClr>
              <a:buFont typeface="Arial" pitchFamily="34" charset="0"/>
              <a:buChar char="•"/>
            </a:pPr>
            <a:r>
              <a:rPr lang="de-DE" sz="1000" dirty="0">
                <a:solidFill>
                  <a:prstClr val="black"/>
                </a:solidFill>
              </a:rPr>
              <a:t>Die entscheidenden Kriterien sind insbesondere Endmärkte mit strukturellem Wachstum, hohe Eintrittsbarrieren und exzellente Management Teams</a:t>
            </a:r>
          </a:p>
          <a:p>
            <a:pPr marL="172800" indent="-172800" fontAlgn="base">
              <a:lnSpc>
                <a:spcPct val="120000"/>
              </a:lnSpc>
              <a:buClr>
                <a:srgbClr val="C6562C"/>
              </a:buClr>
              <a:buFont typeface="Arial" pitchFamily="34" charset="0"/>
              <a:buChar char="•"/>
            </a:pPr>
            <a:r>
              <a:rPr lang="de-DE" sz="1000" dirty="0">
                <a:solidFill>
                  <a:prstClr val="black"/>
                </a:solidFill>
              </a:rPr>
              <a:t>Niedrige durchschnittliche Marktkapitalisierung</a:t>
            </a:r>
          </a:p>
        </p:txBody>
      </p:sp>
      <p:cxnSp>
        <p:nvCxnSpPr>
          <p:cNvPr id="32" name="Gerader Verbinder 14">
            <a:extLst>
              <a:ext uri="{FF2B5EF4-FFF2-40B4-BE49-F238E27FC236}">
                <a16:creationId xmlns:a16="http://schemas.microsoft.com/office/drawing/2014/main" id="{990B2E7A-12E2-49D7-B0BA-2CA6E517BC07}"/>
              </a:ext>
            </a:extLst>
          </p:cNvPr>
          <p:cNvCxnSpPr/>
          <p:nvPr/>
        </p:nvCxnSpPr>
        <p:spPr bwMode="gray">
          <a:xfrm>
            <a:off x="259528" y="1274618"/>
            <a:ext cx="50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 name="Gerader Verbinder 14">
            <a:extLst>
              <a:ext uri="{FF2B5EF4-FFF2-40B4-BE49-F238E27FC236}">
                <a16:creationId xmlns:a16="http://schemas.microsoft.com/office/drawing/2014/main" id="{990B2E7A-12E2-49D7-B0BA-2CA6E517BC07}"/>
              </a:ext>
            </a:extLst>
          </p:cNvPr>
          <p:cNvCxnSpPr/>
          <p:nvPr/>
        </p:nvCxnSpPr>
        <p:spPr bwMode="gray">
          <a:xfrm>
            <a:off x="4716016" y="1276251"/>
            <a:ext cx="50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4" name="Gerader Verbinder 14">
            <a:extLst>
              <a:ext uri="{FF2B5EF4-FFF2-40B4-BE49-F238E27FC236}">
                <a16:creationId xmlns:a16="http://schemas.microsoft.com/office/drawing/2014/main" id="{990B2E7A-12E2-49D7-B0BA-2CA6E517BC07}"/>
              </a:ext>
            </a:extLst>
          </p:cNvPr>
          <p:cNvCxnSpPr/>
          <p:nvPr/>
        </p:nvCxnSpPr>
        <p:spPr bwMode="gray">
          <a:xfrm>
            <a:off x="4716463" y="3966958"/>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Gerader Verbinder 14">
            <a:extLst>
              <a:ext uri="{FF2B5EF4-FFF2-40B4-BE49-F238E27FC236}">
                <a16:creationId xmlns:a16="http://schemas.microsoft.com/office/drawing/2014/main" id="{990B2E7A-12E2-49D7-B0BA-2CA6E517BC07}"/>
              </a:ext>
            </a:extLst>
          </p:cNvPr>
          <p:cNvCxnSpPr/>
          <p:nvPr/>
        </p:nvCxnSpPr>
        <p:spPr bwMode="gray">
          <a:xfrm>
            <a:off x="4716635" y="3906522"/>
            <a:ext cx="504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Gerader Verbinder 14">
            <a:extLst>
              <a:ext uri="{FF2B5EF4-FFF2-40B4-BE49-F238E27FC236}">
                <a16:creationId xmlns:a16="http://schemas.microsoft.com/office/drawing/2014/main" id="{990B2E7A-12E2-49D7-B0BA-2CA6E517BC07}"/>
              </a:ext>
            </a:extLst>
          </p:cNvPr>
          <p:cNvCxnSpPr/>
          <p:nvPr/>
        </p:nvCxnSpPr>
        <p:spPr bwMode="gray">
          <a:xfrm>
            <a:off x="253176" y="3967080"/>
            <a:ext cx="50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1" name="Inhaltsplatzhalter 7"/>
          <p:cNvSpPr txBox="1">
            <a:spLocks/>
          </p:cNvSpPr>
          <p:nvPr/>
        </p:nvSpPr>
        <p:spPr bwMode="gray">
          <a:xfrm>
            <a:off x="4715277" y="1272818"/>
            <a:ext cx="4321219" cy="363731"/>
          </a:xfrm>
          <a:prstGeom prst="rect">
            <a:avLst/>
          </a:prstGeom>
          <a:no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fontAlgn="base">
              <a:buClr>
                <a:srgbClr val="C6562C"/>
              </a:buClr>
            </a:pPr>
            <a:r>
              <a:rPr lang="de-DE" sz="1100" b="1" dirty="0">
                <a:solidFill>
                  <a:prstClr val="black"/>
                </a:solidFill>
              </a:rPr>
              <a:t>Charakteristika</a:t>
            </a:r>
            <a:endParaRPr lang="de-DE" sz="1200" b="1" dirty="0">
              <a:solidFill>
                <a:prstClr val="black"/>
              </a:solidFill>
            </a:endParaRPr>
          </a:p>
        </p:txBody>
      </p:sp>
      <p:graphicFrame>
        <p:nvGraphicFramePr>
          <p:cNvPr id="2" name="Tabelle 1"/>
          <p:cNvGraphicFramePr>
            <a:graphicFrameLocks noGrp="1"/>
          </p:cNvGraphicFramePr>
          <p:nvPr/>
        </p:nvGraphicFramePr>
        <p:xfrm>
          <a:off x="4725164" y="1572530"/>
          <a:ext cx="4170862" cy="2276640"/>
        </p:xfrm>
        <a:graphic>
          <a:graphicData uri="http://schemas.openxmlformats.org/drawingml/2006/table">
            <a:tbl>
              <a:tblPr firstRow="1" bandRow="1">
                <a:tableStyleId>{5C22544A-7EE6-4342-B048-85BDC9FD1C3A}</a:tableStyleId>
              </a:tblPr>
              <a:tblGrid>
                <a:gridCol w="298260">
                  <a:extLst>
                    <a:ext uri="{9D8B030D-6E8A-4147-A177-3AD203B41FA5}">
                      <a16:colId xmlns:a16="http://schemas.microsoft.com/office/drawing/2014/main" val="20000"/>
                    </a:ext>
                  </a:extLst>
                </a:gridCol>
                <a:gridCol w="1708816">
                  <a:extLst>
                    <a:ext uri="{9D8B030D-6E8A-4147-A177-3AD203B41FA5}">
                      <a16:colId xmlns:a16="http://schemas.microsoft.com/office/drawing/2014/main" val="20001"/>
                    </a:ext>
                  </a:extLst>
                </a:gridCol>
                <a:gridCol w="62428">
                  <a:extLst>
                    <a:ext uri="{9D8B030D-6E8A-4147-A177-3AD203B41FA5}">
                      <a16:colId xmlns:a16="http://schemas.microsoft.com/office/drawing/2014/main" val="20002"/>
                    </a:ext>
                  </a:extLst>
                </a:gridCol>
                <a:gridCol w="2101358">
                  <a:extLst>
                    <a:ext uri="{9D8B030D-6E8A-4147-A177-3AD203B41FA5}">
                      <a16:colId xmlns:a16="http://schemas.microsoft.com/office/drawing/2014/main" val="20003"/>
                    </a:ext>
                  </a:extLst>
                </a:gridCol>
              </a:tblGrid>
              <a:tr h="432000">
                <a:tc>
                  <a:txBody>
                    <a:bodyPr/>
                    <a:lstStyle/>
                    <a:p>
                      <a:pPr algn="l"/>
                      <a:endParaRPr lang="de-DE" b="1" dirty="0"/>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de-DE" sz="1000" b="1" i="0" u="none" strike="noStrike" kern="1200" cap="none" spc="0" normalizeH="0" baseline="0" noProof="0" dirty="0">
                          <a:ln>
                            <a:noFill/>
                          </a:ln>
                          <a:solidFill>
                            <a:prstClr val="black"/>
                          </a:solidFill>
                          <a:effectLst/>
                          <a:uLnTx/>
                          <a:uFillTx/>
                          <a:latin typeface="+mn-lt"/>
                          <a:ea typeface="+mn-ea"/>
                          <a:cs typeface="+mn-cs"/>
                        </a:rPr>
                        <a:t>Anlageuniversum</a:t>
                      </a:r>
                      <a:endParaRPr lang="de-DE" b="1" dirty="0"/>
                    </a:p>
                  </a:txBody>
                  <a:tcPr anchor="ctr">
                    <a:lnL w="12700" cmpd="sng">
                      <a:noFill/>
                    </a:lnL>
                    <a:lnR w="12700" cmpd="sng">
                      <a:noFill/>
                    </a:lnR>
                    <a:lnT w="12700" cmpd="sng">
                      <a:noFill/>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marL="0" marR="0"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Europäische Small Caps</a:t>
                      </a:r>
                      <a:endParaRPr lang="de-DE" dirty="0"/>
                    </a:p>
                  </a:txBody>
                  <a:tcPr anchor="ctr">
                    <a:lnL w="12700" cmpd="sng">
                      <a:noFill/>
                    </a:lnL>
                    <a:lnR w="12700" cmpd="sng">
                      <a:noFill/>
                    </a:lnR>
                    <a:lnT w="12700" cmpd="sng">
                      <a:noFill/>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pPr algn="l"/>
                      <a:endParaRPr lang="de-DE"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de-DE" sz="1000" b="1" i="0" u="none" strike="noStrike" kern="1200" cap="none" spc="0" normalizeH="0" baseline="0" noProof="0" dirty="0">
                          <a:ln>
                            <a:noFill/>
                          </a:ln>
                          <a:solidFill>
                            <a:prstClr val="black"/>
                          </a:solidFill>
                          <a:effectLst/>
                          <a:uLnTx/>
                          <a:uFillTx/>
                          <a:latin typeface="+mn-lt"/>
                          <a:ea typeface="+mn-ea"/>
                          <a:cs typeface="+mn-cs"/>
                        </a:rPr>
                        <a:t>Fokus</a:t>
                      </a:r>
                      <a:endParaRPr lang="de-DE" b="1" dirty="0"/>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endParaRPr kumimoji="0" lang="de-DE" sz="1000" b="0" i="0" u="none" strike="noStrike" kern="1200" cap="none" spc="0" normalizeH="0" baseline="0" noProof="0" dirty="0">
                        <a:ln>
                          <a:noFill/>
                        </a:ln>
                        <a:solidFill>
                          <a:sysClr val="windowText" lastClr="000000"/>
                        </a:solidFill>
                        <a:effectLst/>
                        <a:uLnTx/>
                        <a:uFillTx/>
                        <a:latin typeface="+mn-lt"/>
                        <a:ea typeface="+mn-ea"/>
                        <a:cs typeface="+mn-cs"/>
                      </a:endParaRP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 80 Aktien | Benchmark-unabhängig | „Quality-Growth“</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pPr algn="l"/>
                      <a:endParaRPr lang="de-DE"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000" b="1" dirty="0"/>
                        <a:t>Benchmark</a:t>
                      </a:r>
                      <a:endParaRPr lang="de-DE" b="1" dirty="0"/>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000" dirty="0"/>
                        <a:t>MSCI Europe Small Cap</a:t>
                      </a:r>
                      <a:endParaRPr lang="de-DE" dirty="0"/>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a:txBody>
                    <a:bodyPr/>
                    <a:lstStyle/>
                    <a:p>
                      <a:pPr algn="l"/>
                      <a:endParaRPr lang="de-DE" sz="1000"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000" b="1" dirty="0"/>
                        <a:t>Haltedauer</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endParaRPr kumimoji="0" lang="de-DE" sz="1000" b="0" i="0" u="none" strike="noStrike" kern="1200" cap="none" spc="0" normalizeH="0" baseline="0" noProof="0" dirty="0">
                        <a:ln>
                          <a:noFill/>
                        </a:ln>
                        <a:solidFill>
                          <a:sysClr val="windowText" lastClr="000000"/>
                        </a:solidFill>
                        <a:effectLst/>
                        <a:uLnTx/>
                        <a:uFillTx/>
                        <a:latin typeface="+mn-lt"/>
                        <a:ea typeface="+mn-ea"/>
                        <a:cs typeface="+mn-cs"/>
                      </a:endParaRP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Durchschnittlich 2-5 Jahre </a:t>
                      </a:r>
                      <a:r>
                        <a:rPr kumimoji="0" lang="de-DE" sz="1000" b="0" i="0" u="none" strike="noStrike" kern="1200" cap="none" spc="0" normalizeH="0" baseline="0" noProof="0" dirty="0" err="1">
                          <a:ln>
                            <a:noFill/>
                          </a:ln>
                          <a:solidFill>
                            <a:sysClr val="windowText" lastClr="000000"/>
                          </a:solidFill>
                          <a:effectLst/>
                          <a:uLnTx/>
                          <a:uFillTx/>
                          <a:latin typeface="+mn-lt"/>
                          <a:ea typeface="+mn-ea"/>
                          <a:cs typeface="+mn-cs"/>
                        </a:rPr>
                        <a:t>Turnover</a:t>
                      </a:r>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 &lt; 40% p.a.</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a:txBody>
                    <a:bodyPr/>
                    <a:lstStyle/>
                    <a:p>
                      <a:pPr algn="l"/>
                      <a:endParaRPr lang="de-DE" sz="1000"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000" b="1" dirty="0"/>
                        <a:t>Marktkapitalisierung</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Fokus auf Aktien 1 – 4 Mrd. EUR</a:t>
                      </a:r>
                    </a:p>
                    <a:p>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Spielraum zwischen 500 Mio. und 5 Mrd. EUR</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43" name="Titel 1"/>
          <p:cNvSpPr>
            <a:spLocks noGrp="1"/>
          </p:cNvSpPr>
          <p:nvPr>
            <p:ph type="title"/>
          </p:nvPr>
        </p:nvSpPr>
        <p:spPr>
          <a:xfrm>
            <a:off x="250825" y="381360"/>
            <a:ext cx="6480000" cy="611273"/>
          </a:xfrm>
        </p:spPr>
        <p:txBody>
          <a:bodyPr/>
          <a:lstStyle/>
          <a:p>
            <a:r>
              <a:rPr lang="de-DE" b="1" dirty="0"/>
              <a:t>Berenberg European Small Cap</a:t>
            </a:r>
            <a:endParaRPr lang="de-DE" b="0" dirty="0">
              <a:latin typeface="Arial" charset="0"/>
            </a:endParaRPr>
          </a:p>
        </p:txBody>
      </p:sp>
      <p:sp>
        <p:nvSpPr>
          <p:cNvPr id="46" name="Inhaltsplatzhalter 7"/>
          <p:cNvSpPr txBox="1">
            <a:spLocks/>
          </p:cNvSpPr>
          <p:nvPr/>
        </p:nvSpPr>
        <p:spPr bwMode="gray">
          <a:xfrm>
            <a:off x="251926" y="3975747"/>
            <a:ext cx="2971378" cy="348099"/>
          </a:xfrm>
          <a:prstGeom prst="rect">
            <a:avLst/>
          </a:prstGeom>
          <a:noFill/>
          <a:ln w="6350">
            <a:noFill/>
          </a:ln>
        </p:spPr>
        <p:txBody>
          <a:bodyPr vert="horz" wrap="square" lIns="0" tIns="108000" rIns="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fontAlgn="base">
              <a:spcAft>
                <a:spcPts val="100"/>
              </a:spcAft>
              <a:buClr>
                <a:srgbClr val="C6562C"/>
              </a:buClr>
            </a:pPr>
            <a:r>
              <a:rPr lang="de-DE" sz="1100" b="1" dirty="0">
                <a:solidFill>
                  <a:prstClr val="black"/>
                </a:solidFill>
              </a:rPr>
              <a:t>Investmentprozess</a:t>
            </a:r>
          </a:p>
        </p:txBody>
      </p:sp>
      <p:sp>
        <p:nvSpPr>
          <p:cNvPr id="22" name="Freeform 8">
            <a:extLst>
              <a:ext uri="{FF2B5EF4-FFF2-40B4-BE49-F238E27FC236}">
                <a16:creationId xmlns:a16="http://schemas.microsoft.com/office/drawing/2014/main" id="{35B2DBFF-594B-4353-9611-66269E5C08C7}"/>
              </a:ext>
            </a:extLst>
          </p:cNvPr>
          <p:cNvSpPr>
            <a:spLocks noEditPoints="1"/>
          </p:cNvSpPr>
          <p:nvPr/>
        </p:nvSpPr>
        <p:spPr bwMode="auto">
          <a:xfrm>
            <a:off x="4706470" y="1672908"/>
            <a:ext cx="246062" cy="277812"/>
          </a:xfrm>
          <a:custGeom>
            <a:avLst/>
            <a:gdLst>
              <a:gd name="T0" fmla="*/ 7826 w 23448"/>
              <a:gd name="T1" fmla="*/ 22824 h 26520"/>
              <a:gd name="T2" fmla="*/ 8908 w 23448"/>
              <a:gd name="T3" fmla="*/ 21597 h 26520"/>
              <a:gd name="T4" fmla="*/ 6994 w 23448"/>
              <a:gd name="T5" fmla="*/ 19638 h 26520"/>
              <a:gd name="T6" fmla="*/ 6 w 23448"/>
              <a:gd name="T7" fmla="*/ 10206 h 26520"/>
              <a:gd name="T8" fmla="*/ 6216 w 23448"/>
              <a:gd name="T9" fmla="*/ 2991 h 26520"/>
              <a:gd name="T10" fmla="*/ 8429 w 23448"/>
              <a:gd name="T11" fmla="*/ 1912 h 26520"/>
              <a:gd name="T12" fmla="*/ 7669 w 23448"/>
              <a:gd name="T13" fmla="*/ 1657 h 26520"/>
              <a:gd name="T14" fmla="*/ 9019 w 23448"/>
              <a:gd name="T15" fmla="*/ 104 h 26520"/>
              <a:gd name="T16" fmla="*/ 17953 w 23448"/>
              <a:gd name="T17" fmla="*/ 2017 h 26520"/>
              <a:gd name="T18" fmla="*/ 23268 w 23448"/>
              <a:gd name="T19" fmla="*/ 9992 h 26520"/>
              <a:gd name="T20" fmla="*/ 14661 w 23448"/>
              <a:gd name="T21" fmla="*/ 20586 h 26520"/>
              <a:gd name="T22" fmla="*/ 11343 w 23448"/>
              <a:gd name="T23" fmla="*/ 20857 h 26520"/>
              <a:gd name="T24" fmla="*/ 11630 w 23448"/>
              <a:gd name="T25" fmla="*/ 22333 h 26520"/>
              <a:gd name="T26" fmla="*/ 14839 w 23448"/>
              <a:gd name="T27" fmla="*/ 24825 h 26520"/>
              <a:gd name="T28" fmla="*/ 8606 w 23448"/>
              <a:gd name="T29" fmla="*/ 26408 h 26520"/>
              <a:gd name="T30" fmla="*/ 12962 w 23448"/>
              <a:gd name="T31" fmla="*/ 19647 h 26520"/>
              <a:gd name="T32" fmla="*/ 18626 w 23448"/>
              <a:gd name="T33" fmla="*/ 16544 h 26520"/>
              <a:gd name="T34" fmla="*/ 10524 w 23448"/>
              <a:gd name="T35" fmla="*/ 1740 h 26520"/>
              <a:gd name="T36" fmla="*/ 10535 w 23448"/>
              <a:gd name="T37" fmla="*/ 2592 h 26520"/>
              <a:gd name="T38" fmla="*/ 15714 w 23448"/>
              <a:gd name="T39" fmla="*/ 17470 h 26520"/>
              <a:gd name="T40" fmla="*/ 12962 w 23448"/>
              <a:gd name="T41" fmla="*/ 19647 h 26520"/>
              <a:gd name="T42" fmla="*/ 8161 w 23448"/>
              <a:gd name="T43" fmla="*/ 3862 h 26520"/>
              <a:gd name="T44" fmla="*/ 1478 w 23448"/>
              <a:gd name="T45" fmla="*/ 11036 h 26520"/>
              <a:gd name="T46" fmla="*/ 4766 w 23448"/>
              <a:gd name="T47" fmla="*/ 11536 h 26520"/>
              <a:gd name="T48" fmla="*/ 5583 w 23448"/>
              <a:gd name="T49" fmla="*/ 8176 h 26520"/>
              <a:gd name="T50" fmla="*/ 8552 w 23448"/>
              <a:gd name="T51" fmla="*/ 3876 h 26520"/>
              <a:gd name="T52" fmla="*/ 8704 w 23448"/>
              <a:gd name="T53" fmla="*/ 4978 h 26520"/>
              <a:gd name="T54" fmla="*/ 6075 w 23448"/>
              <a:gd name="T55" fmla="*/ 11017 h 26520"/>
              <a:gd name="T56" fmla="*/ 9095 w 23448"/>
              <a:gd name="T57" fmla="*/ 11250 h 26520"/>
              <a:gd name="T58" fmla="*/ 2101 w 23448"/>
              <a:gd name="T59" fmla="*/ 12360 h 26520"/>
              <a:gd name="T60" fmla="*/ 4679 w 23448"/>
              <a:gd name="T61" fmla="*/ 17192 h 26520"/>
              <a:gd name="T62" fmla="*/ 7433 w 23448"/>
              <a:gd name="T63" fmla="*/ 18780 h 26520"/>
              <a:gd name="T64" fmla="*/ 6070 w 23448"/>
              <a:gd name="T65" fmla="*/ 16415 h 26520"/>
              <a:gd name="T66" fmla="*/ 3099 w 23448"/>
              <a:gd name="T67" fmla="*/ 12434 h 26520"/>
              <a:gd name="T68" fmla="*/ 10561 w 23448"/>
              <a:gd name="T69" fmla="*/ 4789 h 26520"/>
              <a:gd name="T70" fmla="*/ 10496 w 23448"/>
              <a:gd name="T71" fmla="*/ 7562 h 26520"/>
              <a:gd name="T72" fmla="*/ 12741 w 23448"/>
              <a:gd name="T73" fmla="*/ 11198 h 26520"/>
              <a:gd name="T74" fmla="*/ 11675 w 23448"/>
              <a:gd name="T75" fmla="*/ 6476 h 26520"/>
              <a:gd name="T76" fmla="*/ 9034 w 23448"/>
              <a:gd name="T77" fmla="*/ 18734 h 26520"/>
              <a:gd name="T78" fmla="*/ 9096 w 23448"/>
              <a:gd name="T79" fmla="*/ 14742 h 26520"/>
              <a:gd name="T80" fmla="*/ 6419 w 23448"/>
              <a:gd name="T81" fmla="*/ 12914 h 26520"/>
              <a:gd name="T82" fmla="*/ 8739 w 23448"/>
              <a:gd name="T83" fmla="*/ 18450 h 26520"/>
              <a:gd name="T84" fmla="*/ 11933 w 23448"/>
              <a:gd name="T85" fmla="*/ 4417 h 26520"/>
              <a:gd name="T86" fmla="*/ 13928 w 23448"/>
              <a:gd name="T87" fmla="*/ 7446 h 26520"/>
              <a:gd name="T88" fmla="*/ 14734 w 23448"/>
              <a:gd name="T89" fmla="*/ 11078 h 26520"/>
              <a:gd name="T90" fmla="*/ 16451 w 23448"/>
              <a:gd name="T91" fmla="*/ 10667 h 26520"/>
              <a:gd name="T92" fmla="*/ 12599 w 23448"/>
              <a:gd name="T93" fmla="*/ 4677 h 26520"/>
              <a:gd name="T94" fmla="*/ 15948 w 23448"/>
              <a:gd name="T95" fmla="*/ 14294 h 26520"/>
              <a:gd name="T96" fmla="*/ 14602 w 23448"/>
              <a:gd name="T97" fmla="*/ 12615 h 26520"/>
              <a:gd name="T98" fmla="*/ 13084 w 23448"/>
              <a:gd name="T99" fmla="*/ 16433 h 26520"/>
              <a:gd name="T100" fmla="*/ 10465 w 23448"/>
              <a:gd name="T101" fmla="*/ 18811 h 26520"/>
              <a:gd name="T102" fmla="*/ 12014 w 23448"/>
              <a:gd name="T103" fmla="*/ 16194 h 26520"/>
              <a:gd name="T104" fmla="*/ 12849 w 23448"/>
              <a:gd name="T105" fmla="*/ 12849 h 26520"/>
              <a:gd name="T106" fmla="*/ 10454 w 23448"/>
              <a:gd name="T107" fmla="*/ 18607 h 26520"/>
              <a:gd name="T108" fmla="*/ 11649 w 23448"/>
              <a:gd name="T109" fmla="*/ 25082 h 26520"/>
              <a:gd name="T110" fmla="*/ 10321 w 23448"/>
              <a:gd name="T111" fmla="*/ 22658 h 26520"/>
              <a:gd name="T112" fmla="*/ 9817 w 23448"/>
              <a:gd name="T113" fmla="*/ 22331 h 26520"/>
              <a:gd name="T114" fmla="*/ 10007 w 23448"/>
              <a:gd name="T115" fmla="*/ 25511 h 26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448" h="26520">
                <a:moveTo>
                  <a:pt x="5092" y="24899"/>
                </a:moveTo>
                <a:cubicBezTo>
                  <a:pt x="5393" y="24681"/>
                  <a:pt x="5648" y="24482"/>
                  <a:pt x="5917" y="24303"/>
                </a:cubicBezTo>
                <a:cubicBezTo>
                  <a:pt x="6588" y="23855"/>
                  <a:pt x="7243" y="23384"/>
                  <a:pt x="7826" y="22824"/>
                </a:cubicBezTo>
                <a:cubicBezTo>
                  <a:pt x="7916" y="22737"/>
                  <a:pt x="8021" y="22669"/>
                  <a:pt x="8108" y="22582"/>
                </a:cubicBezTo>
                <a:cubicBezTo>
                  <a:pt x="8355" y="22331"/>
                  <a:pt x="8598" y="22080"/>
                  <a:pt x="8833" y="21820"/>
                </a:cubicBezTo>
                <a:cubicBezTo>
                  <a:pt x="8882" y="21767"/>
                  <a:pt x="8908" y="21672"/>
                  <a:pt x="8908" y="21597"/>
                </a:cubicBezTo>
                <a:cubicBezTo>
                  <a:pt x="8916" y="21110"/>
                  <a:pt x="8908" y="20623"/>
                  <a:pt x="8916" y="20136"/>
                </a:cubicBezTo>
                <a:cubicBezTo>
                  <a:pt x="8916" y="19990"/>
                  <a:pt x="8840" y="19953"/>
                  <a:pt x="8718" y="19935"/>
                </a:cubicBezTo>
                <a:cubicBezTo>
                  <a:pt x="8143" y="19841"/>
                  <a:pt x="7558" y="19780"/>
                  <a:pt x="6994" y="19638"/>
                </a:cubicBezTo>
                <a:cubicBezTo>
                  <a:pt x="4014" y="18883"/>
                  <a:pt x="1848" y="17144"/>
                  <a:pt x="639" y="14284"/>
                </a:cubicBezTo>
                <a:cubicBezTo>
                  <a:pt x="264" y="13403"/>
                  <a:pt x="95" y="12471"/>
                  <a:pt x="41" y="11519"/>
                </a:cubicBezTo>
                <a:cubicBezTo>
                  <a:pt x="17" y="11082"/>
                  <a:pt x="0" y="10645"/>
                  <a:pt x="6" y="10206"/>
                </a:cubicBezTo>
                <a:cubicBezTo>
                  <a:pt x="8" y="10010"/>
                  <a:pt x="56" y="9809"/>
                  <a:pt x="113" y="9621"/>
                </a:cubicBezTo>
                <a:cubicBezTo>
                  <a:pt x="438" y="8562"/>
                  <a:pt x="810" y="7523"/>
                  <a:pt x="1433" y="6595"/>
                </a:cubicBezTo>
                <a:cubicBezTo>
                  <a:pt x="2608" y="4837"/>
                  <a:pt x="4209" y="3635"/>
                  <a:pt x="6216" y="2991"/>
                </a:cubicBezTo>
                <a:cubicBezTo>
                  <a:pt x="6867" y="2782"/>
                  <a:pt x="7551" y="2677"/>
                  <a:pt x="8222" y="2535"/>
                </a:cubicBezTo>
                <a:cubicBezTo>
                  <a:pt x="8342" y="2509"/>
                  <a:pt x="8390" y="2465"/>
                  <a:pt x="8396" y="2349"/>
                </a:cubicBezTo>
                <a:cubicBezTo>
                  <a:pt x="8401" y="2203"/>
                  <a:pt x="8412" y="2057"/>
                  <a:pt x="8429" y="1912"/>
                </a:cubicBezTo>
                <a:cubicBezTo>
                  <a:pt x="8444" y="1775"/>
                  <a:pt x="8385" y="1727"/>
                  <a:pt x="8252" y="1735"/>
                </a:cubicBezTo>
                <a:cubicBezTo>
                  <a:pt x="8100" y="1740"/>
                  <a:pt x="7949" y="1740"/>
                  <a:pt x="7798" y="1731"/>
                </a:cubicBezTo>
                <a:cubicBezTo>
                  <a:pt x="7752" y="1729"/>
                  <a:pt x="7697" y="1694"/>
                  <a:pt x="7669" y="1657"/>
                </a:cubicBezTo>
                <a:cubicBezTo>
                  <a:pt x="7652" y="1637"/>
                  <a:pt x="7667" y="1570"/>
                  <a:pt x="7691" y="1543"/>
                </a:cubicBezTo>
                <a:cubicBezTo>
                  <a:pt x="7988" y="1190"/>
                  <a:pt x="8285" y="838"/>
                  <a:pt x="8591" y="495"/>
                </a:cubicBezTo>
                <a:cubicBezTo>
                  <a:pt x="8720" y="351"/>
                  <a:pt x="8858" y="205"/>
                  <a:pt x="9019" y="104"/>
                </a:cubicBezTo>
                <a:cubicBezTo>
                  <a:pt x="9122" y="37"/>
                  <a:pt x="9273" y="32"/>
                  <a:pt x="9404" y="24"/>
                </a:cubicBezTo>
                <a:cubicBezTo>
                  <a:pt x="9604" y="15"/>
                  <a:pt x="9803" y="34"/>
                  <a:pt x="10002" y="32"/>
                </a:cubicBezTo>
                <a:cubicBezTo>
                  <a:pt x="12825" y="0"/>
                  <a:pt x="15498" y="578"/>
                  <a:pt x="17953" y="2017"/>
                </a:cubicBezTo>
                <a:cubicBezTo>
                  <a:pt x="19059" y="2666"/>
                  <a:pt x="20013" y="3498"/>
                  <a:pt x="20830" y="4494"/>
                </a:cubicBezTo>
                <a:cubicBezTo>
                  <a:pt x="21359" y="5142"/>
                  <a:pt x="21868" y="5798"/>
                  <a:pt x="22257" y="6542"/>
                </a:cubicBezTo>
                <a:cubicBezTo>
                  <a:pt x="22825" y="7623"/>
                  <a:pt x="23179" y="8769"/>
                  <a:pt x="23268" y="9992"/>
                </a:cubicBezTo>
                <a:cubicBezTo>
                  <a:pt x="23448" y="12486"/>
                  <a:pt x="22635" y="14646"/>
                  <a:pt x="21056" y="16542"/>
                </a:cubicBezTo>
                <a:cubicBezTo>
                  <a:pt x="20097" y="17693"/>
                  <a:pt x="18926" y="18581"/>
                  <a:pt x="17619" y="19304"/>
                </a:cubicBezTo>
                <a:cubicBezTo>
                  <a:pt x="16674" y="19826"/>
                  <a:pt x="15697" y="20274"/>
                  <a:pt x="14661" y="20586"/>
                </a:cubicBezTo>
                <a:cubicBezTo>
                  <a:pt x="14448" y="20649"/>
                  <a:pt x="14242" y="20735"/>
                  <a:pt x="14030" y="20798"/>
                </a:cubicBezTo>
                <a:cubicBezTo>
                  <a:pt x="13923" y="20831"/>
                  <a:pt x="13808" y="20853"/>
                  <a:pt x="13698" y="20853"/>
                </a:cubicBezTo>
                <a:cubicBezTo>
                  <a:pt x="12912" y="20859"/>
                  <a:pt x="12128" y="20855"/>
                  <a:pt x="11343" y="20857"/>
                </a:cubicBezTo>
                <a:cubicBezTo>
                  <a:pt x="11114" y="20857"/>
                  <a:pt x="11108" y="20864"/>
                  <a:pt x="11108" y="21095"/>
                </a:cubicBezTo>
                <a:cubicBezTo>
                  <a:pt x="11107" y="21117"/>
                  <a:pt x="11110" y="21139"/>
                  <a:pt x="11107" y="21160"/>
                </a:cubicBezTo>
                <a:cubicBezTo>
                  <a:pt x="11007" y="21674"/>
                  <a:pt x="11265" y="22030"/>
                  <a:pt x="11630" y="22333"/>
                </a:cubicBezTo>
                <a:cubicBezTo>
                  <a:pt x="12359" y="22938"/>
                  <a:pt x="13047" y="23591"/>
                  <a:pt x="13847" y="24108"/>
                </a:cubicBezTo>
                <a:cubicBezTo>
                  <a:pt x="14142" y="24298"/>
                  <a:pt x="14423" y="24510"/>
                  <a:pt x="14708" y="24714"/>
                </a:cubicBezTo>
                <a:cubicBezTo>
                  <a:pt x="14751" y="24744"/>
                  <a:pt x="14790" y="24781"/>
                  <a:pt x="14839" y="24825"/>
                </a:cubicBezTo>
                <a:cubicBezTo>
                  <a:pt x="14581" y="25109"/>
                  <a:pt x="14295" y="25332"/>
                  <a:pt x="13973" y="25513"/>
                </a:cubicBezTo>
                <a:cubicBezTo>
                  <a:pt x="13178" y="25958"/>
                  <a:pt x="12322" y="26223"/>
                  <a:pt x="11422" y="26330"/>
                </a:cubicBezTo>
                <a:cubicBezTo>
                  <a:pt x="10487" y="26441"/>
                  <a:pt x="9550" y="26520"/>
                  <a:pt x="8606" y="26408"/>
                </a:cubicBezTo>
                <a:cubicBezTo>
                  <a:pt x="7571" y="26284"/>
                  <a:pt x="6597" y="25978"/>
                  <a:pt x="5716" y="25412"/>
                </a:cubicBezTo>
                <a:cubicBezTo>
                  <a:pt x="5502" y="25273"/>
                  <a:pt x="5317" y="25085"/>
                  <a:pt x="5092" y="24899"/>
                </a:cubicBezTo>
                <a:close/>
                <a:moveTo>
                  <a:pt x="12962" y="19647"/>
                </a:moveTo>
                <a:cubicBezTo>
                  <a:pt x="13036" y="19629"/>
                  <a:pt x="13110" y="19617"/>
                  <a:pt x="13180" y="19595"/>
                </a:cubicBezTo>
                <a:cubicBezTo>
                  <a:pt x="13619" y="19448"/>
                  <a:pt x="14056" y="19291"/>
                  <a:pt x="14498" y="19149"/>
                </a:cubicBezTo>
                <a:cubicBezTo>
                  <a:pt x="16095" y="18631"/>
                  <a:pt x="17491" y="17789"/>
                  <a:pt x="18626" y="16544"/>
                </a:cubicBezTo>
                <a:cubicBezTo>
                  <a:pt x="20304" y="14699"/>
                  <a:pt x="21115" y="12532"/>
                  <a:pt x="20931" y="10030"/>
                </a:cubicBezTo>
                <a:cubicBezTo>
                  <a:pt x="20784" y="8047"/>
                  <a:pt x="20005" y="6321"/>
                  <a:pt x="18663" y="4863"/>
                </a:cubicBezTo>
                <a:cubicBezTo>
                  <a:pt x="16470" y="2482"/>
                  <a:pt x="13670" y="1650"/>
                  <a:pt x="10524" y="1740"/>
                </a:cubicBezTo>
                <a:cubicBezTo>
                  <a:pt x="10478" y="1742"/>
                  <a:pt x="10402" y="1810"/>
                  <a:pt x="10393" y="1858"/>
                </a:cubicBezTo>
                <a:cubicBezTo>
                  <a:pt x="10360" y="2026"/>
                  <a:pt x="10352" y="2199"/>
                  <a:pt x="10332" y="2369"/>
                </a:cubicBezTo>
                <a:cubicBezTo>
                  <a:pt x="10315" y="2524"/>
                  <a:pt x="10391" y="2572"/>
                  <a:pt x="10535" y="2592"/>
                </a:cubicBezTo>
                <a:cubicBezTo>
                  <a:pt x="13169" y="2983"/>
                  <a:pt x="15319" y="4201"/>
                  <a:pt x="16870" y="6387"/>
                </a:cubicBezTo>
                <a:cubicBezTo>
                  <a:pt x="18058" y="8062"/>
                  <a:pt x="18589" y="9947"/>
                  <a:pt x="18366" y="11991"/>
                </a:cubicBezTo>
                <a:cubicBezTo>
                  <a:pt x="18131" y="14116"/>
                  <a:pt x="17292" y="15980"/>
                  <a:pt x="15714" y="17470"/>
                </a:cubicBezTo>
                <a:cubicBezTo>
                  <a:pt x="15116" y="18037"/>
                  <a:pt x="14506" y="18586"/>
                  <a:pt x="13781" y="18992"/>
                </a:cubicBezTo>
                <a:cubicBezTo>
                  <a:pt x="13536" y="19129"/>
                  <a:pt x="13292" y="19272"/>
                  <a:pt x="13045" y="19405"/>
                </a:cubicBezTo>
                <a:cubicBezTo>
                  <a:pt x="12942" y="19461"/>
                  <a:pt x="12925" y="19529"/>
                  <a:pt x="12962" y="19647"/>
                </a:cubicBezTo>
                <a:close/>
                <a:moveTo>
                  <a:pt x="8552" y="3876"/>
                </a:moveTo>
                <a:cubicBezTo>
                  <a:pt x="8543" y="3862"/>
                  <a:pt x="8534" y="3845"/>
                  <a:pt x="8525" y="3830"/>
                </a:cubicBezTo>
                <a:cubicBezTo>
                  <a:pt x="8405" y="3839"/>
                  <a:pt x="8281" y="3841"/>
                  <a:pt x="8161" y="3862"/>
                </a:cubicBezTo>
                <a:cubicBezTo>
                  <a:pt x="5585" y="4282"/>
                  <a:pt x="3709" y="5673"/>
                  <a:pt x="2514" y="7983"/>
                </a:cubicBezTo>
                <a:cubicBezTo>
                  <a:pt x="2311" y="8376"/>
                  <a:pt x="2160" y="8796"/>
                  <a:pt x="2020" y="9217"/>
                </a:cubicBezTo>
                <a:cubicBezTo>
                  <a:pt x="1823" y="9818"/>
                  <a:pt x="1658" y="10429"/>
                  <a:pt x="1478" y="11036"/>
                </a:cubicBezTo>
                <a:cubicBezTo>
                  <a:pt x="1448" y="11137"/>
                  <a:pt x="1492" y="11191"/>
                  <a:pt x="1581" y="11220"/>
                </a:cubicBezTo>
                <a:cubicBezTo>
                  <a:pt x="1631" y="11239"/>
                  <a:pt x="1682" y="11257"/>
                  <a:pt x="1736" y="11270"/>
                </a:cubicBezTo>
                <a:cubicBezTo>
                  <a:pt x="2732" y="11504"/>
                  <a:pt x="3746" y="11558"/>
                  <a:pt x="4766" y="11536"/>
                </a:cubicBezTo>
                <a:cubicBezTo>
                  <a:pt x="4869" y="11532"/>
                  <a:pt x="4914" y="11491"/>
                  <a:pt x="4912" y="11388"/>
                </a:cubicBezTo>
                <a:cubicBezTo>
                  <a:pt x="4908" y="11270"/>
                  <a:pt x="4906" y="11150"/>
                  <a:pt x="4917" y="11032"/>
                </a:cubicBezTo>
                <a:cubicBezTo>
                  <a:pt x="5015" y="10051"/>
                  <a:pt x="5264" y="9104"/>
                  <a:pt x="5583" y="8176"/>
                </a:cubicBezTo>
                <a:cubicBezTo>
                  <a:pt x="5699" y="7839"/>
                  <a:pt x="5843" y="7509"/>
                  <a:pt x="6009" y="7193"/>
                </a:cubicBezTo>
                <a:cubicBezTo>
                  <a:pt x="6620" y="6033"/>
                  <a:pt x="7461" y="5048"/>
                  <a:pt x="8373" y="4118"/>
                </a:cubicBezTo>
                <a:cubicBezTo>
                  <a:pt x="8442" y="4048"/>
                  <a:pt x="8493" y="3957"/>
                  <a:pt x="8552" y="3876"/>
                </a:cubicBezTo>
                <a:close/>
                <a:moveTo>
                  <a:pt x="9076" y="4695"/>
                </a:moveTo>
                <a:cubicBezTo>
                  <a:pt x="9061" y="4684"/>
                  <a:pt x="9045" y="4675"/>
                  <a:pt x="9028" y="4664"/>
                </a:cubicBezTo>
                <a:cubicBezTo>
                  <a:pt x="8917" y="4767"/>
                  <a:pt x="8787" y="4856"/>
                  <a:pt x="8704" y="4978"/>
                </a:cubicBezTo>
                <a:cubicBezTo>
                  <a:pt x="8252" y="5638"/>
                  <a:pt x="7805" y="6302"/>
                  <a:pt x="7370" y="6972"/>
                </a:cubicBezTo>
                <a:cubicBezTo>
                  <a:pt x="6931" y="7645"/>
                  <a:pt x="6531" y="8339"/>
                  <a:pt x="6391" y="9147"/>
                </a:cubicBezTo>
                <a:cubicBezTo>
                  <a:pt x="6282" y="9770"/>
                  <a:pt x="6168" y="10392"/>
                  <a:pt x="6075" y="11017"/>
                </a:cubicBezTo>
                <a:cubicBezTo>
                  <a:pt x="6037" y="11281"/>
                  <a:pt x="6074" y="11316"/>
                  <a:pt x="6334" y="11335"/>
                </a:cubicBezTo>
                <a:cubicBezTo>
                  <a:pt x="7169" y="11395"/>
                  <a:pt x="8006" y="11447"/>
                  <a:pt x="8842" y="11495"/>
                </a:cubicBezTo>
                <a:cubicBezTo>
                  <a:pt x="9069" y="11510"/>
                  <a:pt x="9095" y="11477"/>
                  <a:pt x="9095" y="11250"/>
                </a:cubicBezTo>
                <a:cubicBezTo>
                  <a:pt x="9096" y="9126"/>
                  <a:pt x="9096" y="7003"/>
                  <a:pt x="9095" y="4882"/>
                </a:cubicBezTo>
                <a:cubicBezTo>
                  <a:pt x="9095" y="4819"/>
                  <a:pt x="9083" y="4758"/>
                  <a:pt x="9076" y="4695"/>
                </a:cubicBezTo>
                <a:close/>
                <a:moveTo>
                  <a:pt x="2101" y="12360"/>
                </a:moveTo>
                <a:cubicBezTo>
                  <a:pt x="2105" y="12384"/>
                  <a:pt x="2107" y="12405"/>
                  <a:pt x="2110" y="12427"/>
                </a:cubicBezTo>
                <a:cubicBezTo>
                  <a:pt x="2265" y="13631"/>
                  <a:pt x="2730" y="14718"/>
                  <a:pt x="3372" y="15736"/>
                </a:cubicBezTo>
                <a:cubicBezTo>
                  <a:pt x="3724" y="16295"/>
                  <a:pt x="4174" y="16769"/>
                  <a:pt x="4679" y="17192"/>
                </a:cubicBezTo>
                <a:cubicBezTo>
                  <a:pt x="5048" y="17500"/>
                  <a:pt x="5415" y="17819"/>
                  <a:pt x="5825" y="18066"/>
                </a:cubicBezTo>
                <a:cubicBezTo>
                  <a:pt x="6280" y="18339"/>
                  <a:pt x="6784" y="18538"/>
                  <a:pt x="7269" y="18765"/>
                </a:cubicBezTo>
                <a:cubicBezTo>
                  <a:pt x="7315" y="18787"/>
                  <a:pt x="7378" y="18776"/>
                  <a:pt x="7433" y="18780"/>
                </a:cubicBezTo>
                <a:cubicBezTo>
                  <a:pt x="7418" y="18723"/>
                  <a:pt x="7416" y="18656"/>
                  <a:pt x="7385" y="18610"/>
                </a:cubicBezTo>
                <a:cubicBezTo>
                  <a:pt x="7140" y="18247"/>
                  <a:pt x="6870" y="17898"/>
                  <a:pt x="6645" y="17524"/>
                </a:cubicBezTo>
                <a:cubicBezTo>
                  <a:pt x="6431" y="17168"/>
                  <a:pt x="6260" y="16786"/>
                  <a:pt x="6070" y="16415"/>
                </a:cubicBezTo>
                <a:cubicBezTo>
                  <a:pt x="5515" y="15332"/>
                  <a:pt x="5190" y="14185"/>
                  <a:pt x="5116" y="12969"/>
                </a:cubicBezTo>
                <a:cubicBezTo>
                  <a:pt x="5107" y="12829"/>
                  <a:pt x="5059" y="12775"/>
                  <a:pt x="4919" y="12753"/>
                </a:cubicBezTo>
                <a:cubicBezTo>
                  <a:pt x="4311" y="12655"/>
                  <a:pt x="3704" y="12547"/>
                  <a:pt x="3099" y="12434"/>
                </a:cubicBezTo>
                <a:cubicBezTo>
                  <a:pt x="2817" y="12382"/>
                  <a:pt x="2540" y="12310"/>
                  <a:pt x="2260" y="12251"/>
                </a:cubicBezTo>
                <a:cubicBezTo>
                  <a:pt x="2173" y="12233"/>
                  <a:pt x="2088" y="12233"/>
                  <a:pt x="2101" y="12360"/>
                </a:cubicBezTo>
                <a:close/>
                <a:moveTo>
                  <a:pt x="10561" y="4789"/>
                </a:moveTo>
                <a:cubicBezTo>
                  <a:pt x="10539" y="4802"/>
                  <a:pt x="10515" y="4813"/>
                  <a:pt x="10492" y="4826"/>
                </a:cubicBezTo>
                <a:cubicBezTo>
                  <a:pt x="10492" y="4906"/>
                  <a:pt x="10492" y="4983"/>
                  <a:pt x="10492" y="5062"/>
                </a:cubicBezTo>
                <a:cubicBezTo>
                  <a:pt x="10494" y="5894"/>
                  <a:pt x="10504" y="6728"/>
                  <a:pt x="10496" y="7562"/>
                </a:cubicBezTo>
                <a:cubicBezTo>
                  <a:pt x="10489" y="8671"/>
                  <a:pt x="10463" y="9781"/>
                  <a:pt x="10456" y="10892"/>
                </a:cubicBezTo>
                <a:cubicBezTo>
                  <a:pt x="10454" y="11344"/>
                  <a:pt x="10350" y="11323"/>
                  <a:pt x="10896" y="11300"/>
                </a:cubicBezTo>
                <a:cubicBezTo>
                  <a:pt x="11511" y="11274"/>
                  <a:pt x="12127" y="11228"/>
                  <a:pt x="12741" y="11198"/>
                </a:cubicBezTo>
                <a:cubicBezTo>
                  <a:pt x="13030" y="11183"/>
                  <a:pt x="13086" y="11137"/>
                  <a:pt x="13025" y="10859"/>
                </a:cubicBezTo>
                <a:cubicBezTo>
                  <a:pt x="12918" y="10366"/>
                  <a:pt x="12809" y="9875"/>
                  <a:pt x="12682" y="9388"/>
                </a:cubicBezTo>
                <a:cubicBezTo>
                  <a:pt x="12420" y="8392"/>
                  <a:pt x="12068" y="7426"/>
                  <a:pt x="11675" y="6476"/>
                </a:cubicBezTo>
                <a:cubicBezTo>
                  <a:pt x="11461" y="5957"/>
                  <a:pt x="11247" y="5442"/>
                  <a:pt x="10841" y="5038"/>
                </a:cubicBezTo>
                <a:cubicBezTo>
                  <a:pt x="10753" y="4950"/>
                  <a:pt x="10655" y="4872"/>
                  <a:pt x="10561" y="4789"/>
                </a:cubicBezTo>
                <a:close/>
                <a:moveTo>
                  <a:pt x="9034" y="18734"/>
                </a:moveTo>
                <a:cubicBezTo>
                  <a:pt x="9054" y="18723"/>
                  <a:pt x="9074" y="18714"/>
                  <a:pt x="9096" y="18702"/>
                </a:cubicBezTo>
                <a:cubicBezTo>
                  <a:pt x="9096" y="18579"/>
                  <a:pt x="9096" y="18455"/>
                  <a:pt x="9096" y="18332"/>
                </a:cubicBezTo>
                <a:cubicBezTo>
                  <a:pt x="9096" y="17134"/>
                  <a:pt x="9096" y="15939"/>
                  <a:pt x="9096" y="14742"/>
                </a:cubicBezTo>
                <a:cubicBezTo>
                  <a:pt x="9096" y="14227"/>
                  <a:pt x="9093" y="13712"/>
                  <a:pt x="9096" y="13198"/>
                </a:cubicBezTo>
                <a:cubicBezTo>
                  <a:pt x="9098" y="13069"/>
                  <a:pt x="9052" y="13017"/>
                  <a:pt x="8917" y="13013"/>
                </a:cubicBezTo>
                <a:cubicBezTo>
                  <a:pt x="8084" y="12984"/>
                  <a:pt x="7252" y="12947"/>
                  <a:pt x="6419" y="12914"/>
                </a:cubicBezTo>
                <a:cubicBezTo>
                  <a:pt x="6199" y="12904"/>
                  <a:pt x="6194" y="12908"/>
                  <a:pt x="6253" y="13128"/>
                </a:cubicBezTo>
                <a:cubicBezTo>
                  <a:pt x="6352" y="13498"/>
                  <a:pt x="6465" y="13867"/>
                  <a:pt x="6559" y="14240"/>
                </a:cubicBezTo>
                <a:cubicBezTo>
                  <a:pt x="6955" y="15815"/>
                  <a:pt x="7645" y="17238"/>
                  <a:pt x="8739" y="18450"/>
                </a:cubicBezTo>
                <a:cubicBezTo>
                  <a:pt x="8831" y="18551"/>
                  <a:pt x="8934" y="18640"/>
                  <a:pt x="9034" y="18734"/>
                </a:cubicBezTo>
                <a:close/>
                <a:moveTo>
                  <a:pt x="11979" y="4358"/>
                </a:moveTo>
                <a:cubicBezTo>
                  <a:pt x="11962" y="4378"/>
                  <a:pt x="11948" y="4396"/>
                  <a:pt x="11933" y="4417"/>
                </a:cubicBezTo>
                <a:cubicBezTo>
                  <a:pt x="11981" y="4472"/>
                  <a:pt x="12018" y="4544"/>
                  <a:pt x="12077" y="4579"/>
                </a:cubicBezTo>
                <a:cubicBezTo>
                  <a:pt x="12359" y="4745"/>
                  <a:pt x="12521" y="5022"/>
                  <a:pt x="12698" y="5276"/>
                </a:cubicBezTo>
                <a:cubicBezTo>
                  <a:pt x="13176" y="5959"/>
                  <a:pt x="13624" y="6662"/>
                  <a:pt x="13928" y="7446"/>
                </a:cubicBezTo>
                <a:cubicBezTo>
                  <a:pt x="14268" y="8315"/>
                  <a:pt x="14511" y="9202"/>
                  <a:pt x="14495" y="10145"/>
                </a:cubicBezTo>
                <a:cubicBezTo>
                  <a:pt x="14489" y="10372"/>
                  <a:pt x="14491" y="10599"/>
                  <a:pt x="14489" y="10825"/>
                </a:cubicBezTo>
                <a:cubicBezTo>
                  <a:pt x="14487" y="11023"/>
                  <a:pt x="14541" y="11082"/>
                  <a:pt x="14734" y="11078"/>
                </a:cubicBezTo>
                <a:cubicBezTo>
                  <a:pt x="14858" y="11076"/>
                  <a:pt x="14981" y="11062"/>
                  <a:pt x="15103" y="11047"/>
                </a:cubicBezTo>
                <a:cubicBezTo>
                  <a:pt x="15494" y="10995"/>
                  <a:pt x="15885" y="10940"/>
                  <a:pt x="16276" y="10890"/>
                </a:cubicBezTo>
                <a:cubicBezTo>
                  <a:pt x="16413" y="10873"/>
                  <a:pt x="16461" y="10794"/>
                  <a:pt x="16451" y="10667"/>
                </a:cubicBezTo>
                <a:cubicBezTo>
                  <a:pt x="16440" y="10506"/>
                  <a:pt x="16426" y="10344"/>
                  <a:pt x="16416" y="10183"/>
                </a:cubicBezTo>
                <a:cubicBezTo>
                  <a:pt x="16398" y="9903"/>
                  <a:pt x="16383" y="9630"/>
                  <a:pt x="16300" y="9353"/>
                </a:cubicBezTo>
                <a:cubicBezTo>
                  <a:pt x="15688" y="7300"/>
                  <a:pt x="14467" y="5732"/>
                  <a:pt x="12599" y="4677"/>
                </a:cubicBezTo>
                <a:cubicBezTo>
                  <a:pt x="12396" y="4563"/>
                  <a:pt x="12186" y="4463"/>
                  <a:pt x="11979" y="4358"/>
                </a:cubicBezTo>
                <a:close/>
                <a:moveTo>
                  <a:pt x="11594" y="18579"/>
                </a:moveTo>
                <a:cubicBezTo>
                  <a:pt x="13545" y="17651"/>
                  <a:pt x="15022" y="16245"/>
                  <a:pt x="15948" y="14294"/>
                </a:cubicBezTo>
                <a:cubicBezTo>
                  <a:pt x="16274" y="13605"/>
                  <a:pt x="16453" y="12868"/>
                  <a:pt x="16652" y="12102"/>
                </a:cubicBezTo>
                <a:cubicBezTo>
                  <a:pt x="16566" y="12119"/>
                  <a:pt x="16525" y="12126"/>
                  <a:pt x="16485" y="12135"/>
                </a:cubicBezTo>
                <a:cubicBezTo>
                  <a:pt x="15857" y="12296"/>
                  <a:pt x="15230" y="12462"/>
                  <a:pt x="14602" y="12615"/>
                </a:cubicBezTo>
                <a:cubicBezTo>
                  <a:pt x="14354" y="12674"/>
                  <a:pt x="14369" y="12666"/>
                  <a:pt x="14319" y="12906"/>
                </a:cubicBezTo>
                <a:cubicBezTo>
                  <a:pt x="14198" y="13493"/>
                  <a:pt x="14107" y="14094"/>
                  <a:pt x="13908" y="14657"/>
                </a:cubicBezTo>
                <a:cubicBezTo>
                  <a:pt x="13692" y="15269"/>
                  <a:pt x="13392" y="15858"/>
                  <a:pt x="13084" y="16433"/>
                </a:cubicBezTo>
                <a:cubicBezTo>
                  <a:pt x="12715" y="17118"/>
                  <a:pt x="12337" y="17802"/>
                  <a:pt x="11778" y="18361"/>
                </a:cubicBezTo>
                <a:cubicBezTo>
                  <a:pt x="11710" y="18428"/>
                  <a:pt x="11654" y="18505"/>
                  <a:pt x="11594" y="18579"/>
                </a:cubicBezTo>
                <a:close/>
                <a:moveTo>
                  <a:pt x="10465" y="18811"/>
                </a:moveTo>
                <a:cubicBezTo>
                  <a:pt x="10480" y="18819"/>
                  <a:pt x="10494" y="18824"/>
                  <a:pt x="10509" y="18832"/>
                </a:cubicBezTo>
                <a:cubicBezTo>
                  <a:pt x="10540" y="18806"/>
                  <a:pt x="10575" y="18784"/>
                  <a:pt x="10598" y="18752"/>
                </a:cubicBezTo>
                <a:cubicBezTo>
                  <a:pt x="11177" y="17957"/>
                  <a:pt x="11712" y="17134"/>
                  <a:pt x="12014" y="16194"/>
                </a:cubicBezTo>
                <a:cubicBezTo>
                  <a:pt x="12333" y="15207"/>
                  <a:pt x="12615" y="14207"/>
                  <a:pt x="12912" y="13213"/>
                </a:cubicBezTo>
                <a:cubicBezTo>
                  <a:pt x="12945" y="13100"/>
                  <a:pt x="12962" y="12984"/>
                  <a:pt x="12991" y="12849"/>
                </a:cubicBezTo>
                <a:cubicBezTo>
                  <a:pt x="12931" y="12849"/>
                  <a:pt x="12890" y="12847"/>
                  <a:pt x="12849" y="12849"/>
                </a:cubicBezTo>
                <a:cubicBezTo>
                  <a:pt x="12110" y="12895"/>
                  <a:pt x="11370" y="12947"/>
                  <a:pt x="10631" y="12987"/>
                </a:cubicBezTo>
                <a:cubicBezTo>
                  <a:pt x="10491" y="12995"/>
                  <a:pt x="10450" y="13045"/>
                  <a:pt x="10450" y="13185"/>
                </a:cubicBezTo>
                <a:cubicBezTo>
                  <a:pt x="10454" y="14993"/>
                  <a:pt x="10452" y="16801"/>
                  <a:pt x="10454" y="18607"/>
                </a:cubicBezTo>
                <a:cubicBezTo>
                  <a:pt x="10454" y="18675"/>
                  <a:pt x="10461" y="18743"/>
                  <a:pt x="10465" y="18811"/>
                </a:cubicBezTo>
                <a:close/>
                <a:moveTo>
                  <a:pt x="11866" y="25375"/>
                </a:moveTo>
                <a:cubicBezTo>
                  <a:pt x="11769" y="25244"/>
                  <a:pt x="11710" y="25163"/>
                  <a:pt x="11649" y="25082"/>
                </a:cubicBezTo>
                <a:cubicBezTo>
                  <a:pt x="11490" y="24871"/>
                  <a:pt x="11315" y="24670"/>
                  <a:pt x="11175" y="24447"/>
                </a:cubicBezTo>
                <a:cubicBezTo>
                  <a:pt x="11002" y="24176"/>
                  <a:pt x="10856" y="23888"/>
                  <a:pt x="10703" y="23606"/>
                </a:cubicBezTo>
                <a:cubicBezTo>
                  <a:pt x="10539" y="23305"/>
                  <a:pt x="10317" y="23028"/>
                  <a:pt x="10321" y="22658"/>
                </a:cubicBezTo>
                <a:cubicBezTo>
                  <a:pt x="10323" y="22578"/>
                  <a:pt x="10304" y="22497"/>
                  <a:pt x="10295" y="22416"/>
                </a:cubicBezTo>
                <a:cubicBezTo>
                  <a:pt x="10262" y="22150"/>
                  <a:pt x="10253" y="22147"/>
                  <a:pt x="9983" y="22152"/>
                </a:cubicBezTo>
                <a:cubicBezTo>
                  <a:pt x="9854" y="22156"/>
                  <a:pt x="9814" y="22213"/>
                  <a:pt x="9817" y="22331"/>
                </a:cubicBezTo>
                <a:cubicBezTo>
                  <a:pt x="9821" y="22479"/>
                  <a:pt x="9817" y="22624"/>
                  <a:pt x="9817" y="22770"/>
                </a:cubicBezTo>
                <a:cubicBezTo>
                  <a:pt x="9817" y="23615"/>
                  <a:pt x="9819" y="24458"/>
                  <a:pt x="9817" y="25303"/>
                </a:cubicBezTo>
                <a:cubicBezTo>
                  <a:pt x="9816" y="25441"/>
                  <a:pt x="9856" y="25511"/>
                  <a:pt x="10007" y="25511"/>
                </a:cubicBezTo>
                <a:cubicBezTo>
                  <a:pt x="10310" y="25511"/>
                  <a:pt x="10612" y="25548"/>
                  <a:pt x="10911" y="25526"/>
                </a:cubicBezTo>
                <a:cubicBezTo>
                  <a:pt x="11215" y="25504"/>
                  <a:pt x="11516" y="25432"/>
                  <a:pt x="11866" y="25375"/>
                </a:cubicBezTo>
                <a:close/>
              </a:path>
            </a:pathLst>
          </a:custGeom>
          <a:solidFill>
            <a:srgbClr val="C65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15">
            <a:extLst>
              <a:ext uri="{FF2B5EF4-FFF2-40B4-BE49-F238E27FC236}">
                <a16:creationId xmlns:a16="http://schemas.microsoft.com/office/drawing/2014/main" id="{4D8D7C2F-1F66-4064-8F1C-68A11DD11385}"/>
              </a:ext>
            </a:extLst>
          </p:cNvPr>
          <p:cNvSpPr>
            <a:spLocks noEditPoints="1"/>
          </p:cNvSpPr>
          <p:nvPr/>
        </p:nvSpPr>
        <p:spPr bwMode="auto">
          <a:xfrm>
            <a:off x="4745038" y="2114550"/>
            <a:ext cx="215900" cy="247650"/>
          </a:xfrm>
          <a:custGeom>
            <a:avLst/>
            <a:gdLst>
              <a:gd name="T0" fmla="*/ 10579 w 22224"/>
              <a:gd name="T1" fmla="*/ 13371 h 25496"/>
              <a:gd name="T2" fmla="*/ 10389 w 22224"/>
              <a:gd name="T3" fmla="*/ 13467 h 25496"/>
              <a:gd name="T4" fmla="*/ 6712 w 22224"/>
              <a:gd name="T5" fmla="*/ 14294 h 25496"/>
              <a:gd name="T6" fmla="*/ 381 w 22224"/>
              <a:gd name="T7" fmla="*/ 8991 h 25496"/>
              <a:gd name="T8" fmla="*/ 1182 w 22224"/>
              <a:gd name="T9" fmla="*/ 4028 h 25496"/>
              <a:gd name="T10" fmla="*/ 6567 w 22224"/>
              <a:gd name="T11" fmla="*/ 410 h 25496"/>
              <a:gd name="T12" fmla="*/ 13642 w 22224"/>
              <a:gd name="T13" fmla="*/ 4167 h 25496"/>
              <a:gd name="T14" fmla="*/ 14253 w 22224"/>
              <a:gd name="T15" fmla="*/ 7898 h 25496"/>
              <a:gd name="T16" fmla="*/ 12276 w 22224"/>
              <a:gd name="T17" fmla="*/ 12054 h 25496"/>
              <a:gd name="T18" fmla="*/ 12236 w 22224"/>
              <a:gd name="T19" fmla="*/ 12109 h 25496"/>
              <a:gd name="T20" fmla="*/ 13110 w 22224"/>
              <a:gd name="T21" fmla="*/ 13290 h 25496"/>
              <a:gd name="T22" fmla="*/ 13571 w 22224"/>
              <a:gd name="T23" fmla="*/ 13247 h 25496"/>
              <a:gd name="T24" fmla="*/ 13872 w 22224"/>
              <a:gd name="T25" fmla="*/ 13361 h 25496"/>
              <a:gd name="T26" fmla="*/ 16319 w 22224"/>
              <a:gd name="T27" fmla="*/ 15780 h 25496"/>
              <a:gd name="T28" fmla="*/ 16999 w 22224"/>
              <a:gd name="T29" fmla="*/ 16498 h 25496"/>
              <a:gd name="T30" fmla="*/ 17953 w 22224"/>
              <a:gd name="T31" fmla="*/ 17422 h 25496"/>
              <a:gd name="T32" fmla="*/ 20928 w 22224"/>
              <a:gd name="T33" fmla="*/ 20416 h 25496"/>
              <a:gd name="T34" fmla="*/ 22036 w 22224"/>
              <a:gd name="T35" fmla="*/ 21514 h 25496"/>
              <a:gd name="T36" fmla="*/ 22152 w 22224"/>
              <a:gd name="T37" fmla="*/ 21780 h 25496"/>
              <a:gd name="T38" fmla="*/ 20606 w 22224"/>
              <a:gd name="T39" fmla="*/ 24789 h 25496"/>
              <a:gd name="T40" fmla="*/ 18161 w 22224"/>
              <a:gd name="T41" fmla="*/ 25348 h 25496"/>
              <a:gd name="T42" fmla="*/ 17868 w 22224"/>
              <a:gd name="T43" fmla="*/ 25277 h 25496"/>
              <a:gd name="T44" fmla="*/ 17455 w 22224"/>
              <a:gd name="T45" fmla="*/ 24947 h 25496"/>
              <a:gd name="T46" fmla="*/ 15549 w 22224"/>
              <a:gd name="T47" fmla="*/ 21727 h 25496"/>
              <a:gd name="T48" fmla="*/ 14788 w 22224"/>
              <a:gd name="T49" fmla="*/ 20406 h 25496"/>
              <a:gd name="T50" fmla="*/ 14149 w 22224"/>
              <a:gd name="T51" fmla="*/ 19322 h 25496"/>
              <a:gd name="T52" fmla="*/ 13547 w 22224"/>
              <a:gd name="T53" fmla="*/ 18281 h 25496"/>
              <a:gd name="T54" fmla="*/ 12328 w 22224"/>
              <a:gd name="T55" fmla="*/ 16222 h 25496"/>
              <a:gd name="T56" fmla="*/ 11633 w 22224"/>
              <a:gd name="T57" fmla="*/ 14929 h 25496"/>
              <a:gd name="T58" fmla="*/ 11064 w 22224"/>
              <a:gd name="T59" fmla="*/ 14016 h 25496"/>
              <a:gd name="T60" fmla="*/ 10658 w 22224"/>
              <a:gd name="T61" fmla="*/ 13455 h 25496"/>
              <a:gd name="T62" fmla="*/ 10579 w 22224"/>
              <a:gd name="T63" fmla="*/ 13371 h 25496"/>
              <a:gd name="T64" fmla="*/ 12127 w 22224"/>
              <a:gd name="T65" fmla="*/ 10624 h 25496"/>
              <a:gd name="T66" fmla="*/ 12307 w 22224"/>
              <a:gd name="T67" fmla="*/ 10363 h 25496"/>
              <a:gd name="T68" fmla="*/ 12603 w 22224"/>
              <a:gd name="T69" fmla="*/ 9681 h 25496"/>
              <a:gd name="T70" fmla="*/ 12952 w 22224"/>
              <a:gd name="T71" fmla="*/ 5571 h 25496"/>
              <a:gd name="T72" fmla="*/ 9617 w 22224"/>
              <a:gd name="T73" fmla="*/ 1956 h 25496"/>
              <a:gd name="T74" fmla="*/ 7145 w 22224"/>
              <a:gd name="T75" fmla="*/ 1584 h 25496"/>
              <a:gd name="T76" fmla="*/ 5341 w 22224"/>
              <a:gd name="T77" fmla="*/ 2074 h 25496"/>
              <a:gd name="T78" fmla="*/ 5215 w 22224"/>
              <a:gd name="T79" fmla="*/ 2191 h 25496"/>
              <a:gd name="T80" fmla="*/ 5235 w 22224"/>
              <a:gd name="T81" fmla="*/ 2245 h 25496"/>
              <a:gd name="T82" fmla="*/ 5428 w 22224"/>
              <a:gd name="T83" fmla="*/ 2247 h 25496"/>
              <a:gd name="T84" fmla="*/ 6486 w 22224"/>
              <a:gd name="T85" fmla="*/ 2148 h 25496"/>
              <a:gd name="T86" fmla="*/ 11295 w 22224"/>
              <a:gd name="T87" fmla="*/ 4614 h 25496"/>
              <a:gd name="T88" fmla="*/ 12108 w 22224"/>
              <a:gd name="T89" fmla="*/ 9979 h 25496"/>
              <a:gd name="T90" fmla="*/ 12009 w 22224"/>
              <a:gd name="T91" fmla="*/ 10282 h 25496"/>
              <a:gd name="T92" fmla="*/ 12127 w 22224"/>
              <a:gd name="T93" fmla="*/ 10624 h 25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224" h="25496">
                <a:moveTo>
                  <a:pt x="10579" y="13371"/>
                </a:moveTo>
                <a:cubicBezTo>
                  <a:pt x="10514" y="13404"/>
                  <a:pt x="10451" y="13435"/>
                  <a:pt x="10389" y="13467"/>
                </a:cubicBezTo>
                <a:cubicBezTo>
                  <a:pt x="9238" y="14072"/>
                  <a:pt x="8010" y="14347"/>
                  <a:pt x="6712" y="14294"/>
                </a:cubicBezTo>
                <a:cubicBezTo>
                  <a:pt x="3619" y="14168"/>
                  <a:pt x="1039" y="12018"/>
                  <a:pt x="381" y="8991"/>
                </a:cubicBezTo>
                <a:cubicBezTo>
                  <a:pt x="0" y="7240"/>
                  <a:pt x="281" y="5569"/>
                  <a:pt x="1182" y="4028"/>
                </a:cubicBezTo>
                <a:cubicBezTo>
                  <a:pt x="2389" y="1962"/>
                  <a:pt x="4198" y="735"/>
                  <a:pt x="6567" y="410"/>
                </a:cubicBezTo>
                <a:cubicBezTo>
                  <a:pt x="9564" y="0"/>
                  <a:pt x="12366" y="1510"/>
                  <a:pt x="13642" y="4167"/>
                </a:cubicBezTo>
                <a:cubicBezTo>
                  <a:pt x="14210" y="5348"/>
                  <a:pt x="14410" y="6597"/>
                  <a:pt x="14253" y="7898"/>
                </a:cubicBezTo>
                <a:cubicBezTo>
                  <a:pt x="14060" y="9502"/>
                  <a:pt x="13387" y="10884"/>
                  <a:pt x="12276" y="12054"/>
                </a:cubicBezTo>
                <a:cubicBezTo>
                  <a:pt x="12260" y="12072"/>
                  <a:pt x="12249" y="12093"/>
                  <a:pt x="12236" y="12109"/>
                </a:cubicBezTo>
                <a:cubicBezTo>
                  <a:pt x="12304" y="12291"/>
                  <a:pt x="12752" y="12897"/>
                  <a:pt x="13110" y="13290"/>
                </a:cubicBezTo>
                <a:cubicBezTo>
                  <a:pt x="13271" y="13276"/>
                  <a:pt x="13421" y="13266"/>
                  <a:pt x="13571" y="13247"/>
                </a:cubicBezTo>
                <a:cubicBezTo>
                  <a:pt x="13695" y="13231"/>
                  <a:pt x="13788" y="13276"/>
                  <a:pt x="13872" y="13361"/>
                </a:cubicBezTo>
                <a:cubicBezTo>
                  <a:pt x="14687" y="14168"/>
                  <a:pt x="15505" y="14972"/>
                  <a:pt x="16319" y="15780"/>
                </a:cubicBezTo>
                <a:cubicBezTo>
                  <a:pt x="16552" y="16013"/>
                  <a:pt x="16767" y="16264"/>
                  <a:pt x="16999" y="16498"/>
                </a:cubicBezTo>
                <a:cubicBezTo>
                  <a:pt x="17313" y="16810"/>
                  <a:pt x="17641" y="17108"/>
                  <a:pt x="17953" y="17422"/>
                </a:cubicBezTo>
                <a:cubicBezTo>
                  <a:pt x="18946" y="18418"/>
                  <a:pt x="19935" y="19418"/>
                  <a:pt x="20928" y="20416"/>
                </a:cubicBezTo>
                <a:cubicBezTo>
                  <a:pt x="21294" y="20786"/>
                  <a:pt x="21664" y="21151"/>
                  <a:pt x="22036" y="21514"/>
                </a:cubicBezTo>
                <a:cubicBezTo>
                  <a:pt x="22112" y="21591"/>
                  <a:pt x="22146" y="21671"/>
                  <a:pt x="22152" y="21780"/>
                </a:cubicBezTo>
                <a:cubicBezTo>
                  <a:pt x="22224" y="23085"/>
                  <a:pt x="21648" y="24063"/>
                  <a:pt x="20606" y="24789"/>
                </a:cubicBezTo>
                <a:cubicBezTo>
                  <a:pt x="19873" y="25298"/>
                  <a:pt x="19053" y="25496"/>
                  <a:pt x="18161" y="25348"/>
                </a:cubicBezTo>
                <a:cubicBezTo>
                  <a:pt x="18062" y="25332"/>
                  <a:pt x="17963" y="25311"/>
                  <a:pt x="17868" y="25277"/>
                </a:cubicBezTo>
                <a:cubicBezTo>
                  <a:pt x="17695" y="25215"/>
                  <a:pt x="17558" y="25125"/>
                  <a:pt x="17455" y="24947"/>
                </a:cubicBezTo>
                <a:cubicBezTo>
                  <a:pt x="16829" y="23870"/>
                  <a:pt x="16184" y="22802"/>
                  <a:pt x="15549" y="21727"/>
                </a:cubicBezTo>
                <a:cubicBezTo>
                  <a:pt x="15291" y="21290"/>
                  <a:pt x="15043" y="20845"/>
                  <a:pt x="14788" y="20406"/>
                </a:cubicBezTo>
                <a:cubicBezTo>
                  <a:pt x="14577" y="20043"/>
                  <a:pt x="14361" y="19684"/>
                  <a:pt x="14149" y="19322"/>
                </a:cubicBezTo>
                <a:cubicBezTo>
                  <a:pt x="13948" y="18976"/>
                  <a:pt x="13751" y="18626"/>
                  <a:pt x="13547" y="18281"/>
                </a:cubicBezTo>
                <a:cubicBezTo>
                  <a:pt x="13142" y="17595"/>
                  <a:pt x="12728" y="16912"/>
                  <a:pt x="12328" y="16222"/>
                </a:cubicBezTo>
                <a:cubicBezTo>
                  <a:pt x="12083" y="15798"/>
                  <a:pt x="11822" y="15378"/>
                  <a:pt x="11633" y="14929"/>
                </a:cubicBezTo>
                <a:cubicBezTo>
                  <a:pt x="11490" y="14586"/>
                  <a:pt x="11273" y="14307"/>
                  <a:pt x="11064" y="14016"/>
                </a:cubicBezTo>
                <a:cubicBezTo>
                  <a:pt x="10930" y="13827"/>
                  <a:pt x="10794" y="13641"/>
                  <a:pt x="10658" y="13455"/>
                </a:cubicBezTo>
                <a:cubicBezTo>
                  <a:pt x="10639" y="13428"/>
                  <a:pt x="10611" y="13404"/>
                  <a:pt x="10579" y="13371"/>
                </a:cubicBezTo>
                <a:close/>
                <a:moveTo>
                  <a:pt x="12127" y="10624"/>
                </a:moveTo>
                <a:cubicBezTo>
                  <a:pt x="12191" y="10532"/>
                  <a:pt x="12264" y="10455"/>
                  <a:pt x="12307" y="10363"/>
                </a:cubicBezTo>
                <a:cubicBezTo>
                  <a:pt x="12412" y="10139"/>
                  <a:pt x="12497" y="9906"/>
                  <a:pt x="12603" y="9681"/>
                </a:cubicBezTo>
                <a:cubicBezTo>
                  <a:pt x="13232" y="8354"/>
                  <a:pt x="13386" y="6980"/>
                  <a:pt x="12952" y="5571"/>
                </a:cubicBezTo>
                <a:cubicBezTo>
                  <a:pt x="12419" y="3842"/>
                  <a:pt x="11295" y="2636"/>
                  <a:pt x="9617" y="1956"/>
                </a:cubicBezTo>
                <a:cubicBezTo>
                  <a:pt x="8826" y="1634"/>
                  <a:pt x="7992" y="1539"/>
                  <a:pt x="7145" y="1584"/>
                </a:cubicBezTo>
                <a:cubicBezTo>
                  <a:pt x="6511" y="1619"/>
                  <a:pt x="5914" y="1807"/>
                  <a:pt x="5341" y="2074"/>
                </a:cubicBezTo>
                <a:cubicBezTo>
                  <a:pt x="5292" y="2098"/>
                  <a:pt x="5256" y="2151"/>
                  <a:pt x="5215" y="2191"/>
                </a:cubicBezTo>
                <a:cubicBezTo>
                  <a:pt x="5221" y="2209"/>
                  <a:pt x="5227" y="2228"/>
                  <a:pt x="5235" y="2245"/>
                </a:cubicBezTo>
                <a:cubicBezTo>
                  <a:pt x="5300" y="2247"/>
                  <a:pt x="5364" y="2253"/>
                  <a:pt x="5428" y="2247"/>
                </a:cubicBezTo>
                <a:cubicBezTo>
                  <a:pt x="5781" y="2213"/>
                  <a:pt x="6134" y="2144"/>
                  <a:pt x="6486" y="2148"/>
                </a:cubicBezTo>
                <a:cubicBezTo>
                  <a:pt x="8498" y="2164"/>
                  <a:pt x="10134" y="2968"/>
                  <a:pt x="11295" y="4614"/>
                </a:cubicBezTo>
                <a:cubicBezTo>
                  <a:pt x="12449" y="6250"/>
                  <a:pt x="12662" y="8066"/>
                  <a:pt x="12108" y="9979"/>
                </a:cubicBezTo>
                <a:cubicBezTo>
                  <a:pt x="12078" y="10080"/>
                  <a:pt x="12039" y="10179"/>
                  <a:pt x="12009" y="10282"/>
                </a:cubicBezTo>
                <a:cubicBezTo>
                  <a:pt x="11964" y="10434"/>
                  <a:pt x="11990" y="10533"/>
                  <a:pt x="12127" y="10624"/>
                </a:cubicBezTo>
                <a:close/>
              </a:path>
            </a:pathLst>
          </a:custGeom>
          <a:solidFill>
            <a:srgbClr val="C65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pic>
        <p:nvPicPr>
          <p:cNvPr id="34" name="Picture 5">
            <a:extLst>
              <a:ext uri="{FF2B5EF4-FFF2-40B4-BE49-F238E27FC236}">
                <a16:creationId xmlns:a16="http://schemas.microsoft.com/office/drawing/2014/main" id="{B36F9929-E046-457E-807F-67650209339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716463" y="2550410"/>
            <a:ext cx="267017" cy="229057"/>
          </a:xfrm>
          <a:prstGeom prst="rect">
            <a:avLst/>
          </a:prstGeom>
          <a:solidFill>
            <a:schemeClr val="tx2"/>
          </a:solidFill>
          <a:ln>
            <a:noFill/>
          </a:ln>
          <a:effectLst/>
        </p:spPr>
      </p:pic>
      <p:sp>
        <p:nvSpPr>
          <p:cNvPr id="35" name="AutoShape 11">
            <a:extLst>
              <a:ext uri="{FF2B5EF4-FFF2-40B4-BE49-F238E27FC236}">
                <a16:creationId xmlns:a16="http://schemas.microsoft.com/office/drawing/2014/main" id="{80E33BF0-8B8B-49CF-B84E-8FD9DFCE1787}"/>
              </a:ext>
            </a:extLst>
          </p:cNvPr>
          <p:cNvSpPr>
            <a:spLocks noChangeAspect="1" noChangeArrowheads="1" noTextEdit="1"/>
          </p:cNvSpPr>
          <p:nvPr/>
        </p:nvSpPr>
        <p:spPr bwMode="auto">
          <a:xfrm>
            <a:off x="4759667" y="2966983"/>
            <a:ext cx="215900" cy="255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6" name="Freeform 13">
            <a:extLst>
              <a:ext uri="{FF2B5EF4-FFF2-40B4-BE49-F238E27FC236}">
                <a16:creationId xmlns:a16="http://schemas.microsoft.com/office/drawing/2014/main" id="{FFAD539E-485C-4410-84D4-5B64E653ADC1}"/>
              </a:ext>
            </a:extLst>
          </p:cNvPr>
          <p:cNvSpPr>
            <a:spLocks noEditPoints="1"/>
          </p:cNvSpPr>
          <p:nvPr/>
        </p:nvSpPr>
        <p:spPr bwMode="auto">
          <a:xfrm>
            <a:off x="4725164" y="2955444"/>
            <a:ext cx="215900" cy="260126"/>
          </a:xfrm>
          <a:custGeom>
            <a:avLst/>
            <a:gdLst>
              <a:gd name="T0" fmla="*/ 358 w 3040"/>
              <a:gd name="T1" fmla="*/ 3532 h 3600"/>
              <a:gd name="T2" fmla="*/ 523 w 3040"/>
              <a:gd name="T3" fmla="*/ 3296 h 3600"/>
              <a:gd name="T4" fmla="*/ 511 w 3040"/>
              <a:gd name="T5" fmla="*/ 3205 h 3600"/>
              <a:gd name="T6" fmla="*/ 24 w 3040"/>
              <a:gd name="T7" fmla="*/ 2338 h 3600"/>
              <a:gd name="T8" fmla="*/ 486 w 3040"/>
              <a:gd name="T9" fmla="*/ 1086 h 3600"/>
              <a:gd name="T10" fmla="*/ 762 w 3040"/>
              <a:gd name="T11" fmla="*/ 903 h 3600"/>
              <a:gd name="T12" fmla="*/ 919 w 3040"/>
              <a:gd name="T13" fmla="*/ 480 h 3600"/>
              <a:gd name="T14" fmla="*/ 1206 w 3040"/>
              <a:gd name="T15" fmla="*/ 289 h 3600"/>
              <a:gd name="T16" fmla="*/ 1440 w 3040"/>
              <a:gd name="T17" fmla="*/ 21 h 3600"/>
              <a:gd name="T18" fmla="*/ 1572 w 3040"/>
              <a:gd name="T19" fmla="*/ 300 h 3600"/>
              <a:gd name="T20" fmla="*/ 1926 w 3040"/>
              <a:gd name="T21" fmla="*/ 699 h 3600"/>
              <a:gd name="T22" fmla="*/ 2367 w 3040"/>
              <a:gd name="T23" fmla="*/ 917 h 3600"/>
              <a:gd name="T24" fmla="*/ 2742 w 3040"/>
              <a:gd name="T25" fmla="*/ 1256 h 3600"/>
              <a:gd name="T26" fmla="*/ 2951 w 3040"/>
              <a:gd name="T27" fmla="*/ 1689 h 3600"/>
              <a:gd name="T28" fmla="*/ 3025 w 3040"/>
              <a:gd name="T29" fmla="*/ 2006 h 3600"/>
              <a:gd name="T30" fmla="*/ 2995 w 3040"/>
              <a:gd name="T31" fmla="*/ 2528 h 3600"/>
              <a:gd name="T32" fmla="*/ 2796 w 3040"/>
              <a:gd name="T33" fmla="*/ 2904 h 3600"/>
              <a:gd name="T34" fmla="*/ 2519 w 3040"/>
              <a:gd name="T35" fmla="*/ 3201 h 3600"/>
              <a:gd name="T36" fmla="*/ 2380 w 3040"/>
              <a:gd name="T37" fmla="*/ 3587 h 3600"/>
              <a:gd name="T38" fmla="*/ 1983 w 3040"/>
              <a:gd name="T39" fmla="*/ 3492 h 3600"/>
              <a:gd name="T40" fmla="*/ 1532 w 3040"/>
              <a:gd name="T41" fmla="*/ 3574 h 3600"/>
              <a:gd name="T42" fmla="*/ 772 w 3040"/>
              <a:gd name="T43" fmla="*/ 3415 h 3600"/>
              <a:gd name="T44" fmla="*/ 1755 w 3040"/>
              <a:gd name="T45" fmla="*/ 878 h 3600"/>
              <a:gd name="T46" fmla="*/ 2665 w 3040"/>
              <a:gd name="T47" fmla="*/ 2381 h 3600"/>
              <a:gd name="T48" fmla="*/ 2616 w 3040"/>
              <a:gd name="T49" fmla="*/ 2823 h 3600"/>
              <a:gd name="T50" fmla="*/ 2779 w 3040"/>
              <a:gd name="T51" fmla="*/ 2311 h 3600"/>
              <a:gd name="T52" fmla="*/ 2687 w 3040"/>
              <a:gd name="T53" fmla="*/ 1570 h 3600"/>
              <a:gd name="T54" fmla="*/ 1987 w 3040"/>
              <a:gd name="T55" fmla="*/ 925 h 3600"/>
              <a:gd name="T56" fmla="*/ 1784 w 3040"/>
              <a:gd name="T57" fmla="*/ 3159 h 3600"/>
              <a:gd name="T58" fmla="*/ 1649 w 3040"/>
              <a:gd name="T59" fmla="*/ 2690 h 3600"/>
              <a:gd name="T60" fmla="*/ 1510 w 3040"/>
              <a:gd name="T61" fmla="*/ 2151 h 3600"/>
              <a:gd name="T62" fmla="*/ 1474 w 3040"/>
              <a:gd name="T63" fmla="*/ 1718 h 3600"/>
              <a:gd name="T64" fmla="*/ 1396 w 3040"/>
              <a:gd name="T65" fmla="*/ 1135 h 3600"/>
              <a:gd name="T66" fmla="*/ 1375 w 3040"/>
              <a:gd name="T67" fmla="*/ 1489 h 3600"/>
              <a:gd name="T68" fmla="*/ 1336 w 3040"/>
              <a:gd name="T69" fmla="*/ 2112 h 3600"/>
              <a:gd name="T70" fmla="*/ 1352 w 3040"/>
              <a:gd name="T71" fmla="*/ 2329 h 3600"/>
              <a:gd name="T72" fmla="*/ 1766 w 3040"/>
              <a:gd name="T73" fmla="*/ 3144 h 3600"/>
              <a:gd name="T74" fmla="*/ 143 w 3040"/>
              <a:gd name="T75" fmla="*/ 2252 h 3600"/>
              <a:gd name="T76" fmla="*/ 143 w 3040"/>
              <a:gd name="T77" fmla="*/ 2006 h 3600"/>
              <a:gd name="T78" fmla="*/ 2535 w 3040"/>
              <a:gd name="T79" fmla="*/ 2007 h 3600"/>
              <a:gd name="T80" fmla="*/ 1311 w 3040"/>
              <a:gd name="T81" fmla="*/ 1026 h 3600"/>
              <a:gd name="T82" fmla="*/ 1311 w 3040"/>
              <a:gd name="T83" fmla="*/ 745 h 3600"/>
              <a:gd name="T84" fmla="*/ 1609 w 3040"/>
              <a:gd name="T85" fmla="*/ 3180 h 3600"/>
              <a:gd name="T86" fmla="*/ 1609 w 3040"/>
              <a:gd name="T87" fmla="*/ 34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40" h="3600">
                <a:moveTo>
                  <a:pt x="765" y="3411"/>
                </a:moveTo>
                <a:cubicBezTo>
                  <a:pt x="734" y="3452"/>
                  <a:pt x="704" y="3491"/>
                  <a:pt x="673" y="3532"/>
                </a:cubicBezTo>
                <a:cubicBezTo>
                  <a:pt x="569" y="3532"/>
                  <a:pt x="463" y="3532"/>
                  <a:pt x="358" y="3532"/>
                </a:cubicBezTo>
                <a:cubicBezTo>
                  <a:pt x="351" y="3522"/>
                  <a:pt x="356" y="3515"/>
                  <a:pt x="362" y="3507"/>
                </a:cubicBezTo>
                <a:cubicBezTo>
                  <a:pt x="401" y="3458"/>
                  <a:pt x="439" y="3408"/>
                  <a:pt x="477" y="3359"/>
                </a:cubicBezTo>
                <a:cubicBezTo>
                  <a:pt x="493" y="3338"/>
                  <a:pt x="508" y="3317"/>
                  <a:pt x="523" y="3296"/>
                </a:cubicBezTo>
                <a:cubicBezTo>
                  <a:pt x="528" y="3290"/>
                  <a:pt x="530" y="3283"/>
                  <a:pt x="534" y="3276"/>
                </a:cubicBezTo>
                <a:cubicBezTo>
                  <a:pt x="539" y="3266"/>
                  <a:pt x="545" y="3256"/>
                  <a:pt x="552" y="3243"/>
                </a:cubicBezTo>
                <a:cubicBezTo>
                  <a:pt x="540" y="3231"/>
                  <a:pt x="525" y="3218"/>
                  <a:pt x="511" y="3205"/>
                </a:cubicBezTo>
                <a:cubicBezTo>
                  <a:pt x="468" y="3163"/>
                  <a:pt x="424" y="3122"/>
                  <a:pt x="383" y="3078"/>
                </a:cubicBezTo>
                <a:cubicBezTo>
                  <a:pt x="311" y="3002"/>
                  <a:pt x="256" y="2915"/>
                  <a:pt x="203" y="2825"/>
                </a:cubicBezTo>
                <a:cubicBezTo>
                  <a:pt x="114" y="2673"/>
                  <a:pt x="51" y="2512"/>
                  <a:pt x="24" y="2338"/>
                </a:cubicBezTo>
                <a:cubicBezTo>
                  <a:pt x="3" y="2207"/>
                  <a:pt x="0" y="2076"/>
                  <a:pt x="19" y="1945"/>
                </a:cubicBezTo>
                <a:cubicBezTo>
                  <a:pt x="58" y="1666"/>
                  <a:pt x="174" y="1423"/>
                  <a:pt x="363" y="1214"/>
                </a:cubicBezTo>
                <a:cubicBezTo>
                  <a:pt x="403" y="1170"/>
                  <a:pt x="442" y="1125"/>
                  <a:pt x="486" y="1086"/>
                </a:cubicBezTo>
                <a:cubicBezTo>
                  <a:pt x="501" y="1072"/>
                  <a:pt x="517" y="1061"/>
                  <a:pt x="531" y="1046"/>
                </a:cubicBezTo>
                <a:cubicBezTo>
                  <a:pt x="578" y="994"/>
                  <a:pt x="643" y="969"/>
                  <a:pt x="702" y="935"/>
                </a:cubicBezTo>
                <a:cubicBezTo>
                  <a:pt x="721" y="923"/>
                  <a:pt x="742" y="914"/>
                  <a:pt x="762" y="903"/>
                </a:cubicBezTo>
                <a:cubicBezTo>
                  <a:pt x="769" y="899"/>
                  <a:pt x="775" y="893"/>
                  <a:pt x="783" y="888"/>
                </a:cubicBezTo>
                <a:cubicBezTo>
                  <a:pt x="783" y="882"/>
                  <a:pt x="783" y="876"/>
                  <a:pt x="783" y="870"/>
                </a:cubicBezTo>
                <a:cubicBezTo>
                  <a:pt x="780" y="723"/>
                  <a:pt x="828" y="595"/>
                  <a:pt x="919" y="480"/>
                </a:cubicBezTo>
                <a:cubicBezTo>
                  <a:pt x="969" y="419"/>
                  <a:pt x="1028" y="369"/>
                  <a:pt x="1095" y="330"/>
                </a:cubicBezTo>
                <a:cubicBezTo>
                  <a:pt x="1125" y="313"/>
                  <a:pt x="1158" y="302"/>
                  <a:pt x="1189" y="289"/>
                </a:cubicBezTo>
                <a:cubicBezTo>
                  <a:pt x="1194" y="287"/>
                  <a:pt x="1201" y="289"/>
                  <a:pt x="1206" y="289"/>
                </a:cubicBezTo>
                <a:cubicBezTo>
                  <a:pt x="1212" y="285"/>
                  <a:pt x="1218" y="281"/>
                  <a:pt x="1226" y="276"/>
                </a:cubicBezTo>
                <a:cubicBezTo>
                  <a:pt x="1216" y="245"/>
                  <a:pt x="1212" y="211"/>
                  <a:pt x="1217" y="177"/>
                </a:cubicBezTo>
                <a:cubicBezTo>
                  <a:pt x="1234" y="73"/>
                  <a:pt x="1336" y="0"/>
                  <a:pt x="1440" y="21"/>
                </a:cubicBezTo>
                <a:cubicBezTo>
                  <a:pt x="1476" y="29"/>
                  <a:pt x="1511" y="42"/>
                  <a:pt x="1540" y="67"/>
                </a:cubicBezTo>
                <a:cubicBezTo>
                  <a:pt x="1600" y="120"/>
                  <a:pt x="1616" y="201"/>
                  <a:pt x="1583" y="277"/>
                </a:cubicBezTo>
                <a:cubicBezTo>
                  <a:pt x="1579" y="284"/>
                  <a:pt x="1576" y="292"/>
                  <a:pt x="1572" y="300"/>
                </a:cubicBezTo>
                <a:cubicBezTo>
                  <a:pt x="1595" y="310"/>
                  <a:pt x="1619" y="317"/>
                  <a:pt x="1639" y="329"/>
                </a:cubicBezTo>
                <a:cubicBezTo>
                  <a:pt x="1667" y="346"/>
                  <a:pt x="1693" y="365"/>
                  <a:pt x="1717" y="387"/>
                </a:cubicBezTo>
                <a:cubicBezTo>
                  <a:pt x="1813" y="473"/>
                  <a:pt x="1883" y="577"/>
                  <a:pt x="1926" y="699"/>
                </a:cubicBezTo>
                <a:cubicBezTo>
                  <a:pt x="1937" y="729"/>
                  <a:pt x="1952" y="746"/>
                  <a:pt x="1984" y="754"/>
                </a:cubicBezTo>
                <a:cubicBezTo>
                  <a:pt x="2059" y="771"/>
                  <a:pt x="2130" y="798"/>
                  <a:pt x="2200" y="827"/>
                </a:cubicBezTo>
                <a:cubicBezTo>
                  <a:pt x="2259" y="852"/>
                  <a:pt x="2313" y="883"/>
                  <a:pt x="2367" y="917"/>
                </a:cubicBezTo>
                <a:cubicBezTo>
                  <a:pt x="2433" y="959"/>
                  <a:pt x="2497" y="1005"/>
                  <a:pt x="2557" y="1055"/>
                </a:cubicBezTo>
                <a:cubicBezTo>
                  <a:pt x="2595" y="1087"/>
                  <a:pt x="2630" y="1124"/>
                  <a:pt x="2664" y="1161"/>
                </a:cubicBezTo>
                <a:cubicBezTo>
                  <a:pt x="2691" y="1191"/>
                  <a:pt x="2717" y="1223"/>
                  <a:pt x="2742" y="1256"/>
                </a:cubicBezTo>
                <a:cubicBezTo>
                  <a:pt x="2793" y="1328"/>
                  <a:pt x="2832" y="1406"/>
                  <a:pt x="2867" y="1486"/>
                </a:cubicBezTo>
                <a:cubicBezTo>
                  <a:pt x="2878" y="1511"/>
                  <a:pt x="2891" y="1534"/>
                  <a:pt x="2901" y="1559"/>
                </a:cubicBezTo>
                <a:cubicBezTo>
                  <a:pt x="2919" y="1602"/>
                  <a:pt x="2936" y="1645"/>
                  <a:pt x="2951" y="1689"/>
                </a:cubicBezTo>
                <a:cubicBezTo>
                  <a:pt x="2966" y="1734"/>
                  <a:pt x="2981" y="1780"/>
                  <a:pt x="2993" y="1826"/>
                </a:cubicBezTo>
                <a:cubicBezTo>
                  <a:pt x="3003" y="1869"/>
                  <a:pt x="3008" y="1913"/>
                  <a:pt x="3015" y="1957"/>
                </a:cubicBezTo>
                <a:cubicBezTo>
                  <a:pt x="3018" y="1973"/>
                  <a:pt x="3022" y="1990"/>
                  <a:pt x="3025" y="2006"/>
                </a:cubicBezTo>
                <a:cubicBezTo>
                  <a:pt x="3040" y="2086"/>
                  <a:pt x="3040" y="2167"/>
                  <a:pt x="3036" y="2248"/>
                </a:cubicBezTo>
                <a:cubicBezTo>
                  <a:pt x="3033" y="2294"/>
                  <a:pt x="3030" y="2341"/>
                  <a:pt x="3024" y="2387"/>
                </a:cubicBezTo>
                <a:cubicBezTo>
                  <a:pt x="3017" y="2434"/>
                  <a:pt x="3007" y="2482"/>
                  <a:pt x="2995" y="2528"/>
                </a:cubicBezTo>
                <a:cubicBezTo>
                  <a:pt x="2988" y="2554"/>
                  <a:pt x="2975" y="2579"/>
                  <a:pt x="2964" y="2604"/>
                </a:cubicBezTo>
                <a:cubicBezTo>
                  <a:pt x="2951" y="2636"/>
                  <a:pt x="2939" y="2669"/>
                  <a:pt x="2923" y="2700"/>
                </a:cubicBezTo>
                <a:cubicBezTo>
                  <a:pt x="2886" y="2771"/>
                  <a:pt x="2844" y="2839"/>
                  <a:pt x="2796" y="2904"/>
                </a:cubicBezTo>
                <a:cubicBezTo>
                  <a:pt x="2776" y="2930"/>
                  <a:pt x="2759" y="2959"/>
                  <a:pt x="2739" y="2986"/>
                </a:cubicBezTo>
                <a:cubicBezTo>
                  <a:pt x="2702" y="3037"/>
                  <a:pt x="2655" y="3079"/>
                  <a:pt x="2609" y="3120"/>
                </a:cubicBezTo>
                <a:cubicBezTo>
                  <a:pt x="2579" y="3147"/>
                  <a:pt x="2551" y="3177"/>
                  <a:pt x="2519" y="3201"/>
                </a:cubicBezTo>
                <a:cubicBezTo>
                  <a:pt x="2434" y="3266"/>
                  <a:pt x="2349" y="3330"/>
                  <a:pt x="2254" y="3379"/>
                </a:cubicBezTo>
                <a:cubicBezTo>
                  <a:pt x="2256" y="3404"/>
                  <a:pt x="2272" y="3423"/>
                  <a:pt x="2285" y="3444"/>
                </a:cubicBezTo>
                <a:cubicBezTo>
                  <a:pt x="2317" y="3491"/>
                  <a:pt x="2348" y="3539"/>
                  <a:pt x="2380" y="3587"/>
                </a:cubicBezTo>
                <a:cubicBezTo>
                  <a:pt x="2382" y="3590"/>
                  <a:pt x="2384" y="3594"/>
                  <a:pt x="2388" y="3600"/>
                </a:cubicBezTo>
                <a:cubicBezTo>
                  <a:pt x="2280" y="3600"/>
                  <a:pt x="2174" y="3600"/>
                  <a:pt x="2066" y="3600"/>
                </a:cubicBezTo>
                <a:cubicBezTo>
                  <a:pt x="2039" y="3565"/>
                  <a:pt x="2011" y="3529"/>
                  <a:pt x="1983" y="3492"/>
                </a:cubicBezTo>
                <a:cubicBezTo>
                  <a:pt x="1964" y="3497"/>
                  <a:pt x="1945" y="3502"/>
                  <a:pt x="1926" y="3507"/>
                </a:cubicBezTo>
                <a:cubicBezTo>
                  <a:pt x="1845" y="3533"/>
                  <a:pt x="1763" y="3551"/>
                  <a:pt x="1679" y="3563"/>
                </a:cubicBezTo>
                <a:cubicBezTo>
                  <a:pt x="1631" y="3571"/>
                  <a:pt x="1581" y="3573"/>
                  <a:pt x="1532" y="3574"/>
                </a:cubicBezTo>
                <a:cubicBezTo>
                  <a:pt x="1467" y="3576"/>
                  <a:pt x="1402" y="3574"/>
                  <a:pt x="1338" y="3574"/>
                </a:cubicBezTo>
                <a:cubicBezTo>
                  <a:pt x="1255" y="3574"/>
                  <a:pt x="1174" y="3568"/>
                  <a:pt x="1093" y="3552"/>
                </a:cubicBezTo>
                <a:cubicBezTo>
                  <a:pt x="976" y="3529"/>
                  <a:pt x="868" y="3486"/>
                  <a:pt x="772" y="3415"/>
                </a:cubicBezTo>
                <a:cubicBezTo>
                  <a:pt x="770" y="3413"/>
                  <a:pt x="768" y="3412"/>
                  <a:pt x="765" y="3411"/>
                </a:cubicBezTo>
                <a:close/>
                <a:moveTo>
                  <a:pt x="1779" y="863"/>
                </a:moveTo>
                <a:cubicBezTo>
                  <a:pt x="1773" y="867"/>
                  <a:pt x="1766" y="872"/>
                  <a:pt x="1755" y="878"/>
                </a:cubicBezTo>
                <a:cubicBezTo>
                  <a:pt x="1781" y="892"/>
                  <a:pt x="1803" y="906"/>
                  <a:pt x="1825" y="917"/>
                </a:cubicBezTo>
                <a:cubicBezTo>
                  <a:pt x="1935" y="974"/>
                  <a:pt x="2037" y="1041"/>
                  <a:pt x="2128" y="1124"/>
                </a:cubicBezTo>
                <a:cubicBezTo>
                  <a:pt x="2497" y="1461"/>
                  <a:pt x="2669" y="1884"/>
                  <a:pt x="2665" y="2381"/>
                </a:cubicBezTo>
                <a:cubicBezTo>
                  <a:pt x="2664" y="2557"/>
                  <a:pt x="2632" y="2727"/>
                  <a:pt x="2575" y="2893"/>
                </a:cubicBezTo>
                <a:cubicBezTo>
                  <a:pt x="2573" y="2899"/>
                  <a:pt x="2572" y="2904"/>
                  <a:pt x="2571" y="2910"/>
                </a:cubicBezTo>
                <a:cubicBezTo>
                  <a:pt x="2589" y="2882"/>
                  <a:pt x="2603" y="2853"/>
                  <a:pt x="2616" y="2823"/>
                </a:cubicBezTo>
                <a:cubicBezTo>
                  <a:pt x="2635" y="2774"/>
                  <a:pt x="2653" y="2724"/>
                  <a:pt x="2671" y="2676"/>
                </a:cubicBezTo>
                <a:cubicBezTo>
                  <a:pt x="2688" y="2630"/>
                  <a:pt x="2709" y="2586"/>
                  <a:pt x="2723" y="2539"/>
                </a:cubicBezTo>
                <a:cubicBezTo>
                  <a:pt x="2745" y="2464"/>
                  <a:pt x="2771" y="2390"/>
                  <a:pt x="2779" y="2311"/>
                </a:cubicBezTo>
                <a:cubicBezTo>
                  <a:pt x="2788" y="2229"/>
                  <a:pt x="2798" y="2148"/>
                  <a:pt x="2798" y="2065"/>
                </a:cubicBezTo>
                <a:cubicBezTo>
                  <a:pt x="2798" y="2022"/>
                  <a:pt x="2792" y="1979"/>
                  <a:pt x="2787" y="1936"/>
                </a:cubicBezTo>
                <a:cubicBezTo>
                  <a:pt x="2771" y="1809"/>
                  <a:pt x="2739" y="1687"/>
                  <a:pt x="2687" y="1570"/>
                </a:cubicBezTo>
                <a:cubicBezTo>
                  <a:pt x="2611" y="1401"/>
                  <a:pt x="2503" y="1256"/>
                  <a:pt x="2353" y="1145"/>
                </a:cubicBezTo>
                <a:cubicBezTo>
                  <a:pt x="2293" y="1101"/>
                  <a:pt x="2231" y="1061"/>
                  <a:pt x="2170" y="1019"/>
                </a:cubicBezTo>
                <a:cubicBezTo>
                  <a:pt x="2113" y="980"/>
                  <a:pt x="2051" y="950"/>
                  <a:pt x="1987" y="925"/>
                </a:cubicBezTo>
                <a:cubicBezTo>
                  <a:pt x="1921" y="899"/>
                  <a:pt x="1852" y="879"/>
                  <a:pt x="1779" y="863"/>
                </a:cubicBezTo>
                <a:close/>
                <a:moveTo>
                  <a:pt x="1778" y="3161"/>
                </a:moveTo>
                <a:cubicBezTo>
                  <a:pt x="1780" y="3160"/>
                  <a:pt x="1782" y="3160"/>
                  <a:pt x="1784" y="3159"/>
                </a:cubicBezTo>
                <a:cubicBezTo>
                  <a:pt x="1784" y="3144"/>
                  <a:pt x="1779" y="3130"/>
                  <a:pt x="1775" y="3116"/>
                </a:cubicBezTo>
                <a:cubicBezTo>
                  <a:pt x="1756" y="3048"/>
                  <a:pt x="1737" y="2981"/>
                  <a:pt x="1717" y="2913"/>
                </a:cubicBezTo>
                <a:cubicBezTo>
                  <a:pt x="1695" y="2839"/>
                  <a:pt x="1671" y="2765"/>
                  <a:pt x="1649" y="2690"/>
                </a:cubicBezTo>
                <a:cubicBezTo>
                  <a:pt x="1634" y="2644"/>
                  <a:pt x="1619" y="2597"/>
                  <a:pt x="1606" y="2550"/>
                </a:cubicBezTo>
                <a:cubicBezTo>
                  <a:pt x="1579" y="2455"/>
                  <a:pt x="1555" y="2359"/>
                  <a:pt x="1528" y="2263"/>
                </a:cubicBezTo>
                <a:cubicBezTo>
                  <a:pt x="1517" y="2226"/>
                  <a:pt x="1505" y="2190"/>
                  <a:pt x="1510" y="2151"/>
                </a:cubicBezTo>
                <a:cubicBezTo>
                  <a:pt x="1512" y="2136"/>
                  <a:pt x="1509" y="2120"/>
                  <a:pt x="1508" y="2105"/>
                </a:cubicBezTo>
                <a:cubicBezTo>
                  <a:pt x="1506" y="2061"/>
                  <a:pt x="1505" y="2017"/>
                  <a:pt x="1501" y="1973"/>
                </a:cubicBezTo>
                <a:cubicBezTo>
                  <a:pt x="1493" y="1888"/>
                  <a:pt x="1484" y="1803"/>
                  <a:pt x="1474" y="1718"/>
                </a:cubicBezTo>
                <a:cubicBezTo>
                  <a:pt x="1463" y="1622"/>
                  <a:pt x="1452" y="1527"/>
                  <a:pt x="1440" y="1432"/>
                </a:cubicBezTo>
                <a:cubicBezTo>
                  <a:pt x="1427" y="1338"/>
                  <a:pt x="1414" y="1243"/>
                  <a:pt x="1402" y="1148"/>
                </a:cubicBezTo>
                <a:cubicBezTo>
                  <a:pt x="1401" y="1146"/>
                  <a:pt x="1399" y="1143"/>
                  <a:pt x="1396" y="1135"/>
                </a:cubicBezTo>
                <a:cubicBezTo>
                  <a:pt x="1395" y="1143"/>
                  <a:pt x="1393" y="1146"/>
                  <a:pt x="1393" y="1148"/>
                </a:cubicBezTo>
                <a:cubicBezTo>
                  <a:pt x="1389" y="1209"/>
                  <a:pt x="1386" y="1270"/>
                  <a:pt x="1382" y="1331"/>
                </a:cubicBezTo>
                <a:cubicBezTo>
                  <a:pt x="1380" y="1384"/>
                  <a:pt x="1378" y="1436"/>
                  <a:pt x="1375" y="1489"/>
                </a:cubicBezTo>
                <a:cubicBezTo>
                  <a:pt x="1373" y="1527"/>
                  <a:pt x="1368" y="1565"/>
                  <a:pt x="1365" y="1603"/>
                </a:cubicBezTo>
                <a:cubicBezTo>
                  <a:pt x="1360" y="1688"/>
                  <a:pt x="1355" y="1773"/>
                  <a:pt x="1350" y="1859"/>
                </a:cubicBezTo>
                <a:cubicBezTo>
                  <a:pt x="1345" y="1943"/>
                  <a:pt x="1340" y="2028"/>
                  <a:pt x="1336" y="2112"/>
                </a:cubicBezTo>
                <a:cubicBezTo>
                  <a:pt x="1333" y="2155"/>
                  <a:pt x="1332" y="2198"/>
                  <a:pt x="1329" y="2240"/>
                </a:cubicBezTo>
                <a:cubicBezTo>
                  <a:pt x="1326" y="2270"/>
                  <a:pt x="1327" y="2297"/>
                  <a:pt x="1348" y="2321"/>
                </a:cubicBezTo>
                <a:cubicBezTo>
                  <a:pt x="1350" y="2323"/>
                  <a:pt x="1351" y="2326"/>
                  <a:pt x="1352" y="2329"/>
                </a:cubicBezTo>
                <a:cubicBezTo>
                  <a:pt x="1364" y="2353"/>
                  <a:pt x="1376" y="2378"/>
                  <a:pt x="1389" y="2402"/>
                </a:cubicBezTo>
                <a:cubicBezTo>
                  <a:pt x="1442" y="2504"/>
                  <a:pt x="1496" y="2605"/>
                  <a:pt x="1549" y="2708"/>
                </a:cubicBezTo>
                <a:cubicBezTo>
                  <a:pt x="1623" y="2852"/>
                  <a:pt x="1701" y="2995"/>
                  <a:pt x="1766" y="3144"/>
                </a:cubicBezTo>
                <a:cubicBezTo>
                  <a:pt x="1769" y="3150"/>
                  <a:pt x="1774" y="3155"/>
                  <a:pt x="1778" y="3161"/>
                </a:cubicBezTo>
                <a:close/>
                <a:moveTo>
                  <a:pt x="143" y="2006"/>
                </a:moveTo>
                <a:cubicBezTo>
                  <a:pt x="143" y="2090"/>
                  <a:pt x="143" y="2171"/>
                  <a:pt x="143" y="2252"/>
                </a:cubicBezTo>
                <a:cubicBezTo>
                  <a:pt x="255" y="2252"/>
                  <a:pt x="365" y="2252"/>
                  <a:pt x="476" y="2252"/>
                </a:cubicBezTo>
                <a:cubicBezTo>
                  <a:pt x="476" y="2170"/>
                  <a:pt x="476" y="2089"/>
                  <a:pt x="476" y="2006"/>
                </a:cubicBezTo>
                <a:cubicBezTo>
                  <a:pt x="365" y="2006"/>
                  <a:pt x="255" y="2006"/>
                  <a:pt x="143" y="2006"/>
                </a:cubicBezTo>
                <a:close/>
                <a:moveTo>
                  <a:pt x="2202" y="2252"/>
                </a:moveTo>
                <a:cubicBezTo>
                  <a:pt x="2315" y="2252"/>
                  <a:pt x="2424" y="2252"/>
                  <a:pt x="2535" y="2252"/>
                </a:cubicBezTo>
                <a:cubicBezTo>
                  <a:pt x="2535" y="2169"/>
                  <a:pt x="2535" y="2088"/>
                  <a:pt x="2535" y="2007"/>
                </a:cubicBezTo>
                <a:cubicBezTo>
                  <a:pt x="2423" y="2007"/>
                  <a:pt x="2313" y="2007"/>
                  <a:pt x="2202" y="2007"/>
                </a:cubicBezTo>
                <a:cubicBezTo>
                  <a:pt x="2202" y="2089"/>
                  <a:pt x="2202" y="2170"/>
                  <a:pt x="2202" y="2252"/>
                </a:cubicBezTo>
                <a:close/>
                <a:moveTo>
                  <a:pt x="1311" y="1026"/>
                </a:moveTo>
                <a:cubicBezTo>
                  <a:pt x="1394" y="1026"/>
                  <a:pt x="1475" y="1026"/>
                  <a:pt x="1556" y="1026"/>
                </a:cubicBezTo>
                <a:cubicBezTo>
                  <a:pt x="1560" y="989"/>
                  <a:pt x="1559" y="760"/>
                  <a:pt x="1554" y="745"/>
                </a:cubicBezTo>
                <a:cubicBezTo>
                  <a:pt x="1473" y="745"/>
                  <a:pt x="1393" y="745"/>
                  <a:pt x="1311" y="745"/>
                </a:cubicBezTo>
                <a:cubicBezTo>
                  <a:pt x="1311" y="839"/>
                  <a:pt x="1311" y="932"/>
                  <a:pt x="1311" y="1026"/>
                </a:cubicBezTo>
                <a:close/>
                <a:moveTo>
                  <a:pt x="1609" y="3456"/>
                </a:moveTo>
                <a:cubicBezTo>
                  <a:pt x="1609" y="3363"/>
                  <a:pt x="1609" y="3272"/>
                  <a:pt x="1609" y="3180"/>
                </a:cubicBezTo>
                <a:cubicBezTo>
                  <a:pt x="1537" y="3180"/>
                  <a:pt x="1466" y="3180"/>
                  <a:pt x="1395" y="3180"/>
                </a:cubicBezTo>
                <a:cubicBezTo>
                  <a:pt x="1395" y="3273"/>
                  <a:pt x="1395" y="3364"/>
                  <a:pt x="1395" y="3456"/>
                </a:cubicBezTo>
                <a:cubicBezTo>
                  <a:pt x="1466" y="3456"/>
                  <a:pt x="1536" y="3456"/>
                  <a:pt x="1609" y="3456"/>
                </a:cubicBezTo>
                <a:close/>
              </a:path>
            </a:pathLst>
          </a:custGeom>
          <a:solidFill>
            <a:schemeClr val="tx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pic>
        <p:nvPicPr>
          <p:cNvPr id="37" name="Picture 24">
            <a:extLst>
              <a:ext uri="{FF2B5EF4-FFF2-40B4-BE49-F238E27FC236}">
                <a16:creationId xmlns:a16="http://schemas.microsoft.com/office/drawing/2014/main" id="{D9566A1E-9885-4787-95B5-24D92E327470}"/>
              </a:ext>
            </a:extLst>
          </p:cNvPr>
          <p:cNvPicPr>
            <a:picLocks noChangeAspect="1" noChangeArrowheads="1"/>
          </p:cNvPicPr>
          <p:nvPr/>
        </p:nvPicPr>
        <p:blipFill>
          <a:blip r:embed="rId3" cstate="print">
            <a:duotone>
              <a:prstClr val="black"/>
              <a:schemeClr val="tx2">
                <a:tint val="45000"/>
                <a:satMod val="400000"/>
              </a:schemeClr>
            </a:duotone>
            <a:lum bright="-33000" contrast="23000"/>
            <a:extLst>
              <a:ext uri="{28A0092B-C50C-407E-A947-70E740481C1C}">
                <a14:useLocalDpi xmlns:a14="http://schemas.microsoft.com/office/drawing/2010/main" val="0"/>
              </a:ext>
            </a:extLst>
          </a:blip>
          <a:srcRect/>
          <a:stretch>
            <a:fillRect/>
          </a:stretch>
        </p:blipFill>
        <p:spPr bwMode="gray">
          <a:xfrm>
            <a:off x="4715215" y="3403135"/>
            <a:ext cx="267017" cy="229057"/>
          </a:xfrm>
          <a:prstGeom prst="rect">
            <a:avLst/>
          </a:prstGeom>
          <a:noFill/>
          <a:ln>
            <a:noFill/>
          </a:ln>
          <a:effectLst/>
        </p:spPr>
      </p:pic>
      <p:sp>
        <p:nvSpPr>
          <p:cNvPr id="41" name="Rechteck 80">
            <a:extLst>
              <a:ext uri="{FF2B5EF4-FFF2-40B4-BE49-F238E27FC236}">
                <a16:creationId xmlns:a16="http://schemas.microsoft.com/office/drawing/2014/main" id="{B243A9D4-EC03-4EDD-834B-33589681BCA0}"/>
              </a:ext>
            </a:extLst>
          </p:cNvPr>
          <p:cNvSpPr/>
          <p:nvPr/>
        </p:nvSpPr>
        <p:spPr>
          <a:xfrm>
            <a:off x="4607260" y="4368820"/>
            <a:ext cx="352982" cy="523220"/>
          </a:xfrm>
          <a:prstGeom prst="rect">
            <a:avLst/>
          </a:prstGeom>
        </p:spPr>
        <p:txBody>
          <a:bodyPr wrap="none">
            <a:spAutoFit/>
          </a:bodyPr>
          <a:lstStyle/>
          <a:p>
            <a:pPr fontAlgn="base">
              <a:spcBef>
                <a:spcPct val="0"/>
              </a:spcBef>
              <a:spcAft>
                <a:spcPct val="0"/>
              </a:spcAft>
            </a:pPr>
            <a:r>
              <a:rPr lang="en-GB" sz="2800" dirty="0">
                <a:solidFill>
                  <a:srgbClr val="C6562C"/>
                </a:solidFill>
                <a:latin typeface="Garamond" panose="02020404030301010803" pitchFamily="18" charset="0"/>
              </a:rPr>
              <a:t>1</a:t>
            </a:r>
          </a:p>
        </p:txBody>
      </p:sp>
      <p:sp>
        <p:nvSpPr>
          <p:cNvPr id="42" name="Rechteck 81">
            <a:extLst>
              <a:ext uri="{FF2B5EF4-FFF2-40B4-BE49-F238E27FC236}">
                <a16:creationId xmlns:a16="http://schemas.microsoft.com/office/drawing/2014/main" id="{34460ABD-4233-4AAF-BC1E-C621FEE70044}"/>
              </a:ext>
            </a:extLst>
          </p:cNvPr>
          <p:cNvSpPr/>
          <p:nvPr/>
        </p:nvSpPr>
        <p:spPr>
          <a:xfrm>
            <a:off x="4607260" y="4991472"/>
            <a:ext cx="352982" cy="523220"/>
          </a:xfrm>
          <a:prstGeom prst="rect">
            <a:avLst/>
          </a:prstGeom>
        </p:spPr>
        <p:txBody>
          <a:bodyPr wrap="none">
            <a:spAutoFit/>
          </a:bodyPr>
          <a:lstStyle/>
          <a:p>
            <a:pPr fontAlgn="base">
              <a:spcBef>
                <a:spcPct val="0"/>
              </a:spcBef>
              <a:spcAft>
                <a:spcPct val="0"/>
              </a:spcAft>
            </a:pPr>
            <a:r>
              <a:rPr lang="en-GB" sz="2800" dirty="0">
                <a:solidFill>
                  <a:srgbClr val="C6562C"/>
                </a:solidFill>
                <a:latin typeface="Garamond" panose="02020404030301010803" pitchFamily="18" charset="0"/>
              </a:rPr>
              <a:t>2</a:t>
            </a:r>
          </a:p>
        </p:txBody>
      </p:sp>
      <p:sp>
        <p:nvSpPr>
          <p:cNvPr id="44" name="Rechteck 82">
            <a:extLst>
              <a:ext uri="{FF2B5EF4-FFF2-40B4-BE49-F238E27FC236}">
                <a16:creationId xmlns:a16="http://schemas.microsoft.com/office/drawing/2014/main" id="{25BC83B0-C8CA-4A8E-A9AF-382F68E98CDD}"/>
              </a:ext>
            </a:extLst>
          </p:cNvPr>
          <p:cNvSpPr/>
          <p:nvPr/>
        </p:nvSpPr>
        <p:spPr>
          <a:xfrm>
            <a:off x="4607260" y="5648980"/>
            <a:ext cx="352982" cy="523220"/>
          </a:xfrm>
          <a:prstGeom prst="rect">
            <a:avLst/>
          </a:prstGeom>
        </p:spPr>
        <p:txBody>
          <a:bodyPr wrap="none">
            <a:spAutoFit/>
          </a:bodyPr>
          <a:lstStyle/>
          <a:p>
            <a:pPr fontAlgn="base">
              <a:spcBef>
                <a:spcPct val="0"/>
              </a:spcBef>
              <a:spcAft>
                <a:spcPct val="0"/>
              </a:spcAft>
            </a:pPr>
            <a:r>
              <a:rPr lang="en-GB" sz="2800" dirty="0">
                <a:solidFill>
                  <a:srgbClr val="C6562C"/>
                </a:solidFill>
                <a:latin typeface="Garamond" panose="02020404030301010803" pitchFamily="18" charset="0"/>
              </a:rPr>
              <a:t>3</a:t>
            </a:r>
          </a:p>
        </p:txBody>
      </p:sp>
      <p:sp>
        <p:nvSpPr>
          <p:cNvPr id="49" name="Inhaltsplatzhalter 7">
            <a:extLst>
              <a:ext uri="{FF2B5EF4-FFF2-40B4-BE49-F238E27FC236}">
                <a16:creationId xmlns:a16="http://schemas.microsoft.com/office/drawing/2014/main" id="{2BF46016-3E96-4690-96B1-AF0D7A0F2979}"/>
              </a:ext>
            </a:extLst>
          </p:cNvPr>
          <p:cNvSpPr txBox="1">
            <a:spLocks/>
          </p:cNvSpPr>
          <p:nvPr/>
        </p:nvSpPr>
        <p:spPr bwMode="gray">
          <a:xfrm>
            <a:off x="4721852" y="3979010"/>
            <a:ext cx="4174175" cy="2329712"/>
          </a:xfrm>
          <a:prstGeom prst="rect">
            <a:avLst/>
          </a:prstGeom>
          <a:no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a:spcBef>
                <a:spcPts val="1400"/>
              </a:spcBef>
              <a:spcAft>
                <a:spcPts val="1400"/>
              </a:spcAft>
            </a:pPr>
            <a:r>
              <a:rPr lang="de-DE" sz="1100" b="1" dirty="0">
                <a:solidFill>
                  <a:schemeClr val="tx2"/>
                </a:solidFill>
              </a:rPr>
              <a:t>Profitieren Sie von</a:t>
            </a:r>
          </a:p>
          <a:p>
            <a:pPr marL="387350" indent="7938">
              <a:spcBef>
                <a:spcPts val="600"/>
              </a:spcBef>
              <a:spcAft>
                <a:spcPts val="600"/>
              </a:spcAft>
              <a:buClr>
                <a:srgbClr val="C6562C"/>
              </a:buClr>
            </a:pPr>
            <a:r>
              <a:rPr lang="de-DE" sz="1000" dirty="0">
                <a:solidFill>
                  <a:prstClr val="black"/>
                </a:solidFill>
              </a:rPr>
              <a:t>Einer deutlich geringeren durchschnittlichen Marktkapitalisierung im Vergleich zu Wettbewerbern</a:t>
            </a:r>
            <a:br>
              <a:rPr lang="de-DE" sz="1000" dirty="0">
                <a:solidFill>
                  <a:prstClr val="black"/>
                </a:solidFill>
              </a:rPr>
            </a:br>
            <a:r>
              <a:rPr lang="de-DE" sz="600" dirty="0">
                <a:solidFill>
                  <a:schemeClr val="bg1"/>
                </a:solidFill>
              </a:rPr>
              <a:t>y</a:t>
            </a:r>
            <a:endParaRPr lang="de-DE" sz="1000" dirty="0">
              <a:solidFill>
                <a:schemeClr val="bg1"/>
              </a:solidFill>
            </a:endParaRPr>
          </a:p>
          <a:p>
            <a:pPr marL="387350" indent="7938">
              <a:spcBef>
                <a:spcPts val="600"/>
              </a:spcBef>
              <a:spcAft>
                <a:spcPts val="600"/>
              </a:spcAft>
              <a:buClr>
                <a:srgbClr val="C6562C"/>
              </a:buClr>
            </a:pPr>
            <a:r>
              <a:rPr lang="de-DE" sz="1000" dirty="0">
                <a:solidFill>
                  <a:prstClr val="black"/>
                </a:solidFill>
              </a:rPr>
              <a:t>Hohen Wachstumschancen von Unternehmen kleinerer Größe durch Innovationskraft, Dynamik und Flexibilität </a:t>
            </a:r>
            <a:br>
              <a:rPr lang="de-DE" sz="1000" dirty="0">
                <a:solidFill>
                  <a:prstClr val="black"/>
                </a:solidFill>
              </a:rPr>
            </a:br>
            <a:endParaRPr lang="de-DE" sz="1000" dirty="0">
              <a:solidFill>
                <a:prstClr val="black"/>
              </a:solidFill>
            </a:endParaRPr>
          </a:p>
          <a:p>
            <a:pPr marL="387350" indent="7938">
              <a:spcBef>
                <a:spcPts val="600"/>
              </a:spcBef>
              <a:spcAft>
                <a:spcPts val="600"/>
              </a:spcAft>
              <a:buClr>
                <a:srgbClr val="C6562C"/>
              </a:buClr>
            </a:pPr>
            <a:r>
              <a:rPr lang="de-DE" sz="1000" dirty="0">
                <a:solidFill>
                  <a:prstClr val="black"/>
                </a:solidFill>
              </a:rPr>
              <a:t>Potenziellen Übernahmekandidaten durch wahrscheinlichere Fusionen und Übernahmen </a:t>
            </a:r>
          </a:p>
          <a:p>
            <a:pPr marL="449263">
              <a:spcBef>
                <a:spcPts val="600"/>
              </a:spcBef>
              <a:spcAft>
                <a:spcPts val="600"/>
              </a:spcAft>
              <a:buClr>
                <a:srgbClr val="C6562C"/>
              </a:buClr>
            </a:pPr>
            <a:endParaRPr lang="de-DE" sz="1000" dirty="0">
              <a:solidFill>
                <a:schemeClr val="tx2"/>
              </a:solidFill>
            </a:endParaRPr>
          </a:p>
        </p:txBody>
      </p:sp>
      <p:pic>
        <p:nvPicPr>
          <p:cNvPr id="4" name="Grafik 3">
            <a:extLst>
              <a:ext uri="{FF2B5EF4-FFF2-40B4-BE49-F238E27FC236}">
                <a16:creationId xmlns:a16="http://schemas.microsoft.com/office/drawing/2014/main" id="{89303612-A9F0-40D4-89DE-9B83A42B9C5F}"/>
              </a:ext>
            </a:extLst>
          </p:cNvPr>
          <p:cNvPicPr>
            <a:picLocks noChangeAspect="1"/>
          </p:cNvPicPr>
          <p:nvPr/>
        </p:nvPicPr>
        <p:blipFill>
          <a:blip r:embed="rId4"/>
          <a:stretch>
            <a:fillRect/>
          </a:stretch>
        </p:blipFill>
        <p:spPr>
          <a:xfrm>
            <a:off x="259528" y="4365698"/>
            <a:ext cx="3736407" cy="1939528"/>
          </a:xfrm>
          <a:prstGeom prst="rect">
            <a:avLst/>
          </a:prstGeom>
        </p:spPr>
      </p:pic>
    </p:spTree>
    <p:extLst>
      <p:ext uri="{BB962C8B-B14F-4D97-AF65-F5344CB8AC3E}">
        <p14:creationId xmlns:p14="http://schemas.microsoft.com/office/powerpoint/2010/main" val="30841294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Gerader Verbinder 14">
            <a:extLst>
              <a:ext uri="{FF2B5EF4-FFF2-40B4-BE49-F238E27FC236}">
                <a16:creationId xmlns:a16="http://schemas.microsoft.com/office/drawing/2014/main" id="{990B2E7A-12E2-49D7-B0BA-2CA6E517BC07}"/>
              </a:ext>
            </a:extLst>
          </p:cNvPr>
          <p:cNvCxnSpPr/>
          <p:nvPr/>
        </p:nvCxnSpPr>
        <p:spPr bwMode="gray">
          <a:xfrm>
            <a:off x="259528" y="1274618"/>
            <a:ext cx="50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 name="Gerader Verbinder 14">
            <a:extLst>
              <a:ext uri="{FF2B5EF4-FFF2-40B4-BE49-F238E27FC236}">
                <a16:creationId xmlns:a16="http://schemas.microsoft.com/office/drawing/2014/main" id="{990B2E7A-12E2-49D7-B0BA-2CA6E517BC07}"/>
              </a:ext>
            </a:extLst>
          </p:cNvPr>
          <p:cNvCxnSpPr/>
          <p:nvPr/>
        </p:nvCxnSpPr>
        <p:spPr bwMode="gray">
          <a:xfrm>
            <a:off x="4716016" y="1276251"/>
            <a:ext cx="50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4" name="Gerader Verbinder 14">
            <a:extLst>
              <a:ext uri="{FF2B5EF4-FFF2-40B4-BE49-F238E27FC236}">
                <a16:creationId xmlns:a16="http://schemas.microsoft.com/office/drawing/2014/main" id="{990B2E7A-12E2-49D7-B0BA-2CA6E517BC07}"/>
              </a:ext>
            </a:extLst>
          </p:cNvPr>
          <p:cNvCxnSpPr/>
          <p:nvPr/>
        </p:nvCxnSpPr>
        <p:spPr bwMode="gray">
          <a:xfrm>
            <a:off x="4716463" y="3966958"/>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Gerader Verbinder 14">
            <a:extLst>
              <a:ext uri="{FF2B5EF4-FFF2-40B4-BE49-F238E27FC236}">
                <a16:creationId xmlns:a16="http://schemas.microsoft.com/office/drawing/2014/main" id="{990B2E7A-12E2-49D7-B0BA-2CA6E517BC07}"/>
              </a:ext>
            </a:extLst>
          </p:cNvPr>
          <p:cNvCxnSpPr/>
          <p:nvPr/>
        </p:nvCxnSpPr>
        <p:spPr bwMode="gray">
          <a:xfrm>
            <a:off x="4716635" y="3906522"/>
            <a:ext cx="504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Gerader Verbinder 14">
            <a:extLst>
              <a:ext uri="{FF2B5EF4-FFF2-40B4-BE49-F238E27FC236}">
                <a16:creationId xmlns:a16="http://schemas.microsoft.com/office/drawing/2014/main" id="{990B2E7A-12E2-49D7-B0BA-2CA6E517BC07}"/>
              </a:ext>
            </a:extLst>
          </p:cNvPr>
          <p:cNvCxnSpPr/>
          <p:nvPr/>
        </p:nvCxnSpPr>
        <p:spPr bwMode="gray">
          <a:xfrm>
            <a:off x="253176" y="3967080"/>
            <a:ext cx="50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1" name="Inhaltsplatzhalter 7"/>
          <p:cNvSpPr txBox="1">
            <a:spLocks/>
          </p:cNvSpPr>
          <p:nvPr/>
        </p:nvSpPr>
        <p:spPr bwMode="gray">
          <a:xfrm>
            <a:off x="4715277" y="1272818"/>
            <a:ext cx="4321219" cy="363731"/>
          </a:xfrm>
          <a:prstGeom prst="rect">
            <a:avLst/>
          </a:prstGeom>
          <a:no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fontAlgn="base">
              <a:buClr>
                <a:srgbClr val="C6562C"/>
              </a:buClr>
            </a:pPr>
            <a:r>
              <a:rPr lang="de-DE" sz="1100" b="1" dirty="0">
                <a:solidFill>
                  <a:prstClr val="black"/>
                </a:solidFill>
              </a:rPr>
              <a:t>Charakteristika</a:t>
            </a:r>
            <a:endParaRPr lang="de-DE" sz="1200" b="1" dirty="0">
              <a:solidFill>
                <a:prstClr val="black"/>
              </a:solidFill>
            </a:endParaRPr>
          </a:p>
        </p:txBody>
      </p:sp>
      <p:graphicFrame>
        <p:nvGraphicFramePr>
          <p:cNvPr id="2" name="Tabelle 1"/>
          <p:cNvGraphicFramePr>
            <a:graphicFrameLocks noGrp="1"/>
          </p:cNvGraphicFramePr>
          <p:nvPr/>
        </p:nvGraphicFramePr>
        <p:xfrm>
          <a:off x="4725164" y="1595390"/>
          <a:ext cx="4174174" cy="2121594"/>
        </p:xfrm>
        <a:graphic>
          <a:graphicData uri="http://schemas.openxmlformats.org/drawingml/2006/table">
            <a:tbl>
              <a:tblPr firstRow="1" bandRow="1">
                <a:tableStyleId>{5C22544A-7EE6-4342-B048-85BDC9FD1C3A}</a:tableStyleId>
              </a:tblPr>
              <a:tblGrid>
                <a:gridCol w="298497">
                  <a:extLst>
                    <a:ext uri="{9D8B030D-6E8A-4147-A177-3AD203B41FA5}">
                      <a16:colId xmlns:a16="http://schemas.microsoft.com/office/drawing/2014/main" val="20000"/>
                    </a:ext>
                  </a:extLst>
                </a:gridCol>
                <a:gridCol w="1708579">
                  <a:extLst>
                    <a:ext uri="{9D8B030D-6E8A-4147-A177-3AD203B41FA5}">
                      <a16:colId xmlns:a16="http://schemas.microsoft.com/office/drawing/2014/main" val="20001"/>
                    </a:ext>
                  </a:extLst>
                </a:gridCol>
                <a:gridCol w="64071">
                  <a:extLst>
                    <a:ext uri="{9D8B030D-6E8A-4147-A177-3AD203B41FA5}">
                      <a16:colId xmlns:a16="http://schemas.microsoft.com/office/drawing/2014/main" val="20002"/>
                    </a:ext>
                  </a:extLst>
                </a:gridCol>
                <a:gridCol w="2103027">
                  <a:extLst>
                    <a:ext uri="{9D8B030D-6E8A-4147-A177-3AD203B41FA5}">
                      <a16:colId xmlns:a16="http://schemas.microsoft.com/office/drawing/2014/main" val="20003"/>
                    </a:ext>
                  </a:extLst>
                </a:gridCol>
              </a:tblGrid>
              <a:tr h="408690">
                <a:tc>
                  <a:txBody>
                    <a:bodyPr/>
                    <a:lstStyle/>
                    <a:p>
                      <a:pPr algn="l"/>
                      <a:endParaRPr lang="de-DE" b="1" dirty="0"/>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de-DE" sz="1000" b="1" i="0" u="none" strike="noStrike" kern="1200" cap="none" spc="0" normalizeH="0" baseline="0" noProof="0" dirty="0">
                          <a:ln>
                            <a:noFill/>
                          </a:ln>
                          <a:solidFill>
                            <a:prstClr val="black"/>
                          </a:solidFill>
                          <a:effectLst/>
                          <a:uLnTx/>
                          <a:uFillTx/>
                          <a:latin typeface="+mn-lt"/>
                          <a:ea typeface="+mn-ea"/>
                          <a:cs typeface="+mn-cs"/>
                        </a:rPr>
                        <a:t>Anlageuniversum</a:t>
                      </a:r>
                      <a:endParaRPr lang="de-DE" b="1" dirty="0"/>
                    </a:p>
                  </a:txBody>
                  <a:tcPr anchor="ctr">
                    <a:lnL w="12700" cmpd="sng">
                      <a:noFill/>
                    </a:lnL>
                    <a:lnR w="12700" cmpd="sng">
                      <a:noFill/>
                    </a:lnR>
                    <a:lnT w="12700" cmpd="sng">
                      <a:noFill/>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marL="0" marR="0"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Aktien kleinerer internationaler Unternehmen (ex Europa)</a:t>
                      </a:r>
                      <a:endParaRPr lang="de-DE" dirty="0"/>
                    </a:p>
                  </a:txBody>
                  <a:tcPr marL="72000" marR="0" anchor="ctr">
                    <a:lnL w="12700" cmpd="sng">
                      <a:noFill/>
                    </a:lnL>
                    <a:lnR w="12700" cmpd="sng">
                      <a:noFill/>
                    </a:lnR>
                    <a:lnT w="12700" cmpd="sng">
                      <a:noFill/>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6808">
                <a:tc>
                  <a:txBody>
                    <a:bodyPr/>
                    <a:lstStyle/>
                    <a:p>
                      <a:pPr algn="l"/>
                      <a:endParaRPr lang="de-DE"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de-DE" sz="1000" b="1" i="0" u="none" strike="noStrike" kern="1200" cap="none" spc="0" normalizeH="0" baseline="0" noProof="0" dirty="0">
                          <a:ln>
                            <a:noFill/>
                          </a:ln>
                          <a:solidFill>
                            <a:prstClr val="black"/>
                          </a:solidFill>
                          <a:effectLst/>
                          <a:uLnTx/>
                          <a:uFillTx/>
                          <a:latin typeface="+mn-lt"/>
                          <a:ea typeface="+mn-ea"/>
                          <a:cs typeface="+mn-cs"/>
                        </a:rPr>
                        <a:t>Fokus</a:t>
                      </a:r>
                      <a:endParaRPr lang="de-DE" b="1" dirty="0"/>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endParaRPr kumimoji="0" lang="de-DE" sz="1000" b="0" i="0" u="none" strike="noStrike" kern="1200" cap="none" spc="0" normalizeH="0" baseline="0" noProof="0" dirty="0">
                        <a:ln>
                          <a:noFill/>
                        </a:ln>
                        <a:solidFill>
                          <a:sysClr val="windowText" lastClr="000000"/>
                        </a:solidFill>
                        <a:effectLst/>
                        <a:uLnTx/>
                        <a:uFillTx/>
                        <a:latin typeface="+mn-lt"/>
                        <a:ea typeface="+mn-ea"/>
                        <a:cs typeface="+mn-cs"/>
                      </a:endParaRP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 110 Aktien | Benchmark-unabhängig | „Quality-Growth“</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48">
                <a:tc>
                  <a:txBody>
                    <a:bodyPr/>
                    <a:lstStyle/>
                    <a:p>
                      <a:pPr algn="l"/>
                      <a:endParaRPr lang="de-DE"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000" b="1" dirty="0"/>
                        <a:t>Benchmark</a:t>
                      </a:r>
                      <a:endParaRPr lang="de-DE" b="1" dirty="0"/>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dirty="0"/>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t>MSCI World ex Europe Micro Cap Net Total Return EUR</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48">
                <a:tc>
                  <a:txBody>
                    <a:bodyPr/>
                    <a:lstStyle/>
                    <a:p>
                      <a:pPr algn="l"/>
                      <a:endParaRPr lang="de-DE" sz="1000"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000" b="1" dirty="0"/>
                        <a:t>Haltedauer</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endParaRPr kumimoji="0" lang="de-DE" sz="1000" b="0" i="0" u="none" strike="noStrike" kern="1200" cap="none" spc="0" normalizeH="0" baseline="0" noProof="0" dirty="0">
                        <a:ln>
                          <a:noFill/>
                        </a:ln>
                        <a:solidFill>
                          <a:sysClr val="windowText" lastClr="000000"/>
                        </a:solidFill>
                        <a:effectLst/>
                        <a:uLnTx/>
                        <a:uFillTx/>
                        <a:latin typeface="+mn-lt"/>
                        <a:ea typeface="+mn-ea"/>
                        <a:cs typeface="+mn-cs"/>
                      </a:endParaRP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C6562C"/>
                        </a:buClr>
                        <a:buSzTx/>
                        <a:buFontTx/>
                        <a:buNone/>
                        <a:tabLst/>
                        <a:defRPr/>
                      </a:pPr>
                      <a:r>
                        <a:rPr lang="de-DE" sz="1000" noProof="0" dirty="0">
                          <a:solidFill>
                            <a:sysClr val="windowText" lastClr="000000"/>
                          </a:solidFill>
                        </a:rPr>
                        <a:t>Durchschnittlich</a:t>
                      </a:r>
                      <a:r>
                        <a:rPr lang="de-DE" sz="1000" baseline="0" noProof="0" dirty="0">
                          <a:solidFill>
                            <a:sysClr val="windowText" lastClr="000000"/>
                          </a:solidFill>
                        </a:rPr>
                        <a:t> 2 - 5</a:t>
                      </a:r>
                      <a:r>
                        <a:rPr lang="de-DE" sz="1000" noProof="0" dirty="0">
                          <a:solidFill>
                            <a:sysClr val="windowText" lastClr="000000"/>
                          </a:solidFill>
                        </a:rPr>
                        <a:t> Jahre  Turnover &lt; 30% p.a.</a:t>
                      </a:r>
                      <a:endParaRPr kumimoji="0" lang="de-DE" sz="1000" b="0" i="0" u="none" strike="noStrike" kern="1200" cap="none" spc="0" normalizeH="0" baseline="0" noProof="0" dirty="0">
                        <a:ln>
                          <a:noFill/>
                        </a:ln>
                        <a:solidFill>
                          <a:sysClr val="windowText" lastClr="000000"/>
                        </a:solidFill>
                        <a:effectLst/>
                        <a:uLnTx/>
                        <a:uFillTx/>
                        <a:latin typeface="+mn-lt"/>
                        <a:ea typeface="+mn-ea"/>
                        <a:cs typeface="+mn-cs"/>
                      </a:endParaRP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solidFill>
                        <a:srgbClr val="BAB7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a:txBody>
                    <a:bodyPr/>
                    <a:lstStyle/>
                    <a:p>
                      <a:pPr algn="l"/>
                      <a:endParaRPr lang="de-DE" sz="1000" b="1" dirty="0"/>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000" b="1" dirty="0"/>
                        <a:t>Marktkapitalisierung</a:t>
                      </a:r>
                    </a:p>
                  </a:txBody>
                  <a:tcPr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dirty="0"/>
                        <a:t> </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 Fokus auf Aktien 100 -700 Mio. EUR   </a:t>
                      </a:r>
                    </a:p>
                    <a:p>
                      <a:r>
                        <a:rPr kumimoji="0" lang="de-DE" sz="1000" b="0" i="0" u="none" strike="noStrike" kern="1200" cap="none" spc="0" normalizeH="0" baseline="0" noProof="0" dirty="0">
                          <a:ln>
                            <a:noFill/>
                          </a:ln>
                          <a:solidFill>
                            <a:sysClr val="windowText" lastClr="000000"/>
                          </a:solidFill>
                          <a:effectLst/>
                          <a:uLnTx/>
                          <a:uFillTx/>
                          <a:latin typeface="+mn-lt"/>
                          <a:ea typeface="+mn-ea"/>
                          <a:cs typeface="+mn-cs"/>
                        </a:rPr>
                        <a:t> Spielraum bis 1 Mrd. EUR</a:t>
                      </a:r>
                    </a:p>
                  </a:txBody>
                  <a:tcPr marL="0" marR="0" anchor="ctr">
                    <a:lnL w="12700" cmpd="sng">
                      <a:noFill/>
                    </a:lnL>
                    <a:lnR w="12700" cmpd="sng">
                      <a:noFill/>
                    </a:lnR>
                    <a:lnT w="6350" cap="flat" cmpd="sng" algn="ctr">
                      <a:solidFill>
                        <a:srgbClr val="BAB7B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81" name="Titel 1"/>
          <p:cNvSpPr>
            <a:spLocks noGrp="1"/>
          </p:cNvSpPr>
          <p:nvPr>
            <p:ph type="title"/>
          </p:nvPr>
        </p:nvSpPr>
        <p:spPr>
          <a:xfrm>
            <a:off x="250825" y="381360"/>
            <a:ext cx="6480000" cy="611273"/>
          </a:xfrm>
        </p:spPr>
        <p:txBody>
          <a:bodyPr/>
          <a:lstStyle/>
          <a:p>
            <a:pPr lvl="0"/>
            <a:r>
              <a:rPr lang="de-DE" b="1" dirty="0"/>
              <a:t>Berenberg International Micro Cap</a:t>
            </a:r>
            <a:endParaRPr lang="de-DE" b="0" dirty="0"/>
          </a:p>
        </p:txBody>
      </p:sp>
      <p:sp>
        <p:nvSpPr>
          <p:cNvPr id="51" name="Inhaltsplatzhalter 7"/>
          <p:cNvSpPr txBox="1">
            <a:spLocks/>
          </p:cNvSpPr>
          <p:nvPr/>
        </p:nvSpPr>
        <p:spPr bwMode="gray">
          <a:xfrm>
            <a:off x="251926" y="3975747"/>
            <a:ext cx="2971378" cy="348099"/>
          </a:xfrm>
          <a:prstGeom prst="rect">
            <a:avLst/>
          </a:prstGeom>
          <a:noFill/>
          <a:ln w="6350">
            <a:noFill/>
          </a:ln>
        </p:spPr>
        <p:txBody>
          <a:bodyPr vert="horz" wrap="square" lIns="0" tIns="108000" rIns="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fontAlgn="base">
              <a:spcAft>
                <a:spcPts val="100"/>
              </a:spcAft>
              <a:buClr>
                <a:srgbClr val="C6562C"/>
              </a:buClr>
            </a:pPr>
            <a:r>
              <a:rPr lang="de-DE" sz="1100" b="1" dirty="0">
                <a:solidFill>
                  <a:prstClr val="black"/>
                </a:solidFill>
              </a:rPr>
              <a:t>Investmentprozess</a:t>
            </a:r>
          </a:p>
        </p:txBody>
      </p:sp>
      <p:sp>
        <p:nvSpPr>
          <p:cNvPr id="70" name="Inhaltsplatzhalter 7">
            <a:extLst>
              <a:ext uri="{FF2B5EF4-FFF2-40B4-BE49-F238E27FC236}">
                <a16:creationId xmlns:a16="http://schemas.microsoft.com/office/drawing/2014/main" id="{3110D91B-B4D6-4DDB-822D-D536382B374D}"/>
              </a:ext>
            </a:extLst>
          </p:cNvPr>
          <p:cNvSpPr txBox="1">
            <a:spLocks/>
          </p:cNvSpPr>
          <p:nvPr/>
        </p:nvSpPr>
        <p:spPr bwMode="gray">
          <a:xfrm>
            <a:off x="246712" y="1259345"/>
            <a:ext cx="4178635" cy="2407535"/>
          </a:xfrm>
          <a:prstGeom prst="rect">
            <a:avLst/>
          </a:prstGeom>
          <a:no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marL="172800" indent="-172800" fontAlgn="base">
              <a:lnSpc>
                <a:spcPct val="120000"/>
              </a:lnSpc>
              <a:buClr>
                <a:srgbClr val="C6562C"/>
              </a:buClr>
            </a:pPr>
            <a:r>
              <a:rPr lang="de-DE" sz="1100" b="1" dirty="0">
                <a:solidFill>
                  <a:prstClr val="black"/>
                </a:solidFill>
              </a:rPr>
              <a:t>Anlagekonzept</a:t>
            </a:r>
            <a:endParaRPr lang="de-DE" sz="1200" b="1" dirty="0">
              <a:solidFill>
                <a:prstClr val="black"/>
              </a:solidFill>
            </a:endParaRPr>
          </a:p>
          <a:p>
            <a:pPr marL="172800" indent="-172800" fontAlgn="base">
              <a:lnSpc>
                <a:spcPct val="120000"/>
              </a:lnSpc>
              <a:buClr>
                <a:srgbClr val="C6562C"/>
              </a:buClr>
              <a:buFont typeface="Arial" pitchFamily="34" charset="0"/>
              <a:buChar char="•"/>
            </a:pPr>
            <a:r>
              <a:rPr lang="de-DE" sz="1000" dirty="0">
                <a:solidFill>
                  <a:prstClr val="black"/>
                </a:solidFill>
              </a:rPr>
              <a:t>Aktienfonds mit Fokus auf die Auswahl internationaler Micro-Caps (ex Europa) mit  überzeugendem strukturellen Wachstum und nachhaltigen Erträgen</a:t>
            </a:r>
          </a:p>
          <a:p>
            <a:pPr marL="171450" indent="-171450" fontAlgn="base">
              <a:lnSpc>
                <a:spcPct val="120000"/>
              </a:lnSpc>
              <a:buClr>
                <a:srgbClr val="C6562C"/>
              </a:buClr>
              <a:buFont typeface="Arial" pitchFamily="34" charset="0"/>
              <a:buChar char="•"/>
            </a:pPr>
            <a:r>
              <a:rPr lang="de-DE" sz="1000" dirty="0">
                <a:solidFill>
                  <a:prstClr val="black"/>
                </a:solidFill>
              </a:rPr>
              <a:t>Unternehmen, die führende Positionen in ihren Nischenmärkten einnehmen und darüber hinaus einen (technologischen) Vorsprung haben</a:t>
            </a:r>
          </a:p>
          <a:p>
            <a:pPr marL="171450" indent="-171450" fontAlgn="base">
              <a:lnSpc>
                <a:spcPct val="120000"/>
              </a:lnSpc>
              <a:buClr>
                <a:srgbClr val="C6562C"/>
              </a:buClr>
              <a:buFont typeface="Arial" pitchFamily="34" charset="0"/>
              <a:buChar char="•"/>
            </a:pPr>
            <a:r>
              <a:rPr lang="de-DE" sz="1000" dirty="0">
                <a:solidFill>
                  <a:prstClr val="black"/>
                </a:solidFill>
              </a:rPr>
              <a:t>Nutzung von Informationsineffizienzen bei wenig beachteten Titeln </a:t>
            </a:r>
          </a:p>
          <a:p>
            <a:pPr marL="171450" indent="-171450" fontAlgn="base">
              <a:lnSpc>
                <a:spcPct val="120000"/>
              </a:lnSpc>
              <a:buClr>
                <a:srgbClr val="C6562C"/>
              </a:buClr>
              <a:buFont typeface="Arial" pitchFamily="34" charset="0"/>
              <a:buChar char="•"/>
            </a:pPr>
            <a:r>
              <a:rPr lang="de-DE" sz="1000" dirty="0">
                <a:solidFill>
                  <a:prstClr val="black"/>
                </a:solidFill>
              </a:rPr>
              <a:t>Großer Anteil an Unternehmen mit hohem Management Share</a:t>
            </a:r>
          </a:p>
          <a:p>
            <a:pPr marL="171450" indent="-171450" fontAlgn="base">
              <a:lnSpc>
                <a:spcPct val="120000"/>
              </a:lnSpc>
              <a:buClr>
                <a:srgbClr val="C6562C"/>
              </a:buClr>
              <a:buFont typeface="Arial" pitchFamily="34" charset="0"/>
              <a:buChar char="•"/>
            </a:pPr>
            <a:r>
              <a:rPr lang="de-DE" sz="1000" dirty="0">
                <a:solidFill>
                  <a:prstClr val="black"/>
                </a:solidFill>
              </a:rPr>
              <a:t>Portfolio kann auch illiquidere Werte enthalten – Investments als langfristige Beteiligung</a:t>
            </a:r>
          </a:p>
        </p:txBody>
      </p:sp>
      <p:sp>
        <p:nvSpPr>
          <p:cNvPr id="71" name="Inhaltsplatzhalter 7">
            <a:extLst>
              <a:ext uri="{FF2B5EF4-FFF2-40B4-BE49-F238E27FC236}">
                <a16:creationId xmlns:a16="http://schemas.microsoft.com/office/drawing/2014/main" id="{9ECB0F8A-4C5D-4F08-8F98-82620D7CD9A4}"/>
              </a:ext>
            </a:extLst>
          </p:cNvPr>
          <p:cNvSpPr txBox="1">
            <a:spLocks/>
          </p:cNvSpPr>
          <p:nvPr/>
        </p:nvSpPr>
        <p:spPr bwMode="gray">
          <a:xfrm>
            <a:off x="4720218" y="3970809"/>
            <a:ext cx="4174175" cy="2580858"/>
          </a:xfrm>
          <a:prstGeom prst="rect">
            <a:avLst/>
          </a:prstGeom>
          <a:no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pPr fontAlgn="base">
              <a:lnSpc>
                <a:spcPct val="115000"/>
              </a:lnSpc>
              <a:spcBef>
                <a:spcPts val="600"/>
              </a:spcBef>
              <a:spcAft>
                <a:spcPts val="600"/>
              </a:spcAft>
            </a:pPr>
            <a:r>
              <a:rPr lang="de-DE" sz="1100" b="1" dirty="0">
                <a:solidFill>
                  <a:srgbClr val="C6562C"/>
                </a:solidFill>
              </a:rPr>
              <a:t>Profitieren Sie von</a:t>
            </a:r>
          </a:p>
          <a:p>
            <a:pPr marL="395288">
              <a:lnSpc>
                <a:spcPct val="115000"/>
              </a:lnSpc>
              <a:spcBef>
                <a:spcPts val="600"/>
              </a:spcBef>
              <a:spcAft>
                <a:spcPts val="600"/>
              </a:spcAft>
              <a:buClr>
                <a:srgbClr val="C6562C"/>
              </a:buClr>
            </a:pPr>
            <a:r>
              <a:rPr lang="de-DE" sz="1000" dirty="0">
                <a:solidFill>
                  <a:prstClr val="black"/>
                </a:solidFill>
              </a:rPr>
              <a:t>Zugang zu internationalen Hidden Champions außerhalb von Europa mit hohen Wachstumschancen durch Innovationskraft, Dynamik und Flexibilität </a:t>
            </a:r>
          </a:p>
          <a:p>
            <a:pPr marL="395288" fontAlgn="base">
              <a:lnSpc>
                <a:spcPct val="115000"/>
              </a:lnSpc>
              <a:spcBef>
                <a:spcPts val="600"/>
              </a:spcBef>
              <a:spcAft>
                <a:spcPts val="600"/>
              </a:spcAft>
              <a:buClr>
                <a:srgbClr val="C6562C"/>
              </a:buClr>
            </a:pPr>
            <a:r>
              <a:rPr lang="de-DE" sz="1000" dirty="0">
                <a:solidFill>
                  <a:prstClr val="black"/>
                </a:solidFill>
              </a:rPr>
              <a:t>Diversifikation – Investitionen in Regionen außerhalb Europas mit geringer Korrelation</a:t>
            </a:r>
          </a:p>
          <a:p>
            <a:pPr marL="395288" fontAlgn="base">
              <a:lnSpc>
                <a:spcPct val="115000"/>
              </a:lnSpc>
              <a:spcBef>
                <a:spcPts val="600"/>
              </a:spcBef>
              <a:spcAft>
                <a:spcPts val="600"/>
              </a:spcAft>
              <a:buClr>
                <a:srgbClr val="C6562C"/>
              </a:buClr>
            </a:pPr>
            <a:r>
              <a:rPr lang="de-DE" sz="1000" dirty="0">
                <a:solidFill>
                  <a:prstClr val="black"/>
                </a:solidFill>
              </a:rPr>
              <a:t>Erfahrenen Small Cap Team - erwiesener Track </a:t>
            </a:r>
            <a:r>
              <a:rPr lang="de-DE" sz="1000" dirty="0" err="1">
                <a:solidFill>
                  <a:prstClr val="black"/>
                </a:solidFill>
              </a:rPr>
              <a:t>Record</a:t>
            </a:r>
            <a:r>
              <a:rPr lang="de-DE" sz="1000" dirty="0">
                <a:solidFill>
                  <a:prstClr val="black"/>
                </a:solidFill>
              </a:rPr>
              <a:t> in der Selektion sehr guter Aktien. Gleicher erfolgreicher Investmentprozess wie im europäischen Micro Cap Fonds</a:t>
            </a:r>
          </a:p>
        </p:txBody>
      </p:sp>
      <p:sp>
        <p:nvSpPr>
          <p:cNvPr id="22" name="Freeform 8">
            <a:extLst>
              <a:ext uri="{FF2B5EF4-FFF2-40B4-BE49-F238E27FC236}">
                <a16:creationId xmlns:a16="http://schemas.microsoft.com/office/drawing/2014/main" id="{17AEF877-1A60-449C-8AF8-6BD560352064}"/>
              </a:ext>
            </a:extLst>
          </p:cNvPr>
          <p:cNvSpPr>
            <a:spLocks noEditPoints="1"/>
          </p:cNvSpPr>
          <p:nvPr/>
        </p:nvSpPr>
        <p:spPr bwMode="auto">
          <a:xfrm>
            <a:off x="4706470" y="1672908"/>
            <a:ext cx="246062" cy="277812"/>
          </a:xfrm>
          <a:custGeom>
            <a:avLst/>
            <a:gdLst>
              <a:gd name="T0" fmla="*/ 7826 w 23448"/>
              <a:gd name="T1" fmla="*/ 22824 h 26520"/>
              <a:gd name="T2" fmla="*/ 8908 w 23448"/>
              <a:gd name="T3" fmla="*/ 21597 h 26520"/>
              <a:gd name="T4" fmla="*/ 6994 w 23448"/>
              <a:gd name="T5" fmla="*/ 19638 h 26520"/>
              <a:gd name="T6" fmla="*/ 6 w 23448"/>
              <a:gd name="T7" fmla="*/ 10206 h 26520"/>
              <a:gd name="T8" fmla="*/ 6216 w 23448"/>
              <a:gd name="T9" fmla="*/ 2991 h 26520"/>
              <a:gd name="T10" fmla="*/ 8429 w 23448"/>
              <a:gd name="T11" fmla="*/ 1912 h 26520"/>
              <a:gd name="T12" fmla="*/ 7669 w 23448"/>
              <a:gd name="T13" fmla="*/ 1657 h 26520"/>
              <a:gd name="T14" fmla="*/ 9019 w 23448"/>
              <a:gd name="T15" fmla="*/ 104 h 26520"/>
              <a:gd name="T16" fmla="*/ 17953 w 23448"/>
              <a:gd name="T17" fmla="*/ 2017 h 26520"/>
              <a:gd name="T18" fmla="*/ 23268 w 23448"/>
              <a:gd name="T19" fmla="*/ 9992 h 26520"/>
              <a:gd name="T20" fmla="*/ 14661 w 23448"/>
              <a:gd name="T21" fmla="*/ 20586 h 26520"/>
              <a:gd name="T22" fmla="*/ 11343 w 23448"/>
              <a:gd name="T23" fmla="*/ 20857 h 26520"/>
              <a:gd name="T24" fmla="*/ 11630 w 23448"/>
              <a:gd name="T25" fmla="*/ 22333 h 26520"/>
              <a:gd name="T26" fmla="*/ 14839 w 23448"/>
              <a:gd name="T27" fmla="*/ 24825 h 26520"/>
              <a:gd name="T28" fmla="*/ 8606 w 23448"/>
              <a:gd name="T29" fmla="*/ 26408 h 26520"/>
              <a:gd name="T30" fmla="*/ 12962 w 23448"/>
              <a:gd name="T31" fmla="*/ 19647 h 26520"/>
              <a:gd name="T32" fmla="*/ 18626 w 23448"/>
              <a:gd name="T33" fmla="*/ 16544 h 26520"/>
              <a:gd name="T34" fmla="*/ 10524 w 23448"/>
              <a:gd name="T35" fmla="*/ 1740 h 26520"/>
              <a:gd name="T36" fmla="*/ 10535 w 23448"/>
              <a:gd name="T37" fmla="*/ 2592 h 26520"/>
              <a:gd name="T38" fmla="*/ 15714 w 23448"/>
              <a:gd name="T39" fmla="*/ 17470 h 26520"/>
              <a:gd name="T40" fmla="*/ 12962 w 23448"/>
              <a:gd name="T41" fmla="*/ 19647 h 26520"/>
              <a:gd name="T42" fmla="*/ 8161 w 23448"/>
              <a:gd name="T43" fmla="*/ 3862 h 26520"/>
              <a:gd name="T44" fmla="*/ 1478 w 23448"/>
              <a:gd name="T45" fmla="*/ 11036 h 26520"/>
              <a:gd name="T46" fmla="*/ 4766 w 23448"/>
              <a:gd name="T47" fmla="*/ 11536 h 26520"/>
              <a:gd name="T48" fmla="*/ 5583 w 23448"/>
              <a:gd name="T49" fmla="*/ 8176 h 26520"/>
              <a:gd name="T50" fmla="*/ 8552 w 23448"/>
              <a:gd name="T51" fmla="*/ 3876 h 26520"/>
              <a:gd name="T52" fmla="*/ 8704 w 23448"/>
              <a:gd name="T53" fmla="*/ 4978 h 26520"/>
              <a:gd name="T54" fmla="*/ 6075 w 23448"/>
              <a:gd name="T55" fmla="*/ 11017 h 26520"/>
              <a:gd name="T56" fmla="*/ 9095 w 23448"/>
              <a:gd name="T57" fmla="*/ 11250 h 26520"/>
              <a:gd name="T58" fmla="*/ 2101 w 23448"/>
              <a:gd name="T59" fmla="*/ 12360 h 26520"/>
              <a:gd name="T60" fmla="*/ 4679 w 23448"/>
              <a:gd name="T61" fmla="*/ 17192 h 26520"/>
              <a:gd name="T62" fmla="*/ 7433 w 23448"/>
              <a:gd name="T63" fmla="*/ 18780 h 26520"/>
              <a:gd name="T64" fmla="*/ 6070 w 23448"/>
              <a:gd name="T65" fmla="*/ 16415 h 26520"/>
              <a:gd name="T66" fmla="*/ 3099 w 23448"/>
              <a:gd name="T67" fmla="*/ 12434 h 26520"/>
              <a:gd name="T68" fmla="*/ 10561 w 23448"/>
              <a:gd name="T69" fmla="*/ 4789 h 26520"/>
              <a:gd name="T70" fmla="*/ 10496 w 23448"/>
              <a:gd name="T71" fmla="*/ 7562 h 26520"/>
              <a:gd name="T72" fmla="*/ 12741 w 23448"/>
              <a:gd name="T73" fmla="*/ 11198 h 26520"/>
              <a:gd name="T74" fmla="*/ 11675 w 23448"/>
              <a:gd name="T75" fmla="*/ 6476 h 26520"/>
              <a:gd name="T76" fmla="*/ 9034 w 23448"/>
              <a:gd name="T77" fmla="*/ 18734 h 26520"/>
              <a:gd name="T78" fmla="*/ 9096 w 23448"/>
              <a:gd name="T79" fmla="*/ 14742 h 26520"/>
              <a:gd name="T80" fmla="*/ 6419 w 23448"/>
              <a:gd name="T81" fmla="*/ 12914 h 26520"/>
              <a:gd name="T82" fmla="*/ 8739 w 23448"/>
              <a:gd name="T83" fmla="*/ 18450 h 26520"/>
              <a:gd name="T84" fmla="*/ 11933 w 23448"/>
              <a:gd name="T85" fmla="*/ 4417 h 26520"/>
              <a:gd name="T86" fmla="*/ 13928 w 23448"/>
              <a:gd name="T87" fmla="*/ 7446 h 26520"/>
              <a:gd name="T88" fmla="*/ 14734 w 23448"/>
              <a:gd name="T89" fmla="*/ 11078 h 26520"/>
              <a:gd name="T90" fmla="*/ 16451 w 23448"/>
              <a:gd name="T91" fmla="*/ 10667 h 26520"/>
              <a:gd name="T92" fmla="*/ 12599 w 23448"/>
              <a:gd name="T93" fmla="*/ 4677 h 26520"/>
              <a:gd name="T94" fmla="*/ 15948 w 23448"/>
              <a:gd name="T95" fmla="*/ 14294 h 26520"/>
              <a:gd name="T96" fmla="*/ 14602 w 23448"/>
              <a:gd name="T97" fmla="*/ 12615 h 26520"/>
              <a:gd name="T98" fmla="*/ 13084 w 23448"/>
              <a:gd name="T99" fmla="*/ 16433 h 26520"/>
              <a:gd name="T100" fmla="*/ 10465 w 23448"/>
              <a:gd name="T101" fmla="*/ 18811 h 26520"/>
              <a:gd name="T102" fmla="*/ 12014 w 23448"/>
              <a:gd name="T103" fmla="*/ 16194 h 26520"/>
              <a:gd name="T104" fmla="*/ 12849 w 23448"/>
              <a:gd name="T105" fmla="*/ 12849 h 26520"/>
              <a:gd name="T106" fmla="*/ 10454 w 23448"/>
              <a:gd name="T107" fmla="*/ 18607 h 26520"/>
              <a:gd name="T108" fmla="*/ 11649 w 23448"/>
              <a:gd name="T109" fmla="*/ 25082 h 26520"/>
              <a:gd name="T110" fmla="*/ 10321 w 23448"/>
              <a:gd name="T111" fmla="*/ 22658 h 26520"/>
              <a:gd name="T112" fmla="*/ 9817 w 23448"/>
              <a:gd name="T113" fmla="*/ 22331 h 26520"/>
              <a:gd name="T114" fmla="*/ 10007 w 23448"/>
              <a:gd name="T115" fmla="*/ 25511 h 26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448" h="26520">
                <a:moveTo>
                  <a:pt x="5092" y="24899"/>
                </a:moveTo>
                <a:cubicBezTo>
                  <a:pt x="5393" y="24681"/>
                  <a:pt x="5648" y="24482"/>
                  <a:pt x="5917" y="24303"/>
                </a:cubicBezTo>
                <a:cubicBezTo>
                  <a:pt x="6588" y="23855"/>
                  <a:pt x="7243" y="23384"/>
                  <a:pt x="7826" y="22824"/>
                </a:cubicBezTo>
                <a:cubicBezTo>
                  <a:pt x="7916" y="22737"/>
                  <a:pt x="8021" y="22669"/>
                  <a:pt x="8108" y="22582"/>
                </a:cubicBezTo>
                <a:cubicBezTo>
                  <a:pt x="8355" y="22331"/>
                  <a:pt x="8598" y="22080"/>
                  <a:pt x="8833" y="21820"/>
                </a:cubicBezTo>
                <a:cubicBezTo>
                  <a:pt x="8882" y="21767"/>
                  <a:pt x="8908" y="21672"/>
                  <a:pt x="8908" y="21597"/>
                </a:cubicBezTo>
                <a:cubicBezTo>
                  <a:pt x="8916" y="21110"/>
                  <a:pt x="8908" y="20623"/>
                  <a:pt x="8916" y="20136"/>
                </a:cubicBezTo>
                <a:cubicBezTo>
                  <a:pt x="8916" y="19990"/>
                  <a:pt x="8840" y="19953"/>
                  <a:pt x="8718" y="19935"/>
                </a:cubicBezTo>
                <a:cubicBezTo>
                  <a:pt x="8143" y="19841"/>
                  <a:pt x="7558" y="19780"/>
                  <a:pt x="6994" y="19638"/>
                </a:cubicBezTo>
                <a:cubicBezTo>
                  <a:pt x="4014" y="18883"/>
                  <a:pt x="1848" y="17144"/>
                  <a:pt x="639" y="14284"/>
                </a:cubicBezTo>
                <a:cubicBezTo>
                  <a:pt x="264" y="13403"/>
                  <a:pt x="95" y="12471"/>
                  <a:pt x="41" y="11519"/>
                </a:cubicBezTo>
                <a:cubicBezTo>
                  <a:pt x="17" y="11082"/>
                  <a:pt x="0" y="10645"/>
                  <a:pt x="6" y="10206"/>
                </a:cubicBezTo>
                <a:cubicBezTo>
                  <a:pt x="8" y="10010"/>
                  <a:pt x="56" y="9809"/>
                  <a:pt x="113" y="9621"/>
                </a:cubicBezTo>
                <a:cubicBezTo>
                  <a:pt x="438" y="8562"/>
                  <a:pt x="810" y="7523"/>
                  <a:pt x="1433" y="6595"/>
                </a:cubicBezTo>
                <a:cubicBezTo>
                  <a:pt x="2608" y="4837"/>
                  <a:pt x="4209" y="3635"/>
                  <a:pt x="6216" y="2991"/>
                </a:cubicBezTo>
                <a:cubicBezTo>
                  <a:pt x="6867" y="2782"/>
                  <a:pt x="7551" y="2677"/>
                  <a:pt x="8222" y="2535"/>
                </a:cubicBezTo>
                <a:cubicBezTo>
                  <a:pt x="8342" y="2509"/>
                  <a:pt x="8390" y="2465"/>
                  <a:pt x="8396" y="2349"/>
                </a:cubicBezTo>
                <a:cubicBezTo>
                  <a:pt x="8401" y="2203"/>
                  <a:pt x="8412" y="2057"/>
                  <a:pt x="8429" y="1912"/>
                </a:cubicBezTo>
                <a:cubicBezTo>
                  <a:pt x="8444" y="1775"/>
                  <a:pt x="8385" y="1727"/>
                  <a:pt x="8252" y="1735"/>
                </a:cubicBezTo>
                <a:cubicBezTo>
                  <a:pt x="8100" y="1740"/>
                  <a:pt x="7949" y="1740"/>
                  <a:pt x="7798" y="1731"/>
                </a:cubicBezTo>
                <a:cubicBezTo>
                  <a:pt x="7752" y="1729"/>
                  <a:pt x="7697" y="1694"/>
                  <a:pt x="7669" y="1657"/>
                </a:cubicBezTo>
                <a:cubicBezTo>
                  <a:pt x="7652" y="1637"/>
                  <a:pt x="7667" y="1570"/>
                  <a:pt x="7691" y="1543"/>
                </a:cubicBezTo>
                <a:cubicBezTo>
                  <a:pt x="7988" y="1190"/>
                  <a:pt x="8285" y="838"/>
                  <a:pt x="8591" y="495"/>
                </a:cubicBezTo>
                <a:cubicBezTo>
                  <a:pt x="8720" y="351"/>
                  <a:pt x="8858" y="205"/>
                  <a:pt x="9019" y="104"/>
                </a:cubicBezTo>
                <a:cubicBezTo>
                  <a:pt x="9122" y="37"/>
                  <a:pt x="9273" y="32"/>
                  <a:pt x="9404" y="24"/>
                </a:cubicBezTo>
                <a:cubicBezTo>
                  <a:pt x="9604" y="15"/>
                  <a:pt x="9803" y="34"/>
                  <a:pt x="10002" y="32"/>
                </a:cubicBezTo>
                <a:cubicBezTo>
                  <a:pt x="12825" y="0"/>
                  <a:pt x="15498" y="578"/>
                  <a:pt x="17953" y="2017"/>
                </a:cubicBezTo>
                <a:cubicBezTo>
                  <a:pt x="19059" y="2666"/>
                  <a:pt x="20013" y="3498"/>
                  <a:pt x="20830" y="4494"/>
                </a:cubicBezTo>
                <a:cubicBezTo>
                  <a:pt x="21359" y="5142"/>
                  <a:pt x="21868" y="5798"/>
                  <a:pt x="22257" y="6542"/>
                </a:cubicBezTo>
                <a:cubicBezTo>
                  <a:pt x="22825" y="7623"/>
                  <a:pt x="23179" y="8769"/>
                  <a:pt x="23268" y="9992"/>
                </a:cubicBezTo>
                <a:cubicBezTo>
                  <a:pt x="23448" y="12486"/>
                  <a:pt x="22635" y="14646"/>
                  <a:pt x="21056" y="16542"/>
                </a:cubicBezTo>
                <a:cubicBezTo>
                  <a:pt x="20097" y="17693"/>
                  <a:pt x="18926" y="18581"/>
                  <a:pt x="17619" y="19304"/>
                </a:cubicBezTo>
                <a:cubicBezTo>
                  <a:pt x="16674" y="19826"/>
                  <a:pt x="15697" y="20274"/>
                  <a:pt x="14661" y="20586"/>
                </a:cubicBezTo>
                <a:cubicBezTo>
                  <a:pt x="14448" y="20649"/>
                  <a:pt x="14242" y="20735"/>
                  <a:pt x="14030" y="20798"/>
                </a:cubicBezTo>
                <a:cubicBezTo>
                  <a:pt x="13923" y="20831"/>
                  <a:pt x="13808" y="20853"/>
                  <a:pt x="13698" y="20853"/>
                </a:cubicBezTo>
                <a:cubicBezTo>
                  <a:pt x="12912" y="20859"/>
                  <a:pt x="12128" y="20855"/>
                  <a:pt x="11343" y="20857"/>
                </a:cubicBezTo>
                <a:cubicBezTo>
                  <a:pt x="11114" y="20857"/>
                  <a:pt x="11108" y="20864"/>
                  <a:pt x="11108" y="21095"/>
                </a:cubicBezTo>
                <a:cubicBezTo>
                  <a:pt x="11107" y="21117"/>
                  <a:pt x="11110" y="21139"/>
                  <a:pt x="11107" y="21160"/>
                </a:cubicBezTo>
                <a:cubicBezTo>
                  <a:pt x="11007" y="21674"/>
                  <a:pt x="11265" y="22030"/>
                  <a:pt x="11630" y="22333"/>
                </a:cubicBezTo>
                <a:cubicBezTo>
                  <a:pt x="12359" y="22938"/>
                  <a:pt x="13047" y="23591"/>
                  <a:pt x="13847" y="24108"/>
                </a:cubicBezTo>
                <a:cubicBezTo>
                  <a:pt x="14142" y="24298"/>
                  <a:pt x="14423" y="24510"/>
                  <a:pt x="14708" y="24714"/>
                </a:cubicBezTo>
                <a:cubicBezTo>
                  <a:pt x="14751" y="24744"/>
                  <a:pt x="14790" y="24781"/>
                  <a:pt x="14839" y="24825"/>
                </a:cubicBezTo>
                <a:cubicBezTo>
                  <a:pt x="14581" y="25109"/>
                  <a:pt x="14295" y="25332"/>
                  <a:pt x="13973" y="25513"/>
                </a:cubicBezTo>
                <a:cubicBezTo>
                  <a:pt x="13178" y="25958"/>
                  <a:pt x="12322" y="26223"/>
                  <a:pt x="11422" y="26330"/>
                </a:cubicBezTo>
                <a:cubicBezTo>
                  <a:pt x="10487" y="26441"/>
                  <a:pt x="9550" y="26520"/>
                  <a:pt x="8606" y="26408"/>
                </a:cubicBezTo>
                <a:cubicBezTo>
                  <a:pt x="7571" y="26284"/>
                  <a:pt x="6597" y="25978"/>
                  <a:pt x="5716" y="25412"/>
                </a:cubicBezTo>
                <a:cubicBezTo>
                  <a:pt x="5502" y="25273"/>
                  <a:pt x="5317" y="25085"/>
                  <a:pt x="5092" y="24899"/>
                </a:cubicBezTo>
                <a:close/>
                <a:moveTo>
                  <a:pt x="12962" y="19647"/>
                </a:moveTo>
                <a:cubicBezTo>
                  <a:pt x="13036" y="19629"/>
                  <a:pt x="13110" y="19617"/>
                  <a:pt x="13180" y="19595"/>
                </a:cubicBezTo>
                <a:cubicBezTo>
                  <a:pt x="13619" y="19448"/>
                  <a:pt x="14056" y="19291"/>
                  <a:pt x="14498" y="19149"/>
                </a:cubicBezTo>
                <a:cubicBezTo>
                  <a:pt x="16095" y="18631"/>
                  <a:pt x="17491" y="17789"/>
                  <a:pt x="18626" y="16544"/>
                </a:cubicBezTo>
                <a:cubicBezTo>
                  <a:pt x="20304" y="14699"/>
                  <a:pt x="21115" y="12532"/>
                  <a:pt x="20931" y="10030"/>
                </a:cubicBezTo>
                <a:cubicBezTo>
                  <a:pt x="20784" y="8047"/>
                  <a:pt x="20005" y="6321"/>
                  <a:pt x="18663" y="4863"/>
                </a:cubicBezTo>
                <a:cubicBezTo>
                  <a:pt x="16470" y="2482"/>
                  <a:pt x="13670" y="1650"/>
                  <a:pt x="10524" y="1740"/>
                </a:cubicBezTo>
                <a:cubicBezTo>
                  <a:pt x="10478" y="1742"/>
                  <a:pt x="10402" y="1810"/>
                  <a:pt x="10393" y="1858"/>
                </a:cubicBezTo>
                <a:cubicBezTo>
                  <a:pt x="10360" y="2026"/>
                  <a:pt x="10352" y="2199"/>
                  <a:pt x="10332" y="2369"/>
                </a:cubicBezTo>
                <a:cubicBezTo>
                  <a:pt x="10315" y="2524"/>
                  <a:pt x="10391" y="2572"/>
                  <a:pt x="10535" y="2592"/>
                </a:cubicBezTo>
                <a:cubicBezTo>
                  <a:pt x="13169" y="2983"/>
                  <a:pt x="15319" y="4201"/>
                  <a:pt x="16870" y="6387"/>
                </a:cubicBezTo>
                <a:cubicBezTo>
                  <a:pt x="18058" y="8062"/>
                  <a:pt x="18589" y="9947"/>
                  <a:pt x="18366" y="11991"/>
                </a:cubicBezTo>
                <a:cubicBezTo>
                  <a:pt x="18131" y="14116"/>
                  <a:pt x="17292" y="15980"/>
                  <a:pt x="15714" y="17470"/>
                </a:cubicBezTo>
                <a:cubicBezTo>
                  <a:pt x="15116" y="18037"/>
                  <a:pt x="14506" y="18586"/>
                  <a:pt x="13781" y="18992"/>
                </a:cubicBezTo>
                <a:cubicBezTo>
                  <a:pt x="13536" y="19129"/>
                  <a:pt x="13292" y="19272"/>
                  <a:pt x="13045" y="19405"/>
                </a:cubicBezTo>
                <a:cubicBezTo>
                  <a:pt x="12942" y="19461"/>
                  <a:pt x="12925" y="19529"/>
                  <a:pt x="12962" y="19647"/>
                </a:cubicBezTo>
                <a:close/>
                <a:moveTo>
                  <a:pt x="8552" y="3876"/>
                </a:moveTo>
                <a:cubicBezTo>
                  <a:pt x="8543" y="3862"/>
                  <a:pt x="8534" y="3845"/>
                  <a:pt x="8525" y="3830"/>
                </a:cubicBezTo>
                <a:cubicBezTo>
                  <a:pt x="8405" y="3839"/>
                  <a:pt x="8281" y="3841"/>
                  <a:pt x="8161" y="3862"/>
                </a:cubicBezTo>
                <a:cubicBezTo>
                  <a:pt x="5585" y="4282"/>
                  <a:pt x="3709" y="5673"/>
                  <a:pt x="2514" y="7983"/>
                </a:cubicBezTo>
                <a:cubicBezTo>
                  <a:pt x="2311" y="8376"/>
                  <a:pt x="2160" y="8796"/>
                  <a:pt x="2020" y="9217"/>
                </a:cubicBezTo>
                <a:cubicBezTo>
                  <a:pt x="1823" y="9818"/>
                  <a:pt x="1658" y="10429"/>
                  <a:pt x="1478" y="11036"/>
                </a:cubicBezTo>
                <a:cubicBezTo>
                  <a:pt x="1448" y="11137"/>
                  <a:pt x="1492" y="11191"/>
                  <a:pt x="1581" y="11220"/>
                </a:cubicBezTo>
                <a:cubicBezTo>
                  <a:pt x="1631" y="11239"/>
                  <a:pt x="1682" y="11257"/>
                  <a:pt x="1736" y="11270"/>
                </a:cubicBezTo>
                <a:cubicBezTo>
                  <a:pt x="2732" y="11504"/>
                  <a:pt x="3746" y="11558"/>
                  <a:pt x="4766" y="11536"/>
                </a:cubicBezTo>
                <a:cubicBezTo>
                  <a:pt x="4869" y="11532"/>
                  <a:pt x="4914" y="11491"/>
                  <a:pt x="4912" y="11388"/>
                </a:cubicBezTo>
                <a:cubicBezTo>
                  <a:pt x="4908" y="11270"/>
                  <a:pt x="4906" y="11150"/>
                  <a:pt x="4917" y="11032"/>
                </a:cubicBezTo>
                <a:cubicBezTo>
                  <a:pt x="5015" y="10051"/>
                  <a:pt x="5264" y="9104"/>
                  <a:pt x="5583" y="8176"/>
                </a:cubicBezTo>
                <a:cubicBezTo>
                  <a:pt x="5699" y="7839"/>
                  <a:pt x="5843" y="7509"/>
                  <a:pt x="6009" y="7193"/>
                </a:cubicBezTo>
                <a:cubicBezTo>
                  <a:pt x="6620" y="6033"/>
                  <a:pt x="7461" y="5048"/>
                  <a:pt x="8373" y="4118"/>
                </a:cubicBezTo>
                <a:cubicBezTo>
                  <a:pt x="8442" y="4048"/>
                  <a:pt x="8493" y="3957"/>
                  <a:pt x="8552" y="3876"/>
                </a:cubicBezTo>
                <a:close/>
                <a:moveTo>
                  <a:pt x="9076" y="4695"/>
                </a:moveTo>
                <a:cubicBezTo>
                  <a:pt x="9061" y="4684"/>
                  <a:pt x="9045" y="4675"/>
                  <a:pt x="9028" y="4664"/>
                </a:cubicBezTo>
                <a:cubicBezTo>
                  <a:pt x="8917" y="4767"/>
                  <a:pt x="8787" y="4856"/>
                  <a:pt x="8704" y="4978"/>
                </a:cubicBezTo>
                <a:cubicBezTo>
                  <a:pt x="8252" y="5638"/>
                  <a:pt x="7805" y="6302"/>
                  <a:pt x="7370" y="6972"/>
                </a:cubicBezTo>
                <a:cubicBezTo>
                  <a:pt x="6931" y="7645"/>
                  <a:pt x="6531" y="8339"/>
                  <a:pt x="6391" y="9147"/>
                </a:cubicBezTo>
                <a:cubicBezTo>
                  <a:pt x="6282" y="9770"/>
                  <a:pt x="6168" y="10392"/>
                  <a:pt x="6075" y="11017"/>
                </a:cubicBezTo>
                <a:cubicBezTo>
                  <a:pt x="6037" y="11281"/>
                  <a:pt x="6074" y="11316"/>
                  <a:pt x="6334" y="11335"/>
                </a:cubicBezTo>
                <a:cubicBezTo>
                  <a:pt x="7169" y="11395"/>
                  <a:pt x="8006" y="11447"/>
                  <a:pt x="8842" y="11495"/>
                </a:cubicBezTo>
                <a:cubicBezTo>
                  <a:pt x="9069" y="11510"/>
                  <a:pt x="9095" y="11477"/>
                  <a:pt x="9095" y="11250"/>
                </a:cubicBezTo>
                <a:cubicBezTo>
                  <a:pt x="9096" y="9126"/>
                  <a:pt x="9096" y="7003"/>
                  <a:pt x="9095" y="4882"/>
                </a:cubicBezTo>
                <a:cubicBezTo>
                  <a:pt x="9095" y="4819"/>
                  <a:pt x="9083" y="4758"/>
                  <a:pt x="9076" y="4695"/>
                </a:cubicBezTo>
                <a:close/>
                <a:moveTo>
                  <a:pt x="2101" y="12360"/>
                </a:moveTo>
                <a:cubicBezTo>
                  <a:pt x="2105" y="12384"/>
                  <a:pt x="2107" y="12405"/>
                  <a:pt x="2110" y="12427"/>
                </a:cubicBezTo>
                <a:cubicBezTo>
                  <a:pt x="2265" y="13631"/>
                  <a:pt x="2730" y="14718"/>
                  <a:pt x="3372" y="15736"/>
                </a:cubicBezTo>
                <a:cubicBezTo>
                  <a:pt x="3724" y="16295"/>
                  <a:pt x="4174" y="16769"/>
                  <a:pt x="4679" y="17192"/>
                </a:cubicBezTo>
                <a:cubicBezTo>
                  <a:pt x="5048" y="17500"/>
                  <a:pt x="5415" y="17819"/>
                  <a:pt x="5825" y="18066"/>
                </a:cubicBezTo>
                <a:cubicBezTo>
                  <a:pt x="6280" y="18339"/>
                  <a:pt x="6784" y="18538"/>
                  <a:pt x="7269" y="18765"/>
                </a:cubicBezTo>
                <a:cubicBezTo>
                  <a:pt x="7315" y="18787"/>
                  <a:pt x="7378" y="18776"/>
                  <a:pt x="7433" y="18780"/>
                </a:cubicBezTo>
                <a:cubicBezTo>
                  <a:pt x="7418" y="18723"/>
                  <a:pt x="7416" y="18656"/>
                  <a:pt x="7385" y="18610"/>
                </a:cubicBezTo>
                <a:cubicBezTo>
                  <a:pt x="7140" y="18247"/>
                  <a:pt x="6870" y="17898"/>
                  <a:pt x="6645" y="17524"/>
                </a:cubicBezTo>
                <a:cubicBezTo>
                  <a:pt x="6431" y="17168"/>
                  <a:pt x="6260" y="16786"/>
                  <a:pt x="6070" y="16415"/>
                </a:cubicBezTo>
                <a:cubicBezTo>
                  <a:pt x="5515" y="15332"/>
                  <a:pt x="5190" y="14185"/>
                  <a:pt x="5116" y="12969"/>
                </a:cubicBezTo>
                <a:cubicBezTo>
                  <a:pt x="5107" y="12829"/>
                  <a:pt x="5059" y="12775"/>
                  <a:pt x="4919" y="12753"/>
                </a:cubicBezTo>
                <a:cubicBezTo>
                  <a:pt x="4311" y="12655"/>
                  <a:pt x="3704" y="12547"/>
                  <a:pt x="3099" y="12434"/>
                </a:cubicBezTo>
                <a:cubicBezTo>
                  <a:pt x="2817" y="12382"/>
                  <a:pt x="2540" y="12310"/>
                  <a:pt x="2260" y="12251"/>
                </a:cubicBezTo>
                <a:cubicBezTo>
                  <a:pt x="2173" y="12233"/>
                  <a:pt x="2088" y="12233"/>
                  <a:pt x="2101" y="12360"/>
                </a:cubicBezTo>
                <a:close/>
                <a:moveTo>
                  <a:pt x="10561" y="4789"/>
                </a:moveTo>
                <a:cubicBezTo>
                  <a:pt x="10539" y="4802"/>
                  <a:pt x="10515" y="4813"/>
                  <a:pt x="10492" y="4826"/>
                </a:cubicBezTo>
                <a:cubicBezTo>
                  <a:pt x="10492" y="4906"/>
                  <a:pt x="10492" y="4983"/>
                  <a:pt x="10492" y="5062"/>
                </a:cubicBezTo>
                <a:cubicBezTo>
                  <a:pt x="10494" y="5894"/>
                  <a:pt x="10504" y="6728"/>
                  <a:pt x="10496" y="7562"/>
                </a:cubicBezTo>
                <a:cubicBezTo>
                  <a:pt x="10489" y="8671"/>
                  <a:pt x="10463" y="9781"/>
                  <a:pt x="10456" y="10892"/>
                </a:cubicBezTo>
                <a:cubicBezTo>
                  <a:pt x="10454" y="11344"/>
                  <a:pt x="10350" y="11323"/>
                  <a:pt x="10896" y="11300"/>
                </a:cubicBezTo>
                <a:cubicBezTo>
                  <a:pt x="11511" y="11274"/>
                  <a:pt x="12127" y="11228"/>
                  <a:pt x="12741" y="11198"/>
                </a:cubicBezTo>
                <a:cubicBezTo>
                  <a:pt x="13030" y="11183"/>
                  <a:pt x="13086" y="11137"/>
                  <a:pt x="13025" y="10859"/>
                </a:cubicBezTo>
                <a:cubicBezTo>
                  <a:pt x="12918" y="10366"/>
                  <a:pt x="12809" y="9875"/>
                  <a:pt x="12682" y="9388"/>
                </a:cubicBezTo>
                <a:cubicBezTo>
                  <a:pt x="12420" y="8392"/>
                  <a:pt x="12068" y="7426"/>
                  <a:pt x="11675" y="6476"/>
                </a:cubicBezTo>
                <a:cubicBezTo>
                  <a:pt x="11461" y="5957"/>
                  <a:pt x="11247" y="5442"/>
                  <a:pt x="10841" y="5038"/>
                </a:cubicBezTo>
                <a:cubicBezTo>
                  <a:pt x="10753" y="4950"/>
                  <a:pt x="10655" y="4872"/>
                  <a:pt x="10561" y="4789"/>
                </a:cubicBezTo>
                <a:close/>
                <a:moveTo>
                  <a:pt x="9034" y="18734"/>
                </a:moveTo>
                <a:cubicBezTo>
                  <a:pt x="9054" y="18723"/>
                  <a:pt x="9074" y="18714"/>
                  <a:pt x="9096" y="18702"/>
                </a:cubicBezTo>
                <a:cubicBezTo>
                  <a:pt x="9096" y="18579"/>
                  <a:pt x="9096" y="18455"/>
                  <a:pt x="9096" y="18332"/>
                </a:cubicBezTo>
                <a:cubicBezTo>
                  <a:pt x="9096" y="17134"/>
                  <a:pt x="9096" y="15939"/>
                  <a:pt x="9096" y="14742"/>
                </a:cubicBezTo>
                <a:cubicBezTo>
                  <a:pt x="9096" y="14227"/>
                  <a:pt x="9093" y="13712"/>
                  <a:pt x="9096" y="13198"/>
                </a:cubicBezTo>
                <a:cubicBezTo>
                  <a:pt x="9098" y="13069"/>
                  <a:pt x="9052" y="13017"/>
                  <a:pt x="8917" y="13013"/>
                </a:cubicBezTo>
                <a:cubicBezTo>
                  <a:pt x="8084" y="12984"/>
                  <a:pt x="7252" y="12947"/>
                  <a:pt x="6419" y="12914"/>
                </a:cubicBezTo>
                <a:cubicBezTo>
                  <a:pt x="6199" y="12904"/>
                  <a:pt x="6194" y="12908"/>
                  <a:pt x="6253" y="13128"/>
                </a:cubicBezTo>
                <a:cubicBezTo>
                  <a:pt x="6352" y="13498"/>
                  <a:pt x="6465" y="13867"/>
                  <a:pt x="6559" y="14240"/>
                </a:cubicBezTo>
                <a:cubicBezTo>
                  <a:pt x="6955" y="15815"/>
                  <a:pt x="7645" y="17238"/>
                  <a:pt x="8739" y="18450"/>
                </a:cubicBezTo>
                <a:cubicBezTo>
                  <a:pt x="8831" y="18551"/>
                  <a:pt x="8934" y="18640"/>
                  <a:pt x="9034" y="18734"/>
                </a:cubicBezTo>
                <a:close/>
                <a:moveTo>
                  <a:pt x="11979" y="4358"/>
                </a:moveTo>
                <a:cubicBezTo>
                  <a:pt x="11962" y="4378"/>
                  <a:pt x="11948" y="4396"/>
                  <a:pt x="11933" y="4417"/>
                </a:cubicBezTo>
                <a:cubicBezTo>
                  <a:pt x="11981" y="4472"/>
                  <a:pt x="12018" y="4544"/>
                  <a:pt x="12077" y="4579"/>
                </a:cubicBezTo>
                <a:cubicBezTo>
                  <a:pt x="12359" y="4745"/>
                  <a:pt x="12521" y="5022"/>
                  <a:pt x="12698" y="5276"/>
                </a:cubicBezTo>
                <a:cubicBezTo>
                  <a:pt x="13176" y="5959"/>
                  <a:pt x="13624" y="6662"/>
                  <a:pt x="13928" y="7446"/>
                </a:cubicBezTo>
                <a:cubicBezTo>
                  <a:pt x="14268" y="8315"/>
                  <a:pt x="14511" y="9202"/>
                  <a:pt x="14495" y="10145"/>
                </a:cubicBezTo>
                <a:cubicBezTo>
                  <a:pt x="14489" y="10372"/>
                  <a:pt x="14491" y="10599"/>
                  <a:pt x="14489" y="10825"/>
                </a:cubicBezTo>
                <a:cubicBezTo>
                  <a:pt x="14487" y="11023"/>
                  <a:pt x="14541" y="11082"/>
                  <a:pt x="14734" y="11078"/>
                </a:cubicBezTo>
                <a:cubicBezTo>
                  <a:pt x="14858" y="11076"/>
                  <a:pt x="14981" y="11062"/>
                  <a:pt x="15103" y="11047"/>
                </a:cubicBezTo>
                <a:cubicBezTo>
                  <a:pt x="15494" y="10995"/>
                  <a:pt x="15885" y="10940"/>
                  <a:pt x="16276" y="10890"/>
                </a:cubicBezTo>
                <a:cubicBezTo>
                  <a:pt x="16413" y="10873"/>
                  <a:pt x="16461" y="10794"/>
                  <a:pt x="16451" y="10667"/>
                </a:cubicBezTo>
                <a:cubicBezTo>
                  <a:pt x="16440" y="10506"/>
                  <a:pt x="16426" y="10344"/>
                  <a:pt x="16416" y="10183"/>
                </a:cubicBezTo>
                <a:cubicBezTo>
                  <a:pt x="16398" y="9903"/>
                  <a:pt x="16383" y="9630"/>
                  <a:pt x="16300" y="9353"/>
                </a:cubicBezTo>
                <a:cubicBezTo>
                  <a:pt x="15688" y="7300"/>
                  <a:pt x="14467" y="5732"/>
                  <a:pt x="12599" y="4677"/>
                </a:cubicBezTo>
                <a:cubicBezTo>
                  <a:pt x="12396" y="4563"/>
                  <a:pt x="12186" y="4463"/>
                  <a:pt x="11979" y="4358"/>
                </a:cubicBezTo>
                <a:close/>
                <a:moveTo>
                  <a:pt x="11594" y="18579"/>
                </a:moveTo>
                <a:cubicBezTo>
                  <a:pt x="13545" y="17651"/>
                  <a:pt x="15022" y="16245"/>
                  <a:pt x="15948" y="14294"/>
                </a:cubicBezTo>
                <a:cubicBezTo>
                  <a:pt x="16274" y="13605"/>
                  <a:pt x="16453" y="12868"/>
                  <a:pt x="16652" y="12102"/>
                </a:cubicBezTo>
                <a:cubicBezTo>
                  <a:pt x="16566" y="12119"/>
                  <a:pt x="16525" y="12126"/>
                  <a:pt x="16485" y="12135"/>
                </a:cubicBezTo>
                <a:cubicBezTo>
                  <a:pt x="15857" y="12296"/>
                  <a:pt x="15230" y="12462"/>
                  <a:pt x="14602" y="12615"/>
                </a:cubicBezTo>
                <a:cubicBezTo>
                  <a:pt x="14354" y="12674"/>
                  <a:pt x="14369" y="12666"/>
                  <a:pt x="14319" y="12906"/>
                </a:cubicBezTo>
                <a:cubicBezTo>
                  <a:pt x="14198" y="13493"/>
                  <a:pt x="14107" y="14094"/>
                  <a:pt x="13908" y="14657"/>
                </a:cubicBezTo>
                <a:cubicBezTo>
                  <a:pt x="13692" y="15269"/>
                  <a:pt x="13392" y="15858"/>
                  <a:pt x="13084" y="16433"/>
                </a:cubicBezTo>
                <a:cubicBezTo>
                  <a:pt x="12715" y="17118"/>
                  <a:pt x="12337" y="17802"/>
                  <a:pt x="11778" y="18361"/>
                </a:cubicBezTo>
                <a:cubicBezTo>
                  <a:pt x="11710" y="18428"/>
                  <a:pt x="11654" y="18505"/>
                  <a:pt x="11594" y="18579"/>
                </a:cubicBezTo>
                <a:close/>
                <a:moveTo>
                  <a:pt x="10465" y="18811"/>
                </a:moveTo>
                <a:cubicBezTo>
                  <a:pt x="10480" y="18819"/>
                  <a:pt x="10494" y="18824"/>
                  <a:pt x="10509" y="18832"/>
                </a:cubicBezTo>
                <a:cubicBezTo>
                  <a:pt x="10540" y="18806"/>
                  <a:pt x="10575" y="18784"/>
                  <a:pt x="10598" y="18752"/>
                </a:cubicBezTo>
                <a:cubicBezTo>
                  <a:pt x="11177" y="17957"/>
                  <a:pt x="11712" y="17134"/>
                  <a:pt x="12014" y="16194"/>
                </a:cubicBezTo>
                <a:cubicBezTo>
                  <a:pt x="12333" y="15207"/>
                  <a:pt x="12615" y="14207"/>
                  <a:pt x="12912" y="13213"/>
                </a:cubicBezTo>
                <a:cubicBezTo>
                  <a:pt x="12945" y="13100"/>
                  <a:pt x="12962" y="12984"/>
                  <a:pt x="12991" y="12849"/>
                </a:cubicBezTo>
                <a:cubicBezTo>
                  <a:pt x="12931" y="12849"/>
                  <a:pt x="12890" y="12847"/>
                  <a:pt x="12849" y="12849"/>
                </a:cubicBezTo>
                <a:cubicBezTo>
                  <a:pt x="12110" y="12895"/>
                  <a:pt x="11370" y="12947"/>
                  <a:pt x="10631" y="12987"/>
                </a:cubicBezTo>
                <a:cubicBezTo>
                  <a:pt x="10491" y="12995"/>
                  <a:pt x="10450" y="13045"/>
                  <a:pt x="10450" y="13185"/>
                </a:cubicBezTo>
                <a:cubicBezTo>
                  <a:pt x="10454" y="14993"/>
                  <a:pt x="10452" y="16801"/>
                  <a:pt x="10454" y="18607"/>
                </a:cubicBezTo>
                <a:cubicBezTo>
                  <a:pt x="10454" y="18675"/>
                  <a:pt x="10461" y="18743"/>
                  <a:pt x="10465" y="18811"/>
                </a:cubicBezTo>
                <a:close/>
                <a:moveTo>
                  <a:pt x="11866" y="25375"/>
                </a:moveTo>
                <a:cubicBezTo>
                  <a:pt x="11769" y="25244"/>
                  <a:pt x="11710" y="25163"/>
                  <a:pt x="11649" y="25082"/>
                </a:cubicBezTo>
                <a:cubicBezTo>
                  <a:pt x="11490" y="24871"/>
                  <a:pt x="11315" y="24670"/>
                  <a:pt x="11175" y="24447"/>
                </a:cubicBezTo>
                <a:cubicBezTo>
                  <a:pt x="11002" y="24176"/>
                  <a:pt x="10856" y="23888"/>
                  <a:pt x="10703" y="23606"/>
                </a:cubicBezTo>
                <a:cubicBezTo>
                  <a:pt x="10539" y="23305"/>
                  <a:pt x="10317" y="23028"/>
                  <a:pt x="10321" y="22658"/>
                </a:cubicBezTo>
                <a:cubicBezTo>
                  <a:pt x="10323" y="22578"/>
                  <a:pt x="10304" y="22497"/>
                  <a:pt x="10295" y="22416"/>
                </a:cubicBezTo>
                <a:cubicBezTo>
                  <a:pt x="10262" y="22150"/>
                  <a:pt x="10253" y="22147"/>
                  <a:pt x="9983" y="22152"/>
                </a:cubicBezTo>
                <a:cubicBezTo>
                  <a:pt x="9854" y="22156"/>
                  <a:pt x="9814" y="22213"/>
                  <a:pt x="9817" y="22331"/>
                </a:cubicBezTo>
                <a:cubicBezTo>
                  <a:pt x="9821" y="22479"/>
                  <a:pt x="9817" y="22624"/>
                  <a:pt x="9817" y="22770"/>
                </a:cubicBezTo>
                <a:cubicBezTo>
                  <a:pt x="9817" y="23615"/>
                  <a:pt x="9819" y="24458"/>
                  <a:pt x="9817" y="25303"/>
                </a:cubicBezTo>
                <a:cubicBezTo>
                  <a:pt x="9816" y="25441"/>
                  <a:pt x="9856" y="25511"/>
                  <a:pt x="10007" y="25511"/>
                </a:cubicBezTo>
                <a:cubicBezTo>
                  <a:pt x="10310" y="25511"/>
                  <a:pt x="10612" y="25548"/>
                  <a:pt x="10911" y="25526"/>
                </a:cubicBezTo>
                <a:cubicBezTo>
                  <a:pt x="11215" y="25504"/>
                  <a:pt x="11516" y="25432"/>
                  <a:pt x="11866" y="25375"/>
                </a:cubicBezTo>
                <a:close/>
              </a:path>
            </a:pathLst>
          </a:custGeom>
          <a:solidFill>
            <a:srgbClr val="C65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Freeform 15">
            <a:extLst>
              <a:ext uri="{FF2B5EF4-FFF2-40B4-BE49-F238E27FC236}">
                <a16:creationId xmlns:a16="http://schemas.microsoft.com/office/drawing/2014/main" id="{8F51A8CD-F90F-45F9-94A8-F538D1671AC7}"/>
              </a:ext>
            </a:extLst>
          </p:cNvPr>
          <p:cNvSpPr>
            <a:spLocks noEditPoints="1"/>
          </p:cNvSpPr>
          <p:nvPr/>
        </p:nvSpPr>
        <p:spPr bwMode="auto">
          <a:xfrm>
            <a:off x="4745038" y="2114550"/>
            <a:ext cx="215900" cy="247650"/>
          </a:xfrm>
          <a:custGeom>
            <a:avLst/>
            <a:gdLst>
              <a:gd name="T0" fmla="*/ 10579 w 22224"/>
              <a:gd name="T1" fmla="*/ 13371 h 25496"/>
              <a:gd name="T2" fmla="*/ 10389 w 22224"/>
              <a:gd name="T3" fmla="*/ 13467 h 25496"/>
              <a:gd name="T4" fmla="*/ 6712 w 22224"/>
              <a:gd name="T5" fmla="*/ 14294 h 25496"/>
              <a:gd name="T6" fmla="*/ 381 w 22224"/>
              <a:gd name="T7" fmla="*/ 8991 h 25496"/>
              <a:gd name="T8" fmla="*/ 1182 w 22224"/>
              <a:gd name="T9" fmla="*/ 4028 h 25496"/>
              <a:gd name="T10" fmla="*/ 6567 w 22224"/>
              <a:gd name="T11" fmla="*/ 410 h 25496"/>
              <a:gd name="T12" fmla="*/ 13642 w 22224"/>
              <a:gd name="T13" fmla="*/ 4167 h 25496"/>
              <a:gd name="T14" fmla="*/ 14253 w 22224"/>
              <a:gd name="T15" fmla="*/ 7898 h 25496"/>
              <a:gd name="T16" fmla="*/ 12276 w 22224"/>
              <a:gd name="T17" fmla="*/ 12054 h 25496"/>
              <a:gd name="T18" fmla="*/ 12236 w 22224"/>
              <a:gd name="T19" fmla="*/ 12109 h 25496"/>
              <a:gd name="T20" fmla="*/ 13110 w 22224"/>
              <a:gd name="T21" fmla="*/ 13290 h 25496"/>
              <a:gd name="T22" fmla="*/ 13571 w 22224"/>
              <a:gd name="T23" fmla="*/ 13247 h 25496"/>
              <a:gd name="T24" fmla="*/ 13872 w 22224"/>
              <a:gd name="T25" fmla="*/ 13361 h 25496"/>
              <a:gd name="T26" fmla="*/ 16319 w 22224"/>
              <a:gd name="T27" fmla="*/ 15780 h 25496"/>
              <a:gd name="T28" fmla="*/ 16999 w 22224"/>
              <a:gd name="T29" fmla="*/ 16498 h 25496"/>
              <a:gd name="T30" fmla="*/ 17953 w 22224"/>
              <a:gd name="T31" fmla="*/ 17422 h 25496"/>
              <a:gd name="T32" fmla="*/ 20928 w 22224"/>
              <a:gd name="T33" fmla="*/ 20416 h 25496"/>
              <a:gd name="T34" fmla="*/ 22036 w 22224"/>
              <a:gd name="T35" fmla="*/ 21514 h 25496"/>
              <a:gd name="T36" fmla="*/ 22152 w 22224"/>
              <a:gd name="T37" fmla="*/ 21780 h 25496"/>
              <a:gd name="T38" fmla="*/ 20606 w 22224"/>
              <a:gd name="T39" fmla="*/ 24789 h 25496"/>
              <a:gd name="T40" fmla="*/ 18161 w 22224"/>
              <a:gd name="T41" fmla="*/ 25348 h 25496"/>
              <a:gd name="T42" fmla="*/ 17868 w 22224"/>
              <a:gd name="T43" fmla="*/ 25277 h 25496"/>
              <a:gd name="T44" fmla="*/ 17455 w 22224"/>
              <a:gd name="T45" fmla="*/ 24947 h 25496"/>
              <a:gd name="T46" fmla="*/ 15549 w 22224"/>
              <a:gd name="T47" fmla="*/ 21727 h 25496"/>
              <a:gd name="T48" fmla="*/ 14788 w 22224"/>
              <a:gd name="T49" fmla="*/ 20406 h 25496"/>
              <a:gd name="T50" fmla="*/ 14149 w 22224"/>
              <a:gd name="T51" fmla="*/ 19322 h 25496"/>
              <a:gd name="T52" fmla="*/ 13547 w 22224"/>
              <a:gd name="T53" fmla="*/ 18281 h 25496"/>
              <a:gd name="T54" fmla="*/ 12328 w 22224"/>
              <a:gd name="T55" fmla="*/ 16222 h 25496"/>
              <a:gd name="T56" fmla="*/ 11633 w 22224"/>
              <a:gd name="T57" fmla="*/ 14929 h 25496"/>
              <a:gd name="T58" fmla="*/ 11064 w 22224"/>
              <a:gd name="T59" fmla="*/ 14016 h 25496"/>
              <a:gd name="T60" fmla="*/ 10658 w 22224"/>
              <a:gd name="T61" fmla="*/ 13455 h 25496"/>
              <a:gd name="T62" fmla="*/ 10579 w 22224"/>
              <a:gd name="T63" fmla="*/ 13371 h 25496"/>
              <a:gd name="T64" fmla="*/ 12127 w 22224"/>
              <a:gd name="T65" fmla="*/ 10624 h 25496"/>
              <a:gd name="T66" fmla="*/ 12307 w 22224"/>
              <a:gd name="T67" fmla="*/ 10363 h 25496"/>
              <a:gd name="T68" fmla="*/ 12603 w 22224"/>
              <a:gd name="T69" fmla="*/ 9681 h 25496"/>
              <a:gd name="T70" fmla="*/ 12952 w 22224"/>
              <a:gd name="T71" fmla="*/ 5571 h 25496"/>
              <a:gd name="T72" fmla="*/ 9617 w 22224"/>
              <a:gd name="T73" fmla="*/ 1956 h 25496"/>
              <a:gd name="T74" fmla="*/ 7145 w 22224"/>
              <a:gd name="T75" fmla="*/ 1584 h 25496"/>
              <a:gd name="T76" fmla="*/ 5341 w 22224"/>
              <a:gd name="T77" fmla="*/ 2074 h 25496"/>
              <a:gd name="T78" fmla="*/ 5215 w 22224"/>
              <a:gd name="T79" fmla="*/ 2191 h 25496"/>
              <a:gd name="T80" fmla="*/ 5235 w 22224"/>
              <a:gd name="T81" fmla="*/ 2245 h 25496"/>
              <a:gd name="T82" fmla="*/ 5428 w 22224"/>
              <a:gd name="T83" fmla="*/ 2247 h 25496"/>
              <a:gd name="T84" fmla="*/ 6486 w 22224"/>
              <a:gd name="T85" fmla="*/ 2148 h 25496"/>
              <a:gd name="T86" fmla="*/ 11295 w 22224"/>
              <a:gd name="T87" fmla="*/ 4614 h 25496"/>
              <a:gd name="T88" fmla="*/ 12108 w 22224"/>
              <a:gd name="T89" fmla="*/ 9979 h 25496"/>
              <a:gd name="T90" fmla="*/ 12009 w 22224"/>
              <a:gd name="T91" fmla="*/ 10282 h 25496"/>
              <a:gd name="T92" fmla="*/ 12127 w 22224"/>
              <a:gd name="T93" fmla="*/ 10624 h 25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224" h="25496">
                <a:moveTo>
                  <a:pt x="10579" y="13371"/>
                </a:moveTo>
                <a:cubicBezTo>
                  <a:pt x="10514" y="13404"/>
                  <a:pt x="10451" y="13435"/>
                  <a:pt x="10389" y="13467"/>
                </a:cubicBezTo>
                <a:cubicBezTo>
                  <a:pt x="9238" y="14072"/>
                  <a:pt x="8010" y="14347"/>
                  <a:pt x="6712" y="14294"/>
                </a:cubicBezTo>
                <a:cubicBezTo>
                  <a:pt x="3619" y="14168"/>
                  <a:pt x="1039" y="12018"/>
                  <a:pt x="381" y="8991"/>
                </a:cubicBezTo>
                <a:cubicBezTo>
                  <a:pt x="0" y="7240"/>
                  <a:pt x="281" y="5569"/>
                  <a:pt x="1182" y="4028"/>
                </a:cubicBezTo>
                <a:cubicBezTo>
                  <a:pt x="2389" y="1962"/>
                  <a:pt x="4198" y="735"/>
                  <a:pt x="6567" y="410"/>
                </a:cubicBezTo>
                <a:cubicBezTo>
                  <a:pt x="9564" y="0"/>
                  <a:pt x="12366" y="1510"/>
                  <a:pt x="13642" y="4167"/>
                </a:cubicBezTo>
                <a:cubicBezTo>
                  <a:pt x="14210" y="5348"/>
                  <a:pt x="14410" y="6597"/>
                  <a:pt x="14253" y="7898"/>
                </a:cubicBezTo>
                <a:cubicBezTo>
                  <a:pt x="14060" y="9502"/>
                  <a:pt x="13387" y="10884"/>
                  <a:pt x="12276" y="12054"/>
                </a:cubicBezTo>
                <a:cubicBezTo>
                  <a:pt x="12260" y="12072"/>
                  <a:pt x="12249" y="12093"/>
                  <a:pt x="12236" y="12109"/>
                </a:cubicBezTo>
                <a:cubicBezTo>
                  <a:pt x="12304" y="12291"/>
                  <a:pt x="12752" y="12897"/>
                  <a:pt x="13110" y="13290"/>
                </a:cubicBezTo>
                <a:cubicBezTo>
                  <a:pt x="13271" y="13276"/>
                  <a:pt x="13421" y="13266"/>
                  <a:pt x="13571" y="13247"/>
                </a:cubicBezTo>
                <a:cubicBezTo>
                  <a:pt x="13695" y="13231"/>
                  <a:pt x="13788" y="13276"/>
                  <a:pt x="13872" y="13361"/>
                </a:cubicBezTo>
                <a:cubicBezTo>
                  <a:pt x="14687" y="14168"/>
                  <a:pt x="15505" y="14972"/>
                  <a:pt x="16319" y="15780"/>
                </a:cubicBezTo>
                <a:cubicBezTo>
                  <a:pt x="16552" y="16013"/>
                  <a:pt x="16767" y="16264"/>
                  <a:pt x="16999" y="16498"/>
                </a:cubicBezTo>
                <a:cubicBezTo>
                  <a:pt x="17313" y="16810"/>
                  <a:pt x="17641" y="17108"/>
                  <a:pt x="17953" y="17422"/>
                </a:cubicBezTo>
                <a:cubicBezTo>
                  <a:pt x="18946" y="18418"/>
                  <a:pt x="19935" y="19418"/>
                  <a:pt x="20928" y="20416"/>
                </a:cubicBezTo>
                <a:cubicBezTo>
                  <a:pt x="21294" y="20786"/>
                  <a:pt x="21664" y="21151"/>
                  <a:pt x="22036" y="21514"/>
                </a:cubicBezTo>
                <a:cubicBezTo>
                  <a:pt x="22112" y="21591"/>
                  <a:pt x="22146" y="21671"/>
                  <a:pt x="22152" y="21780"/>
                </a:cubicBezTo>
                <a:cubicBezTo>
                  <a:pt x="22224" y="23085"/>
                  <a:pt x="21648" y="24063"/>
                  <a:pt x="20606" y="24789"/>
                </a:cubicBezTo>
                <a:cubicBezTo>
                  <a:pt x="19873" y="25298"/>
                  <a:pt x="19053" y="25496"/>
                  <a:pt x="18161" y="25348"/>
                </a:cubicBezTo>
                <a:cubicBezTo>
                  <a:pt x="18062" y="25332"/>
                  <a:pt x="17963" y="25311"/>
                  <a:pt x="17868" y="25277"/>
                </a:cubicBezTo>
                <a:cubicBezTo>
                  <a:pt x="17695" y="25215"/>
                  <a:pt x="17558" y="25125"/>
                  <a:pt x="17455" y="24947"/>
                </a:cubicBezTo>
                <a:cubicBezTo>
                  <a:pt x="16829" y="23870"/>
                  <a:pt x="16184" y="22802"/>
                  <a:pt x="15549" y="21727"/>
                </a:cubicBezTo>
                <a:cubicBezTo>
                  <a:pt x="15291" y="21290"/>
                  <a:pt x="15043" y="20845"/>
                  <a:pt x="14788" y="20406"/>
                </a:cubicBezTo>
                <a:cubicBezTo>
                  <a:pt x="14577" y="20043"/>
                  <a:pt x="14361" y="19684"/>
                  <a:pt x="14149" y="19322"/>
                </a:cubicBezTo>
                <a:cubicBezTo>
                  <a:pt x="13948" y="18976"/>
                  <a:pt x="13751" y="18626"/>
                  <a:pt x="13547" y="18281"/>
                </a:cubicBezTo>
                <a:cubicBezTo>
                  <a:pt x="13142" y="17595"/>
                  <a:pt x="12728" y="16912"/>
                  <a:pt x="12328" y="16222"/>
                </a:cubicBezTo>
                <a:cubicBezTo>
                  <a:pt x="12083" y="15798"/>
                  <a:pt x="11822" y="15378"/>
                  <a:pt x="11633" y="14929"/>
                </a:cubicBezTo>
                <a:cubicBezTo>
                  <a:pt x="11490" y="14586"/>
                  <a:pt x="11273" y="14307"/>
                  <a:pt x="11064" y="14016"/>
                </a:cubicBezTo>
                <a:cubicBezTo>
                  <a:pt x="10930" y="13827"/>
                  <a:pt x="10794" y="13641"/>
                  <a:pt x="10658" y="13455"/>
                </a:cubicBezTo>
                <a:cubicBezTo>
                  <a:pt x="10639" y="13428"/>
                  <a:pt x="10611" y="13404"/>
                  <a:pt x="10579" y="13371"/>
                </a:cubicBezTo>
                <a:close/>
                <a:moveTo>
                  <a:pt x="12127" y="10624"/>
                </a:moveTo>
                <a:cubicBezTo>
                  <a:pt x="12191" y="10532"/>
                  <a:pt x="12264" y="10455"/>
                  <a:pt x="12307" y="10363"/>
                </a:cubicBezTo>
                <a:cubicBezTo>
                  <a:pt x="12412" y="10139"/>
                  <a:pt x="12497" y="9906"/>
                  <a:pt x="12603" y="9681"/>
                </a:cubicBezTo>
                <a:cubicBezTo>
                  <a:pt x="13232" y="8354"/>
                  <a:pt x="13386" y="6980"/>
                  <a:pt x="12952" y="5571"/>
                </a:cubicBezTo>
                <a:cubicBezTo>
                  <a:pt x="12419" y="3842"/>
                  <a:pt x="11295" y="2636"/>
                  <a:pt x="9617" y="1956"/>
                </a:cubicBezTo>
                <a:cubicBezTo>
                  <a:pt x="8826" y="1634"/>
                  <a:pt x="7992" y="1539"/>
                  <a:pt x="7145" y="1584"/>
                </a:cubicBezTo>
                <a:cubicBezTo>
                  <a:pt x="6511" y="1619"/>
                  <a:pt x="5914" y="1807"/>
                  <a:pt x="5341" y="2074"/>
                </a:cubicBezTo>
                <a:cubicBezTo>
                  <a:pt x="5292" y="2098"/>
                  <a:pt x="5256" y="2151"/>
                  <a:pt x="5215" y="2191"/>
                </a:cubicBezTo>
                <a:cubicBezTo>
                  <a:pt x="5221" y="2209"/>
                  <a:pt x="5227" y="2228"/>
                  <a:pt x="5235" y="2245"/>
                </a:cubicBezTo>
                <a:cubicBezTo>
                  <a:pt x="5300" y="2247"/>
                  <a:pt x="5364" y="2253"/>
                  <a:pt x="5428" y="2247"/>
                </a:cubicBezTo>
                <a:cubicBezTo>
                  <a:pt x="5781" y="2213"/>
                  <a:pt x="6134" y="2144"/>
                  <a:pt x="6486" y="2148"/>
                </a:cubicBezTo>
                <a:cubicBezTo>
                  <a:pt x="8498" y="2164"/>
                  <a:pt x="10134" y="2968"/>
                  <a:pt x="11295" y="4614"/>
                </a:cubicBezTo>
                <a:cubicBezTo>
                  <a:pt x="12449" y="6250"/>
                  <a:pt x="12662" y="8066"/>
                  <a:pt x="12108" y="9979"/>
                </a:cubicBezTo>
                <a:cubicBezTo>
                  <a:pt x="12078" y="10080"/>
                  <a:pt x="12039" y="10179"/>
                  <a:pt x="12009" y="10282"/>
                </a:cubicBezTo>
                <a:cubicBezTo>
                  <a:pt x="11964" y="10434"/>
                  <a:pt x="11990" y="10533"/>
                  <a:pt x="12127" y="10624"/>
                </a:cubicBezTo>
                <a:close/>
              </a:path>
            </a:pathLst>
          </a:custGeom>
          <a:solidFill>
            <a:srgbClr val="C65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pic>
        <p:nvPicPr>
          <p:cNvPr id="35" name="Picture 5">
            <a:extLst>
              <a:ext uri="{FF2B5EF4-FFF2-40B4-BE49-F238E27FC236}">
                <a16:creationId xmlns:a16="http://schemas.microsoft.com/office/drawing/2014/main" id="{FC52B007-C0F1-49F7-802D-0037E631EB2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716463" y="2550410"/>
            <a:ext cx="267017" cy="229057"/>
          </a:xfrm>
          <a:prstGeom prst="rect">
            <a:avLst/>
          </a:prstGeom>
          <a:solidFill>
            <a:schemeClr val="tx2"/>
          </a:solidFill>
          <a:ln>
            <a:noFill/>
          </a:ln>
          <a:effectLst/>
        </p:spPr>
      </p:pic>
      <p:sp>
        <p:nvSpPr>
          <p:cNvPr id="36" name="AutoShape 11">
            <a:extLst>
              <a:ext uri="{FF2B5EF4-FFF2-40B4-BE49-F238E27FC236}">
                <a16:creationId xmlns:a16="http://schemas.microsoft.com/office/drawing/2014/main" id="{AE66190F-3490-415F-9AC8-06E83AEA4883}"/>
              </a:ext>
            </a:extLst>
          </p:cNvPr>
          <p:cNvSpPr>
            <a:spLocks noChangeAspect="1" noChangeArrowheads="1" noTextEdit="1"/>
          </p:cNvSpPr>
          <p:nvPr/>
        </p:nvSpPr>
        <p:spPr bwMode="auto">
          <a:xfrm>
            <a:off x="4759667" y="2966983"/>
            <a:ext cx="215900" cy="255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7" name="Freeform 13">
            <a:extLst>
              <a:ext uri="{FF2B5EF4-FFF2-40B4-BE49-F238E27FC236}">
                <a16:creationId xmlns:a16="http://schemas.microsoft.com/office/drawing/2014/main" id="{82D4D2EF-29F1-4689-A0FE-B37C7C1ACC80}"/>
              </a:ext>
            </a:extLst>
          </p:cNvPr>
          <p:cNvSpPr>
            <a:spLocks noEditPoints="1"/>
          </p:cNvSpPr>
          <p:nvPr/>
        </p:nvSpPr>
        <p:spPr bwMode="auto">
          <a:xfrm>
            <a:off x="4725164" y="2955444"/>
            <a:ext cx="215900" cy="260126"/>
          </a:xfrm>
          <a:custGeom>
            <a:avLst/>
            <a:gdLst>
              <a:gd name="T0" fmla="*/ 358 w 3040"/>
              <a:gd name="T1" fmla="*/ 3532 h 3600"/>
              <a:gd name="T2" fmla="*/ 523 w 3040"/>
              <a:gd name="T3" fmla="*/ 3296 h 3600"/>
              <a:gd name="T4" fmla="*/ 511 w 3040"/>
              <a:gd name="T5" fmla="*/ 3205 h 3600"/>
              <a:gd name="T6" fmla="*/ 24 w 3040"/>
              <a:gd name="T7" fmla="*/ 2338 h 3600"/>
              <a:gd name="T8" fmla="*/ 486 w 3040"/>
              <a:gd name="T9" fmla="*/ 1086 h 3600"/>
              <a:gd name="T10" fmla="*/ 762 w 3040"/>
              <a:gd name="T11" fmla="*/ 903 h 3600"/>
              <a:gd name="T12" fmla="*/ 919 w 3040"/>
              <a:gd name="T13" fmla="*/ 480 h 3600"/>
              <a:gd name="T14" fmla="*/ 1206 w 3040"/>
              <a:gd name="T15" fmla="*/ 289 h 3600"/>
              <a:gd name="T16" fmla="*/ 1440 w 3040"/>
              <a:gd name="T17" fmla="*/ 21 h 3600"/>
              <a:gd name="T18" fmla="*/ 1572 w 3040"/>
              <a:gd name="T19" fmla="*/ 300 h 3600"/>
              <a:gd name="T20" fmla="*/ 1926 w 3040"/>
              <a:gd name="T21" fmla="*/ 699 h 3600"/>
              <a:gd name="T22" fmla="*/ 2367 w 3040"/>
              <a:gd name="T23" fmla="*/ 917 h 3600"/>
              <a:gd name="T24" fmla="*/ 2742 w 3040"/>
              <a:gd name="T25" fmla="*/ 1256 h 3600"/>
              <a:gd name="T26" fmla="*/ 2951 w 3040"/>
              <a:gd name="T27" fmla="*/ 1689 h 3600"/>
              <a:gd name="T28" fmla="*/ 3025 w 3040"/>
              <a:gd name="T29" fmla="*/ 2006 h 3600"/>
              <a:gd name="T30" fmla="*/ 2995 w 3040"/>
              <a:gd name="T31" fmla="*/ 2528 h 3600"/>
              <a:gd name="T32" fmla="*/ 2796 w 3040"/>
              <a:gd name="T33" fmla="*/ 2904 h 3600"/>
              <a:gd name="T34" fmla="*/ 2519 w 3040"/>
              <a:gd name="T35" fmla="*/ 3201 h 3600"/>
              <a:gd name="T36" fmla="*/ 2380 w 3040"/>
              <a:gd name="T37" fmla="*/ 3587 h 3600"/>
              <a:gd name="T38" fmla="*/ 1983 w 3040"/>
              <a:gd name="T39" fmla="*/ 3492 h 3600"/>
              <a:gd name="T40" fmla="*/ 1532 w 3040"/>
              <a:gd name="T41" fmla="*/ 3574 h 3600"/>
              <a:gd name="T42" fmla="*/ 772 w 3040"/>
              <a:gd name="T43" fmla="*/ 3415 h 3600"/>
              <a:gd name="T44" fmla="*/ 1755 w 3040"/>
              <a:gd name="T45" fmla="*/ 878 h 3600"/>
              <a:gd name="T46" fmla="*/ 2665 w 3040"/>
              <a:gd name="T47" fmla="*/ 2381 h 3600"/>
              <a:gd name="T48" fmla="*/ 2616 w 3040"/>
              <a:gd name="T49" fmla="*/ 2823 h 3600"/>
              <a:gd name="T50" fmla="*/ 2779 w 3040"/>
              <a:gd name="T51" fmla="*/ 2311 h 3600"/>
              <a:gd name="T52" fmla="*/ 2687 w 3040"/>
              <a:gd name="T53" fmla="*/ 1570 h 3600"/>
              <a:gd name="T54" fmla="*/ 1987 w 3040"/>
              <a:gd name="T55" fmla="*/ 925 h 3600"/>
              <a:gd name="T56" fmla="*/ 1784 w 3040"/>
              <a:gd name="T57" fmla="*/ 3159 h 3600"/>
              <a:gd name="T58" fmla="*/ 1649 w 3040"/>
              <a:gd name="T59" fmla="*/ 2690 h 3600"/>
              <a:gd name="T60" fmla="*/ 1510 w 3040"/>
              <a:gd name="T61" fmla="*/ 2151 h 3600"/>
              <a:gd name="T62" fmla="*/ 1474 w 3040"/>
              <a:gd name="T63" fmla="*/ 1718 h 3600"/>
              <a:gd name="T64" fmla="*/ 1396 w 3040"/>
              <a:gd name="T65" fmla="*/ 1135 h 3600"/>
              <a:gd name="T66" fmla="*/ 1375 w 3040"/>
              <a:gd name="T67" fmla="*/ 1489 h 3600"/>
              <a:gd name="T68" fmla="*/ 1336 w 3040"/>
              <a:gd name="T69" fmla="*/ 2112 h 3600"/>
              <a:gd name="T70" fmla="*/ 1352 w 3040"/>
              <a:gd name="T71" fmla="*/ 2329 h 3600"/>
              <a:gd name="T72" fmla="*/ 1766 w 3040"/>
              <a:gd name="T73" fmla="*/ 3144 h 3600"/>
              <a:gd name="T74" fmla="*/ 143 w 3040"/>
              <a:gd name="T75" fmla="*/ 2252 h 3600"/>
              <a:gd name="T76" fmla="*/ 143 w 3040"/>
              <a:gd name="T77" fmla="*/ 2006 h 3600"/>
              <a:gd name="T78" fmla="*/ 2535 w 3040"/>
              <a:gd name="T79" fmla="*/ 2007 h 3600"/>
              <a:gd name="T80" fmla="*/ 1311 w 3040"/>
              <a:gd name="T81" fmla="*/ 1026 h 3600"/>
              <a:gd name="T82" fmla="*/ 1311 w 3040"/>
              <a:gd name="T83" fmla="*/ 745 h 3600"/>
              <a:gd name="T84" fmla="*/ 1609 w 3040"/>
              <a:gd name="T85" fmla="*/ 3180 h 3600"/>
              <a:gd name="T86" fmla="*/ 1609 w 3040"/>
              <a:gd name="T87" fmla="*/ 34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40" h="3600">
                <a:moveTo>
                  <a:pt x="765" y="3411"/>
                </a:moveTo>
                <a:cubicBezTo>
                  <a:pt x="734" y="3452"/>
                  <a:pt x="704" y="3491"/>
                  <a:pt x="673" y="3532"/>
                </a:cubicBezTo>
                <a:cubicBezTo>
                  <a:pt x="569" y="3532"/>
                  <a:pt x="463" y="3532"/>
                  <a:pt x="358" y="3532"/>
                </a:cubicBezTo>
                <a:cubicBezTo>
                  <a:pt x="351" y="3522"/>
                  <a:pt x="356" y="3515"/>
                  <a:pt x="362" y="3507"/>
                </a:cubicBezTo>
                <a:cubicBezTo>
                  <a:pt x="401" y="3458"/>
                  <a:pt x="439" y="3408"/>
                  <a:pt x="477" y="3359"/>
                </a:cubicBezTo>
                <a:cubicBezTo>
                  <a:pt x="493" y="3338"/>
                  <a:pt x="508" y="3317"/>
                  <a:pt x="523" y="3296"/>
                </a:cubicBezTo>
                <a:cubicBezTo>
                  <a:pt x="528" y="3290"/>
                  <a:pt x="530" y="3283"/>
                  <a:pt x="534" y="3276"/>
                </a:cubicBezTo>
                <a:cubicBezTo>
                  <a:pt x="539" y="3266"/>
                  <a:pt x="545" y="3256"/>
                  <a:pt x="552" y="3243"/>
                </a:cubicBezTo>
                <a:cubicBezTo>
                  <a:pt x="540" y="3231"/>
                  <a:pt x="525" y="3218"/>
                  <a:pt x="511" y="3205"/>
                </a:cubicBezTo>
                <a:cubicBezTo>
                  <a:pt x="468" y="3163"/>
                  <a:pt x="424" y="3122"/>
                  <a:pt x="383" y="3078"/>
                </a:cubicBezTo>
                <a:cubicBezTo>
                  <a:pt x="311" y="3002"/>
                  <a:pt x="256" y="2915"/>
                  <a:pt x="203" y="2825"/>
                </a:cubicBezTo>
                <a:cubicBezTo>
                  <a:pt x="114" y="2673"/>
                  <a:pt x="51" y="2512"/>
                  <a:pt x="24" y="2338"/>
                </a:cubicBezTo>
                <a:cubicBezTo>
                  <a:pt x="3" y="2207"/>
                  <a:pt x="0" y="2076"/>
                  <a:pt x="19" y="1945"/>
                </a:cubicBezTo>
                <a:cubicBezTo>
                  <a:pt x="58" y="1666"/>
                  <a:pt x="174" y="1423"/>
                  <a:pt x="363" y="1214"/>
                </a:cubicBezTo>
                <a:cubicBezTo>
                  <a:pt x="403" y="1170"/>
                  <a:pt x="442" y="1125"/>
                  <a:pt x="486" y="1086"/>
                </a:cubicBezTo>
                <a:cubicBezTo>
                  <a:pt x="501" y="1072"/>
                  <a:pt x="517" y="1061"/>
                  <a:pt x="531" y="1046"/>
                </a:cubicBezTo>
                <a:cubicBezTo>
                  <a:pt x="578" y="994"/>
                  <a:pt x="643" y="969"/>
                  <a:pt x="702" y="935"/>
                </a:cubicBezTo>
                <a:cubicBezTo>
                  <a:pt x="721" y="923"/>
                  <a:pt x="742" y="914"/>
                  <a:pt x="762" y="903"/>
                </a:cubicBezTo>
                <a:cubicBezTo>
                  <a:pt x="769" y="899"/>
                  <a:pt x="775" y="893"/>
                  <a:pt x="783" y="888"/>
                </a:cubicBezTo>
                <a:cubicBezTo>
                  <a:pt x="783" y="882"/>
                  <a:pt x="783" y="876"/>
                  <a:pt x="783" y="870"/>
                </a:cubicBezTo>
                <a:cubicBezTo>
                  <a:pt x="780" y="723"/>
                  <a:pt x="828" y="595"/>
                  <a:pt x="919" y="480"/>
                </a:cubicBezTo>
                <a:cubicBezTo>
                  <a:pt x="969" y="419"/>
                  <a:pt x="1028" y="369"/>
                  <a:pt x="1095" y="330"/>
                </a:cubicBezTo>
                <a:cubicBezTo>
                  <a:pt x="1125" y="313"/>
                  <a:pt x="1158" y="302"/>
                  <a:pt x="1189" y="289"/>
                </a:cubicBezTo>
                <a:cubicBezTo>
                  <a:pt x="1194" y="287"/>
                  <a:pt x="1201" y="289"/>
                  <a:pt x="1206" y="289"/>
                </a:cubicBezTo>
                <a:cubicBezTo>
                  <a:pt x="1212" y="285"/>
                  <a:pt x="1218" y="281"/>
                  <a:pt x="1226" y="276"/>
                </a:cubicBezTo>
                <a:cubicBezTo>
                  <a:pt x="1216" y="245"/>
                  <a:pt x="1212" y="211"/>
                  <a:pt x="1217" y="177"/>
                </a:cubicBezTo>
                <a:cubicBezTo>
                  <a:pt x="1234" y="73"/>
                  <a:pt x="1336" y="0"/>
                  <a:pt x="1440" y="21"/>
                </a:cubicBezTo>
                <a:cubicBezTo>
                  <a:pt x="1476" y="29"/>
                  <a:pt x="1511" y="42"/>
                  <a:pt x="1540" y="67"/>
                </a:cubicBezTo>
                <a:cubicBezTo>
                  <a:pt x="1600" y="120"/>
                  <a:pt x="1616" y="201"/>
                  <a:pt x="1583" y="277"/>
                </a:cubicBezTo>
                <a:cubicBezTo>
                  <a:pt x="1579" y="284"/>
                  <a:pt x="1576" y="292"/>
                  <a:pt x="1572" y="300"/>
                </a:cubicBezTo>
                <a:cubicBezTo>
                  <a:pt x="1595" y="310"/>
                  <a:pt x="1619" y="317"/>
                  <a:pt x="1639" y="329"/>
                </a:cubicBezTo>
                <a:cubicBezTo>
                  <a:pt x="1667" y="346"/>
                  <a:pt x="1693" y="365"/>
                  <a:pt x="1717" y="387"/>
                </a:cubicBezTo>
                <a:cubicBezTo>
                  <a:pt x="1813" y="473"/>
                  <a:pt x="1883" y="577"/>
                  <a:pt x="1926" y="699"/>
                </a:cubicBezTo>
                <a:cubicBezTo>
                  <a:pt x="1937" y="729"/>
                  <a:pt x="1952" y="746"/>
                  <a:pt x="1984" y="754"/>
                </a:cubicBezTo>
                <a:cubicBezTo>
                  <a:pt x="2059" y="771"/>
                  <a:pt x="2130" y="798"/>
                  <a:pt x="2200" y="827"/>
                </a:cubicBezTo>
                <a:cubicBezTo>
                  <a:pt x="2259" y="852"/>
                  <a:pt x="2313" y="883"/>
                  <a:pt x="2367" y="917"/>
                </a:cubicBezTo>
                <a:cubicBezTo>
                  <a:pt x="2433" y="959"/>
                  <a:pt x="2497" y="1005"/>
                  <a:pt x="2557" y="1055"/>
                </a:cubicBezTo>
                <a:cubicBezTo>
                  <a:pt x="2595" y="1087"/>
                  <a:pt x="2630" y="1124"/>
                  <a:pt x="2664" y="1161"/>
                </a:cubicBezTo>
                <a:cubicBezTo>
                  <a:pt x="2691" y="1191"/>
                  <a:pt x="2717" y="1223"/>
                  <a:pt x="2742" y="1256"/>
                </a:cubicBezTo>
                <a:cubicBezTo>
                  <a:pt x="2793" y="1328"/>
                  <a:pt x="2832" y="1406"/>
                  <a:pt x="2867" y="1486"/>
                </a:cubicBezTo>
                <a:cubicBezTo>
                  <a:pt x="2878" y="1511"/>
                  <a:pt x="2891" y="1534"/>
                  <a:pt x="2901" y="1559"/>
                </a:cubicBezTo>
                <a:cubicBezTo>
                  <a:pt x="2919" y="1602"/>
                  <a:pt x="2936" y="1645"/>
                  <a:pt x="2951" y="1689"/>
                </a:cubicBezTo>
                <a:cubicBezTo>
                  <a:pt x="2966" y="1734"/>
                  <a:pt x="2981" y="1780"/>
                  <a:pt x="2993" y="1826"/>
                </a:cubicBezTo>
                <a:cubicBezTo>
                  <a:pt x="3003" y="1869"/>
                  <a:pt x="3008" y="1913"/>
                  <a:pt x="3015" y="1957"/>
                </a:cubicBezTo>
                <a:cubicBezTo>
                  <a:pt x="3018" y="1973"/>
                  <a:pt x="3022" y="1990"/>
                  <a:pt x="3025" y="2006"/>
                </a:cubicBezTo>
                <a:cubicBezTo>
                  <a:pt x="3040" y="2086"/>
                  <a:pt x="3040" y="2167"/>
                  <a:pt x="3036" y="2248"/>
                </a:cubicBezTo>
                <a:cubicBezTo>
                  <a:pt x="3033" y="2294"/>
                  <a:pt x="3030" y="2341"/>
                  <a:pt x="3024" y="2387"/>
                </a:cubicBezTo>
                <a:cubicBezTo>
                  <a:pt x="3017" y="2434"/>
                  <a:pt x="3007" y="2482"/>
                  <a:pt x="2995" y="2528"/>
                </a:cubicBezTo>
                <a:cubicBezTo>
                  <a:pt x="2988" y="2554"/>
                  <a:pt x="2975" y="2579"/>
                  <a:pt x="2964" y="2604"/>
                </a:cubicBezTo>
                <a:cubicBezTo>
                  <a:pt x="2951" y="2636"/>
                  <a:pt x="2939" y="2669"/>
                  <a:pt x="2923" y="2700"/>
                </a:cubicBezTo>
                <a:cubicBezTo>
                  <a:pt x="2886" y="2771"/>
                  <a:pt x="2844" y="2839"/>
                  <a:pt x="2796" y="2904"/>
                </a:cubicBezTo>
                <a:cubicBezTo>
                  <a:pt x="2776" y="2930"/>
                  <a:pt x="2759" y="2959"/>
                  <a:pt x="2739" y="2986"/>
                </a:cubicBezTo>
                <a:cubicBezTo>
                  <a:pt x="2702" y="3037"/>
                  <a:pt x="2655" y="3079"/>
                  <a:pt x="2609" y="3120"/>
                </a:cubicBezTo>
                <a:cubicBezTo>
                  <a:pt x="2579" y="3147"/>
                  <a:pt x="2551" y="3177"/>
                  <a:pt x="2519" y="3201"/>
                </a:cubicBezTo>
                <a:cubicBezTo>
                  <a:pt x="2434" y="3266"/>
                  <a:pt x="2349" y="3330"/>
                  <a:pt x="2254" y="3379"/>
                </a:cubicBezTo>
                <a:cubicBezTo>
                  <a:pt x="2256" y="3404"/>
                  <a:pt x="2272" y="3423"/>
                  <a:pt x="2285" y="3444"/>
                </a:cubicBezTo>
                <a:cubicBezTo>
                  <a:pt x="2317" y="3491"/>
                  <a:pt x="2348" y="3539"/>
                  <a:pt x="2380" y="3587"/>
                </a:cubicBezTo>
                <a:cubicBezTo>
                  <a:pt x="2382" y="3590"/>
                  <a:pt x="2384" y="3594"/>
                  <a:pt x="2388" y="3600"/>
                </a:cubicBezTo>
                <a:cubicBezTo>
                  <a:pt x="2280" y="3600"/>
                  <a:pt x="2174" y="3600"/>
                  <a:pt x="2066" y="3600"/>
                </a:cubicBezTo>
                <a:cubicBezTo>
                  <a:pt x="2039" y="3565"/>
                  <a:pt x="2011" y="3529"/>
                  <a:pt x="1983" y="3492"/>
                </a:cubicBezTo>
                <a:cubicBezTo>
                  <a:pt x="1964" y="3497"/>
                  <a:pt x="1945" y="3502"/>
                  <a:pt x="1926" y="3507"/>
                </a:cubicBezTo>
                <a:cubicBezTo>
                  <a:pt x="1845" y="3533"/>
                  <a:pt x="1763" y="3551"/>
                  <a:pt x="1679" y="3563"/>
                </a:cubicBezTo>
                <a:cubicBezTo>
                  <a:pt x="1631" y="3571"/>
                  <a:pt x="1581" y="3573"/>
                  <a:pt x="1532" y="3574"/>
                </a:cubicBezTo>
                <a:cubicBezTo>
                  <a:pt x="1467" y="3576"/>
                  <a:pt x="1402" y="3574"/>
                  <a:pt x="1338" y="3574"/>
                </a:cubicBezTo>
                <a:cubicBezTo>
                  <a:pt x="1255" y="3574"/>
                  <a:pt x="1174" y="3568"/>
                  <a:pt x="1093" y="3552"/>
                </a:cubicBezTo>
                <a:cubicBezTo>
                  <a:pt x="976" y="3529"/>
                  <a:pt x="868" y="3486"/>
                  <a:pt x="772" y="3415"/>
                </a:cubicBezTo>
                <a:cubicBezTo>
                  <a:pt x="770" y="3413"/>
                  <a:pt x="768" y="3412"/>
                  <a:pt x="765" y="3411"/>
                </a:cubicBezTo>
                <a:close/>
                <a:moveTo>
                  <a:pt x="1779" y="863"/>
                </a:moveTo>
                <a:cubicBezTo>
                  <a:pt x="1773" y="867"/>
                  <a:pt x="1766" y="872"/>
                  <a:pt x="1755" y="878"/>
                </a:cubicBezTo>
                <a:cubicBezTo>
                  <a:pt x="1781" y="892"/>
                  <a:pt x="1803" y="906"/>
                  <a:pt x="1825" y="917"/>
                </a:cubicBezTo>
                <a:cubicBezTo>
                  <a:pt x="1935" y="974"/>
                  <a:pt x="2037" y="1041"/>
                  <a:pt x="2128" y="1124"/>
                </a:cubicBezTo>
                <a:cubicBezTo>
                  <a:pt x="2497" y="1461"/>
                  <a:pt x="2669" y="1884"/>
                  <a:pt x="2665" y="2381"/>
                </a:cubicBezTo>
                <a:cubicBezTo>
                  <a:pt x="2664" y="2557"/>
                  <a:pt x="2632" y="2727"/>
                  <a:pt x="2575" y="2893"/>
                </a:cubicBezTo>
                <a:cubicBezTo>
                  <a:pt x="2573" y="2899"/>
                  <a:pt x="2572" y="2904"/>
                  <a:pt x="2571" y="2910"/>
                </a:cubicBezTo>
                <a:cubicBezTo>
                  <a:pt x="2589" y="2882"/>
                  <a:pt x="2603" y="2853"/>
                  <a:pt x="2616" y="2823"/>
                </a:cubicBezTo>
                <a:cubicBezTo>
                  <a:pt x="2635" y="2774"/>
                  <a:pt x="2653" y="2724"/>
                  <a:pt x="2671" y="2676"/>
                </a:cubicBezTo>
                <a:cubicBezTo>
                  <a:pt x="2688" y="2630"/>
                  <a:pt x="2709" y="2586"/>
                  <a:pt x="2723" y="2539"/>
                </a:cubicBezTo>
                <a:cubicBezTo>
                  <a:pt x="2745" y="2464"/>
                  <a:pt x="2771" y="2390"/>
                  <a:pt x="2779" y="2311"/>
                </a:cubicBezTo>
                <a:cubicBezTo>
                  <a:pt x="2788" y="2229"/>
                  <a:pt x="2798" y="2148"/>
                  <a:pt x="2798" y="2065"/>
                </a:cubicBezTo>
                <a:cubicBezTo>
                  <a:pt x="2798" y="2022"/>
                  <a:pt x="2792" y="1979"/>
                  <a:pt x="2787" y="1936"/>
                </a:cubicBezTo>
                <a:cubicBezTo>
                  <a:pt x="2771" y="1809"/>
                  <a:pt x="2739" y="1687"/>
                  <a:pt x="2687" y="1570"/>
                </a:cubicBezTo>
                <a:cubicBezTo>
                  <a:pt x="2611" y="1401"/>
                  <a:pt x="2503" y="1256"/>
                  <a:pt x="2353" y="1145"/>
                </a:cubicBezTo>
                <a:cubicBezTo>
                  <a:pt x="2293" y="1101"/>
                  <a:pt x="2231" y="1061"/>
                  <a:pt x="2170" y="1019"/>
                </a:cubicBezTo>
                <a:cubicBezTo>
                  <a:pt x="2113" y="980"/>
                  <a:pt x="2051" y="950"/>
                  <a:pt x="1987" y="925"/>
                </a:cubicBezTo>
                <a:cubicBezTo>
                  <a:pt x="1921" y="899"/>
                  <a:pt x="1852" y="879"/>
                  <a:pt x="1779" y="863"/>
                </a:cubicBezTo>
                <a:close/>
                <a:moveTo>
                  <a:pt x="1778" y="3161"/>
                </a:moveTo>
                <a:cubicBezTo>
                  <a:pt x="1780" y="3160"/>
                  <a:pt x="1782" y="3160"/>
                  <a:pt x="1784" y="3159"/>
                </a:cubicBezTo>
                <a:cubicBezTo>
                  <a:pt x="1784" y="3144"/>
                  <a:pt x="1779" y="3130"/>
                  <a:pt x="1775" y="3116"/>
                </a:cubicBezTo>
                <a:cubicBezTo>
                  <a:pt x="1756" y="3048"/>
                  <a:pt x="1737" y="2981"/>
                  <a:pt x="1717" y="2913"/>
                </a:cubicBezTo>
                <a:cubicBezTo>
                  <a:pt x="1695" y="2839"/>
                  <a:pt x="1671" y="2765"/>
                  <a:pt x="1649" y="2690"/>
                </a:cubicBezTo>
                <a:cubicBezTo>
                  <a:pt x="1634" y="2644"/>
                  <a:pt x="1619" y="2597"/>
                  <a:pt x="1606" y="2550"/>
                </a:cubicBezTo>
                <a:cubicBezTo>
                  <a:pt x="1579" y="2455"/>
                  <a:pt x="1555" y="2359"/>
                  <a:pt x="1528" y="2263"/>
                </a:cubicBezTo>
                <a:cubicBezTo>
                  <a:pt x="1517" y="2226"/>
                  <a:pt x="1505" y="2190"/>
                  <a:pt x="1510" y="2151"/>
                </a:cubicBezTo>
                <a:cubicBezTo>
                  <a:pt x="1512" y="2136"/>
                  <a:pt x="1509" y="2120"/>
                  <a:pt x="1508" y="2105"/>
                </a:cubicBezTo>
                <a:cubicBezTo>
                  <a:pt x="1506" y="2061"/>
                  <a:pt x="1505" y="2017"/>
                  <a:pt x="1501" y="1973"/>
                </a:cubicBezTo>
                <a:cubicBezTo>
                  <a:pt x="1493" y="1888"/>
                  <a:pt x="1484" y="1803"/>
                  <a:pt x="1474" y="1718"/>
                </a:cubicBezTo>
                <a:cubicBezTo>
                  <a:pt x="1463" y="1622"/>
                  <a:pt x="1452" y="1527"/>
                  <a:pt x="1440" y="1432"/>
                </a:cubicBezTo>
                <a:cubicBezTo>
                  <a:pt x="1427" y="1338"/>
                  <a:pt x="1414" y="1243"/>
                  <a:pt x="1402" y="1148"/>
                </a:cubicBezTo>
                <a:cubicBezTo>
                  <a:pt x="1401" y="1146"/>
                  <a:pt x="1399" y="1143"/>
                  <a:pt x="1396" y="1135"/>
                </a:cubicBezTo>
                <a:cubicBezTo>
                  <a:pt x="1395" y="1143"/>
                  <a:pt x="1393" y="1146"/>
                  <a:pt x="1393" y="1148"/>
                </a:cubicBezTo>
                <a:cubicBezTo>
                  <a:pt x="1389" y="1209"/>
                  <a:pt x="1386" y="1270"/>
                  <a:pt x="1382" y="1331"/>
                </a:cubicBezTo>
                <a:cubicBezTo>
                  <a:pt x="1380" y="1384"/>
                  <a:pt x="1378" y="1436"/>
                  <a:pt x="1375" y="1489"/>
                </a:cubicBezTo>
                <a:cubicBezTo>
                  <a:pt x="1373" y="1527"/>
                  <a:pt x="1368" y="1565"/>
                  <a:pt x="1365" y="1603"/>
                </a:cubicBezTo>
                <a:cubicBezTo>
                  <a:pt x="1360" y="1688"/>
                  <a:pt x="1355" y="1773"/>
                  <a:pt x="1350" y="1859"/>
                </a:cubicBezTo>
                <a:cubicBezTo>
                  <a:pt x="1345" y="1943"/>
                  <a:pt x="1340" y="2028"/>
                  <a:pt x="1336" y="2112"/>
                </a:cubicBezTo>
                <a:cubicBezTo>
                  <a:pt x="1333" y="2155"/>
                  <a:pt x="1332" y="2198"/>
                  <a:pt x="1329" y="2240"/>
                </a:cubicBezTo>
                <a:cubicBezTo>
                  <a:pt x="1326" y="2270"/>
                  <a:pt x="1327" y="2297"/>
                  <a:pt x="1348" y="2321"/>
                </a:cubicBezTo>
                <a:cubicBezTo>
                  <a:pt x="1350" y="2323"/>
                  <a:pt x="1351" y="2326"/>
                  <a:pt x="1352" y="2329"/>
                </a:cubicBezTo>
                <a:cubicBezTo>
                  <a:pt x="1364" y="2353"/>
                  <a:pt x="1376" y="2378"/>
                  <a:pt x="1389" y="2402"/>
                </a:cubicBezTo>
                <a:cubicBezTo>
                  <a:pt x="1442" y="2504"/>
                  <a:pt x="1496" y="2605"/>
                  <a:pt x="1549" y="2708"/>
                </a:cubicBezTo>
                <a:cubicBezTo>
                  <a:pt x="1623" y="2852"/>
                  <a:pt x="1701" y="2995"/>
                  <a:pt x="1766" y="3144"/>
                </a:cubicBezTo>
                <a:cubicBezTo>
                  <a:pt x="1769" y="3150"/>
                  <a:pt x="1774" y="3155"/>
                  <a:pt x="1778" y="3161"/>
                </a:cubicBezTo>
                <a:close/>
                <a:moveTo>
                  <a:pt x="143" y="2006"/>
                </a:moveTo>
                <a:cubicBezTo>
                  <a:pt x="143" y="2090"/>
                  <a:pt x="143" y="2171"/>
                  <a:pt x="143" y="2252"/>
                </a:cubicBezTo>
                <a:cubicBezTo>
                  <a:pt x="255" y="2252"/>
                  <a:pt x="365" y="2252"/>
                  <a:pt x="476" y="2252"/>
                </a:cubicBezTo>
                <a:cubicBezTo>
                  <a:pt x="476" y="2170"/>
                  <a:pt x="476" y="2089"/>
                  <a:pt x="476" y="2006"/>
                </a:cubicBezTo>
                <a:cubicBezTo>
                  <a:pt x="365" y="2006"/>
                  <a:pt x="255" y="2006"/>
                  <a:pt x="143" y="2006"/>
                </a:cubicBezTo>
                <a:close/>
                <a:moveTo>
                  <a:pt x="2202" y="2252"/>
                </a:moveTo>
                <a:cubicBezTo>
                  <a:pt x="2315" y="2252"/>
                  <a:pt x="2424" y="2252"/>
                  <a:pt x="2535" y="2252"/>
                </a:cubicBezTo>
                <a:cubicBezTo>
                  <a:pt x="2535" y="2169"/>
                  <a:pt x="2535" y="2088"/>
                  <a:pt x="2535" y="2007"/>
                </a:cubicBezTo>
                <a:cubicBezTo>
                  <a:pt x="2423" y="2007"/>
                  <a:pt x="2313" y="2007"/>
                  <a:pt x="2202" y="2007"/>
                </a:cubicBezTo>
                <a:cubicBezTo>
                  <a:pt x="2202" y="2089"/>
                  <a:pt x="2202" y="2170"/>
                  <a:pt x="2202" y="2252"/>
                </a:cubicBezTo>
                <a:close/>
                <a:moveTo>
                  <a:pt x="1311" y="1026"/>
                </a:moveTo>
                <a:cubicBezTo>
                  <a:pt x="1394" y="1026"/>
                  <a:pt x="1475" y="1026"/>
                  <a:pt x="1556" y="1026"/>
                </a:cubicBezTo>
                <a:cubicBezTo>
                  <a:pt x="1560" y="989"/>
                  <a:pt x="1559" y="760"/>
                  <a:pt x="1554" y="745"/>
                </a:cubicBezTo>
                <a:cubicBezTo>
                  <a:pt x="1473" y="745"/>
                  <a:pt x="1393" y="745"/>
                  <a:pt x="1311" y="745"/>
                </a:cubicBezTo>
                <a:cubicBezTo>
                  <a:pt x="1311" y="839"/>
                  <a:pt x="1311" y="932"/>
                  <a:pt x="1311" y="1026"/>
                </a:cubicBezTo>
                <a:close/>
                <a:moveTo>
                  <a:pt x="1609" y="3456"/>
                </a:moveTo>
                <a:cubicBezTo>
                  <a:pt x="1609" y="3363"/>
                  <a:pt x="1609" y="3272"/>
                  <a:pt x="1609" y="3180"/>
                </a:cubicBezTo>
                <a:cubicBezTo>
                  <a:pt x="1537" y="3180"/>
                  <a:pt x="1466" y="3180"/>
                  <a:pt x="1395" y="3180"/>
                </a:cubicBezTo>
                <a:cubicBezTo>
                  <a:pt x="1395" y="3273"/>
                  <a:pt x="1395" y="3364"/>
                  <a:pt x="1395" y="3456"/>
                </a:cubicBezTo>
                <a:cubicBezTo>
                  <a:pt x="1466" y="3456"/>
                  <a:pt x="1536" y="3456"/>
                  <a:pt x="1609" y="3456"/>
                </a:cubicBezTo>
                <a:close/>
              </a:path>
            </a:pathLst>
          </a:custGeom>
          <a:solidFill>
            <a:schemeClr val="tx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pic>
        <p:nvPicPr>
          <p:cNvPr id="41" name="Picture 24">
            <a:extLst>
              <a:ext uri="{FF2B5EF4-FFF2-40B4-BE49-F238E27FC236}">
                <a16:creationId xmlns:a16="http://schemas.microsoft.com/office/drawing/2014/main" id="{B31F0BD5-4BDB-4301-A21E-CEADDB082490}"/>
              </a:ext>
            </a:extLst>
          </p:cNvPr>
          <p:cNvPicPr>
            <a:picLocks noChangeAspect="1" noChangeArrowheads="1"/>
          </p:cNvPicPr>
          <p:nvPr/>
        </p:nvPicPr>
        <p:blipFill>
          <a:blip r:embed="rId3" cstate="print">
            <a:duotone>
              <a:prstClr val="black"/>
              <a:schemeClr val="tx2">
                <a:tint val="45000"/>
                <a:satMod val="400000"/>
              </a:schemeClr>
            </a:duotone>
            <a:lum bright="-33000" contrast="23000"/>
            <a:extLst>
              <a:ext uri="{28A0092B-C50C-407E-A947-70E740481C1C}">
                <a14:useLocalDpi xmlns:a14="http://schemas.microsoft.com/office/drawing/2010/main" val="0"/>
              </a:ext>
            </a:extLst>
          </a:blip>
          <a:srcRect/>
          <a:stretch>
            <a:fillRect/>
          </a:stretch>
        </p:blipFill>
        <p:spPr bwMode="gray">
          <a:xfrm>
            <a:off x="4715215" y="3403135"/>
            <a:ext cx="267017" cy="229057"/>
          </a:xfrm>
          <a:prstGeom prst="rect">
            <a:avLst/>
          </a:prstGeom>
          <a:noFill/>
          <a:ln>
            <a:noFill/>
          </a:ln>
          <a:effectLst/>
        </p:spPr>
      </p:pic>
      <p:sp>
        <p:nvSpPr>
          <p:cNvPr id="42" name="Rechteck 80">
            <a:extLst>
              <a:ext uri="{FF2B5EF4-FFF2-40B4-BE49-F238E27FC236}">
                <a16:creationId xmlns:a16="http://schemas.microsoft.com/office/drawing/2014/main" id="{53FAC086-BB40-4407-B62D-E26051BBBFC2}"/>
              </a:ext>
            </a:extLst>
          </p:cNvPr>
          <p:cNvSpPr/>
          <p:nvPr/>
        </p:nvSpPr>
        <p:spPr>
          <a:xfrm>
            <a:off x="4607260" y="4368820"/>
            <a:ext cx="352982" cy="523220"/>
          </a:xfrm>
          <a:prstGeom prst="rect">
            <a:avLst/>
          </a:prstGeom>
        </p:spPr>
        <p:txBody>
          <a:bodyPr wrap="none">
            <a:spAutoFit/>
          </a:bodyPr>
          <a:lstStyle/>
          <a:p>
            <a:pPr fontAlgn="base">
              <a:spcBef>
                <a:spcPct val="0"/>
              </a:spcBef>
              <a:spcAft>
                <a:spcPct val="0"/>
              </a:spcAft>
            </a:pPr>
            <a:r>
              <a:rPr lang="en-GB" sz="2800" dirty="0">
                <a:solidFill>
                  <a:srgbClr val="C6562C"/>
                </a:solidFill>
                <a:latin typeface="Garamond" panose="02020404030301010803" pitchFamily="18" charset="0"/>
              </a:rPr>
              <a:t>1</a:t>
            </a:r>
          </a:p>
        </p:txBody>
      </p:sp>
      <p:sp>
        <p:nvSpPr>
          <p:cNvPr id="43" name="Rechteck 81">
            <a:extLst>
              <a:ext uri="{FF2B5EF4-FFF2-40B4-BE49-F238E27FC236}">
                <a16:creationId xmlns:a16="http://schemas.microsoft.com/office/drawing/2014/main" id="{AA7B1130-F9F8-4CA3-BA78-F214A3316585}"/>
              </a:ext>
            </a:extLst>
          </p:cNvPr>
          <p:cNvSpPr/>
          <p:nvPr/>
        </p:nvSpPr>
        <p:spPr>
          <a:xfrm>
            <a:off x="4607260" y="4991472"/>
            <a:ext cx="352982" cy="523220"/>
          </a:xfrm>
          <a:prstGeom prst="rect">
            <a:avLst/>
          </a:prstGeom>
        </p:spPr>
        <p:txBody>
          <a:bodyPr wrap="none">
            <a:spAutoFit/>
          </a:bodyPr>
          <a:lstStyle/>
          <a:p>
            <a:pPr fontAlgn="base">
              <a:spcBef>
                <a:spcPct val="0"/>
              </a:spcBef>
              <a:spcAft>
                <a:spcPct val="0"/>
              </a:spcAft>
            </a:pPr>
            <a:r>
              <a:rPr lang="en-GB" sz="2800" dirty="0">
                <a:solidFill>
                  <a:srgbClr val="C6562C"/>
                </a:solidFill>
                <a:latin typeface="Garamond" panose="02020404030301010803" pitchFamily="18" charset="0"/>
              </a:rPr>
              <a:t>2</a:t>
            </a:r>
          </a:p>
        </p:txBody>
      </p:sp>
      <p:sp>
        <p:nvSpPr>
          <p:cNvPr id="44" name="Rechteck 82">
            <a:extLst>
              <a:ext uri="{FF2B5EF4-FFF2-40B4-BE49-F238E27FC236}">
                <a16:creationId xmlns:a16="http://schemas.microsoft.com/office/drawing/2014/main" id="{19DF6B2D-D51A-4940-B6E9-ECE1FE2C34AD}"/>
              </a:ext>
            </a:extLst>
          </p:cNvPr>
          <p:cNvSpPr/>
          <p:nvPr/>
        </p:nvSpPr>
        <p:spPr>
          <a:xfrm>
            <a:off x="4607260" y="5648980"/>
            <a:ext cx="352982" cy="523220"/>
          </a:xfrm>
          <a:prstGeom prst="rect">
            <a:avLst/>
          </a:prstGeom>
        </p:spPr>
        <p:txBody>
          <a:bodyPr wrap="none">
            <a:spAutoFit/>
          </a:bodyPr>
          <a:lstStyle/>
          <a:p>
            <a:pPr fontAlgn="base">
              <a:spcBef>
                <a:spcPct val="0"/>
              </a:spcBef>
              <a:spcAft>
                <a:spcPct val="0"/>
              </a:spcAft>
            </a:pPr>
            <a:r>
              <a:rPr lang="en-GB" sz="2800" dirty="0">
                <a:solidFill>
                  <a:srgbClr val="C6562C"/>
                </a:solidFill>
                <a:latin typeface="Garamond" panose="02020404030301010803" pitchFamily="18" charset="0"/>
              </a:rPr>
              <a:t>3</a:t>
            </a:r>
          </a:p>
        </p:txBody>
      </p:sp>
      <p:pic>
        <p:nvPicPr>
          <p:cNvPr id="3" name="Grafik 2">
            <a:extLst>
              <a:ext uri="{FF2B5EF4-FFF2-40B4-BE49-F238E27FC236}">
                <a16:creationId xmlns:a16="http://schemas.microsoft.com/office/drawing/2014/main" id="{8DD6334B-F437-4A50-B596-16B9FDB4FD79}"/>
              </a:ext>
            </a:extLst>
          </p:cNvPr>
          <p:cNvPicPr>
            <a:picLocks noChangeAspect="1"/>
          </p:cNvPicPr>
          <p:nvPr/>
        </p:nvPicPr>
        <p:blipFill>
          <a:blip r:embed="rId4"/>
          <a:stretch>
            <a:fillRect/>
          </a:stretch>
        </p:blipFill>
        <p:spPr>
          <a:xfrm>
            <a:off x="266424" y="4365350"/>
            <a:ext cx="3873528" cy="2067784"/>
          </a:xfrm>
          <a:prstGeom prst="rect">
            <a:avLst/>
          </a:prstGeom>
        </p:spPr>
      </p:pic>
    </p:spTree>
    <p:extLst>
      <p:ext uri="{BB962C8B-B14F-4D97-AF65-F5344CB8AC3E}">
        <p14:creationId xmlns:p14="http://schemas.microsoft.com/office/powerpoint/2010/main" val="2358704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7"/>
          <p:cNvSpPr txBox="1">
            <a:spLocks/>
          </p:cNvSpPr>
          <p:nvPr/>
        </p:nvSpPr>
        <p:spPr bwMode="gray">
          <a:xfrm>
            <a:off x="251520" y="1780436"/>
            <a:ext cx="4176464" cy="2601427"/>
          </a:xfrm>
          <a:prstGeom prst="rect">
            <a:avLst/>
          </a:prstGeom>
          <a:solidFill>
            <a:schemeClr val="bg1"/>
          </a:solid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r>
              <a:rPr lang="de-DE" b="1" dirty="0">
                <a:solidFill>
                  <a:prstClr val="black"/>
                </a:solidFill>
              </a:rPr>
              <a:t>Chancen</a:t>
            </a:r>
          </a:p>
          <a:p>
            <a:pPr marL="285750" indent="-285750" fontAlgn="base">
              <a:buClr>
                <a:srgbClr val="C6562C"/>
              </a:buClr>
              <a:buFont typeface="Arial" pitchFamily="34" charset="0"/>
              <a:buChar char="•"/>
            </a:pPr>
            <a:r>
              <a:rPr lang="de-DE" sz="1100" dirty="0">
                <a:solidFill>
                  <a:srgbClr val="000000"/>
                </a:solidFill>
              </a:rPr>
              <a:t>Auf lange Sicht hohes Renditepotenzial von Aktien </a:t>
            </a:r>
          </a:p>
          <a:p>
            <a:pPr marL="285750" indent="-285750" fontAlgn="base">
              <a:buClr>
                <a:srgbClr val="C6562C"/>
              </a:buClr>
              <a:buFont typeface="Arial" pitchFamily="34" charset="0"/>
              <a:buChar char="•"/>
            </a:pPr>
            <a:r>
              <a:rPr lang="de-DE" sz="1100" dirty="0">
                <a:solidFill>
                  <a:srgbClr val="000000"/>
                </a:solidFill>
              </a:rPr>
              <a:t>Entwicklung von Wachstumsaktien phasenweise überdurchschnittlich </a:t>
            </a:r>
          </a:p>
          <a:p>
            <a:pPr marL="285750" indent="-285750" fontAlgn="base">
              <a:buClr>
                <a:srgbClr val="C6562C"/>
              </a:buClr>
              <a:buFont typeface="Arial" pitchFamily="34" charset="0"/>
              <a:buChar char="•"/>
            </a:pPr>
            <a:r>
              <a:rPr lang="de-DE" sz="1100" dirty="0">
                <a:solidFill>
                  <a:srgbClr val="000000"/>
                </a:solidFill>
              </a:rPr>
              <a:t>Entwicklung von Nebenwerten phasenweise überdurchschnittlich </a:t>
            </a:r>
          </a:p>
          <a:p>
            <a:pPr marL="285750" indent="-285750" fontAlgn="base">
              <a:buClr>
                <a:srgbClr val="C6562C"/>
              </a:buClr>
              <a:buFont typeface="Arial" pitchFamily="34" charset="0"/>
              <a:buChar char="•"/>
            </a:pPr>
            <a:r>
              <a:rPr lang="de-DE" sz="1100" dirty="0">
                <a:solidFill>
                  <a:srgbClr val="000000"/>
                </a:solidFill>
              </a:rPr>
              <a:t>Mögliche Zusatzerträge durch Einzelwertanalyse und aktives Management </a:t>
            </a:r>
          </a:p>
          <a:p>
            <a:pPr marL="171450" indent="-171450" fontAlgn="base">
              <a:buClr>
                <a:srgbClr val="C6562C"/>
              </a:buClr>
              <a:buFont typeface="Arial" pitchFamily="34" charset="0"/>
              <a:buChar char="•"/>
            </a:pPr>
            <a:endParaRPr lang="de-DE" sz="1100" dirty="0">
              <a:solidFill>
                <a:prstClr val="black"/>
              </a:solidFill>
            </a:endParaRPr>
          </a:p>
          <a:p>
            <a:pPr fontAlgn="base">
              <a:buClr>
                <a:srgbClr val="C6562C"/>
              </a:buClr>
            </a:pPr>
            <a:r>
              <a:rPr lang="de-DE" sz="1100" dirty="0">
                <a:solidFill>
                  <a:prstClr val="black"/>
                </a:solidFill>
              </a:rPr>
              <a:t>   </a:t>
            </a:r>
          </a:p>
        </p:txBody>
      </p:sp>
      <p:sp>
        <p:nvSpPr>
          <p:cNvPr id="18" name="Inhaltsplatzhalter 7"/>
          <p:cNvSpPr txBox="1">
            <a:spLocks/>
          </p:cNvSpPr>
          <p:nvPr/>
        </p:nvSpPr>
        <p:spPr bwMode="gray">
          <a:xfrm>
            <a:off x="4716016" y="1780436"/>
            <a:ext cx="4176464" cy="2601427"/>
          </a:xfrm>
          <a:prstGeom prst="rect">
            <a:avLst/>
          </a:prstGeom>
          <a:solidFill>
            <a:schemeClr val="bg1"/>
          </a:solidFill>
          <a:ln w="6350">
            <a:noFill/>
          </a:ln>
        </p:spPr>
        <p:txBody>
          <a:bodyPr vert="horz" wrap="square" lIns="0" tIns="108000" rIns="108000" bIns="72000" numCol="1" rtlCol="0" anchor="t" anchorCtr="0" compatLnSpc="1">
            <a:prstTxWarp prst="textNoShape">
              <a:avLst/>
            </a:prstTxWarp>
            <a:noAutofit/>
          </a:bodyPr>
          <a:lstStyle>
            <a:lvl1pPr marL="0" indent="0" algn="l" defTabSz="914400" rtl="0" eaLnBrk="1" latinLnBrk="0" hangingPunct="1">
              <a:lnSpc>
                <a:spcPct val="110000"/>
              </a:lnSpc>
              <a:spcBef>
                <a:spcPts val="300"/>
              </a:spcBef>
              <a:spcAft>
                <a:spcPts val="300"/>
              </a:spcAft>
              <a:buFont typeface="Arial" pitchFamily="34" charset="0"/>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300"/>
              </a:spcAft>
              <a:buClr>
                <a:schemeClr val="tx2"/>
              </a:buClr>
              <a:buFont typeface="Arial" pitchFamily="34" charset="0"/>
              <a:buChar char="•"/>
              <a:defRPr sz="1400" kern="1200">
                <a:solidFill>
                  <a:schemeClr val="tx1"/>
                </a:solidFill>
                <a:latin typeface="+mn-lt"/>
                <a:ea typeface="+mn-ea"/>
                <a:cs typeface="+mn-cs"/>
              </a:defRPr>
            </a:lvl9pPr>
          </a:lstStyle>
          <a:p>
            <a:r>
              <a:rPr lang="de-DE" b="1" dirty="0">
                <a:solidFill>
                  <a:prstClr val="black"/>
                </a:solidFill>
              </a:rPr>
              <a:t>Risiken</a:t>
            </a:r>
            <a:endParaRPr lang="de-DE" dirty="0">
              <a:solidFill>
                <a:prstClr val="black"/>
              </a:solidFill>
            </a:endParaRPr>
          </a:p>
          <a:p>
            <a:pPr marL="285750" indent="-285750" fontAlgn="base">
              <a:buClr>
                <a:srgbClr val="C6562C"/>
              </a:buClr>
              <a:buFont typeface="Arial" pitchFamily="34" charset="0"/>
              <a:buChar char="•"/>
            </a:pPr>
            <a:r>
              <a:rPr lang="de-DE" sz="1100" dirty="0">
                <a:solidFill>
                  <a:srgbClr val="000000"/>
                </a:solidFill>
              </a:rPr>
              <a:t>Hohe Schwankungsanfälligkeit von Aktien, Kursverluste möglich</a:t>
            </a:r>
          </a:p>
          <a:p>
            <a:pPr marL="285750" indent="-285750" fontAlgn="base">
              <a:buClr>
                <a:srgbClr val="C6562C"/>
              </a:buClr>
              <a:buFont typeface="Arial" pitchFamily="34" charset="0"/>
              <a:buChar char="•"/>
            </a:pPr>
            <a:r>
              <a:rPr lang="de-DE" sz="1100" dirty="0">
                <a:solidFill>
                  <a:srgbClr val="000000"/>
                </a:solidFill>
              </a:rPr>
              <a:t>Anteilswert kann unter den Kaufpreis fallen, zu dem der Kunde den Anteil erworben hat</a:t>
            </a:r>
          </a:p>
          <a:p>
            <a:pPr marL="285750" indent="-285750" fontAlgn="base">
              <a:buClr>
                <a:srgbClr val="C6562C"/>
              </a:buClr>
              <a:buFont typeface="Arial" pitchFamily="34" charset="0"/>
              <a:buChar char="•"/>
            </a:pPr>
            <a:r>
              <a:rPr lang="de-DE" sz="1100" dirty="0">
                <a:solidFill>
                  <a:srgbClr val="000000"/>
                </a:solidFill>
              </a:rPr>
              <a:t>Zeitweise unterdurchschnittliche Entwicklung von Wachstumsaktien möglich </a:t>
            </a:r>
          </a:p>
          <a:p>
            <a:pPr marL="285750" indent="-285750" fontAlgn="base">
              <a:buClr>
                <a:srgbClr val="C6562C"/>
              </a:buClr>
              <a:buFont typeface="Arial" pitchFamily="34" charset="0"/>
              <a:buChar char="•"/>
            </a:pPr>
            <a:r>
              <a:rPr lang="de-DE" sz="1100" dirty="0">
                <a:solidFill>
                  <a:srgbClr val="000000"/>
                </a:solidFill>
              </a:rPr>
              <a:t>Zeitweise unterdurchschnittliche Entwicklung von Nebenwerten möglich </a:t>
            </a:r>
          </a:p>
          <a:p>
            <a:pPr marL="285750" indent="-285750" fontAlgn="base">
              <a:buClr>
                <a:srgbClr val="C6562C"/>
              </a:buClr>
              <a:buFont typeface="Arial" pitchFamily="34" charset="0"/>
              <a:buChar char="•"/>
            </a:pPr>
            <a:r>
              <a:rPr lang="de-DE" sz="1100" dirty="0">
                <a:solidFill>
                  <a:srgbClr val="000000"/>
                </a:solidFill>
              </a:rPr>
              <a:t>Keine Erfolgsgarantie für Einzelwertanalyse und aktives Management </a:t>
            </a:r>
          </a:p>
          <a:p>
            <a:pPr marL="285750" indent="-285750" fontAlgn="base">
              <a:buClr>
                <a:srgbClr val="C6562C"/>
              </a:buClr>
              <a:buFont typeface="Arial" pitchFamily="34" charset="0"/>
              <a:buChar char="•"/>
            </a:pPr>
            <a:r>
              <a:rPr lang="de-DE" sz="1100" dirty="0">
                <a:solidFill>
                  <a:prstClr val="black"/>
                </a:solidFill>
              </a:rPr>
              <a:t>Bei der Anlage in Fremdwährung und bei Geschäften in Fremdwährung bestehen Währungskursänderungsrisiken</a:t>
            </a:r>
            <a:endParaRPr lang="de-DE" sz="1100" dirty="0">
              <a:solidFill>
                <a:srgbClr val="000000"/>
              </a:solidFill>
            </a:endParaRPr>
          </a:p>
          <a:p>
            <a:pPr marL="285750" indent="-285750" fontAlgn="base">
              <a:buClr>
                <a:srgbClr val="C6562C"/>
              </a:buClr>
              <a:buFont typeface="Arial" pitchFamily="34" charset="0"/>
              <a:buChar char="•"/>
            </a:pPr>
            <a:r>
              <a:rPr lang="de-DE" sz="1100" dirty="0">
                <a:solidFill>
                  <a:srgbClr val="000000"/>
                </a:solidFill>
              </a:rPr>
              <a:t>Konzentrationsrisiko durch Fokussierung auf Investments innerhalb bestimmter Regionen</a:t>
            </a:r>
          </a:p>
          <a:p>
            <a:pPr marL="285750" indent="-285750" fontAlgn="base">
              <a:buClr>
                <a:srgbClr val="C6562C"/>
              </a:buClr>
              <a:buFont typeface="Arial" pitchFamily="34" charset="0"/>
              <a:buChar char="•"/>
            </a:pPr>
            <a:r>
              <a:rPr lang="en-GB" sz="1100" dirty="0" err="1">
                <a:solidFill>
                  <a:srgbClr val="000000"/>
                </a:solidFill>
              </a:rPr>
              <a:t>Ggf</a:t>
            </a:r>
            <a:r>
              <a:rPr lang="en-GB" sz="1100" dirty="0">
                <a:solidFill>
                  <a:srgbClr val="000000"/>
                </a:solidFill>
              </a:rPr>
              <a:t>. </a:t>
            </a:r>
            <a:r>
              <a:rPr lang="en-GB" sz="1100" dirty="0" err="1">
                <a:solidFill>
                  <a:srgbClr val="000000"/>
                </a:solidFill>
              </a:rPr>
              <a:t>Risiken</a:t>
            </a:r>
            <a:r>
              <a:rPr lang="en-GB" sz="1100" dirty="0">
                <a:solidFill>
                  <a:srgbClr val="000000"/>
                </a:solidFill>
              </a:rPr>
              <a:t> </a:t>
            </a:r>
            <a:r>
              <a:rPr lang="en-GB" sz="1100" dirty="0" err="1">
                <a:solidFill>
                  <a:srgbClr val="000000"/>
                </a:solidFill>
              </a:rPr>
              <a:t>bei</a:t>
            </a:r>
            <a:r>
              <a:rPr lang="en-GB" sz="1100" dirty="0">
                <a:solidFill>
                  <a:srgbClr val="000000"/>
                </a:solidFill>
              </a:rPr>
              <a:t> </a:t>
            </a:r>
            <a:r>
              <a:rPr lang="en-GB" sz="1100" dirty="0" err="1">
                <a:solidFill>
                  <a:srgbClr val="000000"/>
                </a:solidFill>
              </a:rPr>
              <a:t>Finanzterminkontrakten</a:t>
            </a:r>
            <a:endParaRPr lang="de-DE" sz="1100" dirty="0">
              <a:solidFill>
                <a:srgbClr val="000000"/>
              </a:solidFill>
            </a:endParaRPr>
          </a:p>
          <a:p>
            <a:pPr marL="285750" indent="-285750" fontAlgn="base">
              <a:buClr>
                <a:srgbClr val="C6562C"/>
              </a:buClr>
              <a:buFont typeface="Arial" pitchFamily="34" charset="0"/>
              <a:buChar char="•"/>
            </a:pPr>
            <a:endParaRPr lang="de-DE" sz="1100" dirty="0">
              <a:solidFill>
                <a:srgbClr val="000000"/>
              </a:solidFill>
            </a:endParaRPr>
          </a:p>
          <a:p>
            <a:pPr marL="285750" indent="-285750" fontAlgn="base">
              <a:buClr>
                <a:srgbClr val="C6562C"/>
              </a:buClr>
              <a:buFont typeface="Arial" pitchFamily="34" charset="0"/>
              <a:buChar char="•"/>
            </a:pPr>
            <a:endParaRPr lang="de-DE" sz="1100" dirty="0">
              <a:solidFill>
                <a:srgbClr val="000000"/>
              </a:solidFill>
            </a:endParaRPr>
          </a:p>
        </p:txBody>
      </p:sp>
      <p:sp>
        <p:nvSpPr>
          <p:cNvPr id="28" name="Fußzeilenplatzhalter 3"/>
          <p:cNvSpPr txBox="1">
            <a:spLocks/>
          </p:cNvSpPr>
          <p:nvPr/>
        </p:nvSpPr>
        <p:spPr bwMode="gray">
          <a:xfrm>
            <a:off x="265212" y="6093296"/>
            <a:ext cx="8627267" cy="864096"/>
          </a:xfrm>
          <a:prstGeom prst="rect">
            <a:avLst/>
          </a:prstGeom>
        </p:spPr>
        <p:txBody>
          <a:bodyPr vert="horz" lIns="0" tIns="0" rIns="0" bIns="0" rtlCol="0" anchor="t" anchorCtr="0">
            <a:noAutofit/>
          </a:bodyPr>
          <a:lstStyle>
            <a:defPPr>
              <a:defRPr lang="de-DE"/>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de-DE" dirty="0">
                <a:solidFill>
                  <a:prstClr val="black"/>
                </a:solidFill>
              </a:rPr>
              <a:t>Ausführliche Hinweise zu den Chancen und Risiken dieses Fonds sind dem Verkaufsprospekt zu entnehmen. </a:t>
            </a:r>
            <a:br>
              <a:rPr lang="de-DE" dirty="0">
                <a:solidFill>
                  <a:prstClr val="black"/>
                </a:solidFill>
              </a:rPr>
            </a:br>
            <a:r>
              <a:rPr lang="de-DE" dirty="0">
                <a:solidFill>
                  <a:prstClr val="black"/>
                </a:solidFill>
              </a:rPr>
              <a:t>Die Verkaufsunterlagen können in deutscher Sprache bei der Universal-Investment-Gesellschaft mbH (Am Hauptbahnhof 18, 60329 Frankfurt am Main) und der Joh. Berenberg, </a:t>
            </a:r>
            <a:r>
              <a:rPr lang="de-DE" dirty="0" err="1">
                <a:solidFill>
                  <a:prstClr val="black"/>
                </a:solidFill>
              </a:rPr>
              <a:t>Gossler</a:t>
            </a:r>
            <a:r>
              <a:rPr lang="de-DE" dirty="0">
                <a:solidFill>
                  <a:prstClr val="black"/>
                </a:solidFill>
              </a:rPr>
              <a:t> &amp; Co. KG (Berenberg), Neuer Jungfernstieg 20, 20354 Hamburg kostenlos angefordert werden und stehen unter der Internetadresse www.berenberg.de zur Verfügung. </a:t>
            </a:r>
          </a:p>
        </p:txBody>
      </p:sp>
      <p:cxnSp>
        <p:nvCxnSpPr>
          <p:cNvPr id="19" name="Gerader Verbinder 14">
            <a:extLst>
              <a:ext uri="{FF2B5EF4-FFF2-40B4-BE49-F238E27FC236}">
                <a16:creationId xmlns:a16="http://schemas.microsoft.com/office/drawing/2014/main" id="{990B2E7A-12E2-49D7-B0BA-2CA6E517BC07}"/>
              </a:ext>
            </a:extLst>
          </p:cNvPr>
          <p:cNvCxnSpPr/>
          <p:nvPr/>
        </p:nvCxnSpPr>
        <p:spPr bwMode="gray">
          <a:xfrm>
            <a:off x="259528" y="1772816"/>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Gerader Verbinder 14">
            <a:extLst>
              <a:ext uri="{FF2B5EF4-FFF2-40B4-BE49-F238E27FC236}">
                <a16:creationId xmlns:a16="http://schemas.microsoft.com/office/drawing/2014/main" id="{990B2E7A-12E2-49D7-B0BA-2CA6E517BC07}"/>
              </a:ext>
            </a:extLst>
          </p:cNvPr>
          <p:cNvCxnSpPr/>
          <p:nvPr/>
        </p:nvCxnSpPr>
        <p:spPr bwMode="gray">
          <a:xfrm>
            <a:off x="4716072" y="1772816"/>
            <a:ext cx="50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3" name="Picture 56">
            <a:extLst>
              <a:ext uri="{FF2B5EF4-FFF2-40B4-BE49-F238E27FC236}">
                <a16:creationId xmlns:a16="http://schemas.microsoft.com/office/drawing/2014/main" id="{59E64735-4529-4A9A-AA99-5E478E1124B9}"/>
              </a:ext>
            </a:extLst>
          </p:cNvPr>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38175" y="1261756"/>
            <a:ext cx="431244" cy="431432"/>
          </a:xfrm>
          <a:prstGeom prst="rect">
            <a:avLst/>
          </a:prstGeom>
        </p:spPr>
      </p:pic>
      <p:pic>
        <p:nvPicPr>
          <p:cNvPr id="37" name="Picture 71">
            <a:extLst>
              <a:ext uri="{FF2B5EF4-FFF2-40B4-BE49-F238E27FC236}">
                <a16:creationId xmlns:a16="http://schemas.microsoft.com/office/drawing/2014/main" id="{988C3F69-FA40-4953-A048-4E22D26CDF16}"/>
              </a:ext>
            </a:extLst>
          </p:cNvPr>
          <p:cNvPicPr>
            <a:picLocks noChangeAspect="1"/>
          </p:cNvPicPr>
          <p:nvPr>
            <p:custDataLst>
              <p:tags r:id="rId2"/>
            </p:custDataLst>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4709200" y="1261755"/>
            <a:ext cx="431244" cy="431432"/>
          </a:xfrm>
          <a:prstGeom prst="rect">
            <a:avLst/>
          </a:prstGeom>
        </p:spPr>
      </p:pic>
      <p:sp>
        <p:nvSpPr>
          <p:cNvPr id="25" name="Titel 1"/>
          <p:cNvSpPr>
            <a:spLocks noGrp="1"/>
          </p:cNvSpPr>
          <p:nvPr>
            <p:ph type="title"/>
          </p:nvPr>
        </p:nvSpPr>
        <p:spPr>
          <a:xfrm>
            <a:off x="250825" y="381360"/>
            <a:ext cx="6480000" cy="611273"/>
          </a:xfrm>
        </p:spPr>
        <p:txBody>
          <a:bodyPr/>
          <a:lstStyle/>
          <a:p>
            <a:r>
              <a:rPr lang="de-DE" dirty="0"/>
              <a:t>Chancen und Risiken</a:t>
            </a:r>
          </a:p>
        </p:txBody>
      </p:sp>
    </p:spTree>
    <p:extLst>
      <p:ext uri="{BB962C8B-B14F-4D97-AF65-F5344CB8AC3E}">
        <p14:creationId xmlns:p14="http://schemas.microsoft.com/office/powerpoint/2010/main" val="4204119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D7FBF016-173F-4D13-AB5B-81861F2E6151}" type="slidenum">
              <a:rPr kumimoji="0" lang="de-DE" sz="900" b="0" i="0" u="none" strike="noStrike" kern="1200" cap="none" spc="0" normalizeH="0" baseline="0" noProof="0" smtClean="0">
                <a:ln>
                  <a:noFill/>
                </a:ln>
                <a:solidFill>
                  <a:prstClr val="black"/>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a:t>
            </a:fld>
            <a:endParaRPr kumimoji="0" lang="de-DE" sz="9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2" name="Titel 1"/>
          <p:cNvSpPr>
            <a:spLocks noGrp="1"/>
          </p:cNvSpPr>
          <p:nvPr>
            <p:ph type="title"/>
          </p:nvPr>
        </p:nvSpPr>
        <p:spPr/>
        <p:txBody>
          <a:bodyPr/>
          <a:lstStyle/>
          <a:p>
            <a:br>
              <a:rPr lang="de-DE" dirty="0"/>
            </a:br>
            <a:r>
              <a:rPr lang="de-DE" dirty="0"/>
              <a:t>Wichtige Hinweise</a:t>
            </a:r>
          </a:p>
        </p:txBody>
      </p:sp>
      <p:sp>
        <p:nvSpPr>
          <p:cNvPr id="7" name="Rechteck 6"/>
          <p:cNvSpPr/>
          <p:nvPr/>
        </p:nvSpPr>
        <p:spPr>
          <a:xfrm>
            <a:off x="251520" y="1268760"/>
            <a:ext cx="8640960" cy="5032147"/>
          </a:xfrm>
          <a:prstGeom prst="rect">
            <a:avLst/>
          </a:prstGeom>
        </p:spPr>
        <p:txBody>
          <a:bodyPr wrap="square" lIns="0" tIns="0" rIns="0">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Arial" charset="0"/>
                <a:ea typeface="+mn-ea"/>
                <a:cs typeface="+mn-cs"/>
              </a:rPr>
              <a:t>Bei dieser Information handelt es sich um eine Marketingmitteilung. Bei dieser Information und bei Referenzen zu Emittenten, Finanzinstrumenten oder Finanzprodukten handelt es sich nicht um eine Anlagestrategieempfehlung im Sinne des Artikels 3 Absatz 1 Nummer 34 der Verordnung (EU) Nr. 596/2014 oder um eine Anlageempfehlung im Sinne des Artikels 3 Absatz 1 Nummer 35 der Verordnung (EU) Nr. 596/2014 jeweils in Verbindung mit § 85 Absatz 1 WpHG. Als Marketingmitteilung genügt diese Information nicht allen gesetzlichen Anforderungen zur Gewährleistung der Unvoreingenommenheit von Anlageempfehlungen und Anlagestrategieempfehlungen und unterliegt keinem Verbot des Handels vor der Veröffentlichung von Anlageempfehlungen und Anlagestrategieempfehlungen. Diese Information soll Ihnen Gelegenheit geben, sich selbst ein Bild über eine Anlagemöglichkeit zu machen. Es ersetzt jedoch keine rechtliche, steuerliche oder individuelle finanzielle Beratung. Ihre Anlageziele sowie Ihre persönlichen und wirtschaftlichen Verhältnisse wurden ebenfalls nicht berücksichtigt. Wir weisen daher ausdrücklich darauf hin, dass diese Information keine individuelle Anlageberatung darstellt. Eventuell beschriebenen Produkte oder Wertpapiere sind möglicherweise nicht in allen Ländern oder nur bestimmten Anlegerkategorien zum Erwerb verfügbar. Diese Information darf nur im Rahmen des anwendbaren Rechts und insbesondere nicht an Staatsangehörige der USA oder dort wohnhafte Personen verteilt werden. Diese Information wurde weder durch eine unabhängige Wirtschaftsprüfungsgesellschaft noch durch andere unabhängige Experten geprüft. Die zukünftige Wertentwicklung eines Investments unterliegt unter Umständen der Besteuerung, die von der persönlichen Situation des Anlegers abhängig ist und sich zukünftig ändern kann. Renditen von Anlagen in Fremdwährung können aufgrund von Währungsschwankungen steigen oder sinken. Bei Investmentfonds sollten Sie eine Anlageentscheidung in jedem Fall auf Grundlage der Verkaufsunterlagen (wesentliche Anlegerinformationen, Verkaufsprospekt, aktueller Jahres und ggf. Halbjahresbericht) treffen, denen ausführliche Hinweise zu den Chancen und Risiken des -jeweiligen- Fonds zu entnehmen sind. Eine Anlageentscheidung sollte auf Basis aller Eigenschaften des Fonds getroffen werden und sich nicht nur auf nachhaltigkeitsrelevante Aspekte beziehen. Bei Wertpapieren, zu denen ein Wertpapierprospekt vorliegt, sollten die Anlageentscheidungen in jedem Fall auf Grundlage des Wertpapierprospekts treffen, dem ausführliche Hinweise zu den Chancen und Risiken dieses Finanzinstruments zu entnehmen sind, im Übrigen wenigstens auf Basis des Produktinformationsblattes. Alle vorgenannten Unterlagen können bei der Joh. Berenberg, </a:t>
            </a:r>
            <a:r>
              <a:rPr kumimoji="0" lang="de-DE" sz="900" b="0" i="0" u="none" strike="noStrike" kern="1200" cap="none" spc="0" normalizeH="0" baseline="0" noProof="0" dirty="0" err="1">
                <a:ln>
                  <a:noFill/>
                </a:ln>
                <a:solidFill>
                  <a:prstClr val="black"/>
                </a:solidFill>
                <a:effectLst/>
                <a:uLnTx/>
                <a:uFillTx/>
                <a:latin typeface="Arial" charset="0"/>
                <a:ea typeface="+mn-ea"/>
                <a:cs typeface="+mn-cs"/>
              </a:rPr>
              <a:t>Gossler</a:t>
            </a:r>
            <a:r>
              <a:rPr kumimoji="0" lang="de-DE" sz="900" b="0" i="0" u="none" strike="noStrike" kern="1200" cap="none" spc="0" normalizeH="0" baseline="0" noProof="0" dirty="0">
                <a:ln>
                  <a:noFill/>
                </a:ln>
                <a:solidFill>
                  <a:prstClr val="black"/>
                </a:solidFill>
                <a:effectLst/>
                <a:uLnTx/>
                <a:uFillTx/>
                <a:latin typeface="Arial" charset="0"/>
                <a:ea typeface="+mn-ea"/>
                <a:cs typeface="+mn-cs"/>
              </a:rPr>
              <a:t> &amp; Co. KG (Berenberg), Neuer Jungfernstieg 20, 20354 Hamburg, kostenlos angefordert werden. Die Verkaufsunterlagen der Fonds sowie die Produktinformationsblätter zu anderen Wertpapieren stehen über ein Download-Portal unter Verwendung des Passworts »</a:t>
            </a:r>
            <a:r>
              <a:rPr kumimoji="0" lang="de-DE" sz="900" b="0" i="0" u="none" strike="noStrike" kern="1200" cap="none" spc="0" normalizeH="0" baseline="0" noProof="0" dirty="0" err="1">
                <a:ln>
                  <a:noFill/>
                </a:ln>
                <a:solidFill>
                  <a:prstClr val="black"/>
                </a:solidFill>
                <a:effectLst/>
                <a:uLnTx/>
                <a:uFillTx/>
                <a:latin typeface="Arial" charset="0"/>
                <a:ea typeface="+mn-ea"/>
                <a:cs typeface="+mn-cs"/>
              </a:rPr>
              <a:t>berenberg</a:t>
            </a:r>
            <a:r>
              <a:rPr kumimoji="0" lang="de-DE" sz="900" b="0" i="0" u="none" strike="noStrike" kern="1200" cap="none" spc="0" normalizeH="0" baseline="0" noProof="0" dirty="0">
                <a:ln>
                  <a:noFill/>
                </a:ln>
                <a:solidFill>
                  <a:prstClr val="black"/>
                </a:solidFill>
                <a:effectLst/>
                <a:uLnTx/>
                <a:uFillTx/>
                <a:latin typeface="Arial" charset="0"/>
                <a:ea typeface="+mn-ea"/>
                <a:cs typeface="+mn-cs"/>
              </a:rPr>
              <a:t>« unter der Internetadresse https://docman.vwd.com/portal/berenberg/index.html zur Verfügung. Die Verkaufsunterlagen der Fonds können ebenso bei der jeweiligen Kapitalverwaltungsgesellschaft angefordert werden. Die jeweils konkreten Adressangaben stellen wir Ihnen auf Nachfrage gerne zur Verfügung. Bei einem Fondsinvestment werden stets Anteile an einem Investmentfonds erworben, nicht jedoch ein bestimmter Basiswert (z.B. Aktien an einem Unternehmen), der vom jeweiligen Fonds gehalten wird. Die in diesem Dokument enthaltenen Aussagen basieren entweder auf eigenen Quellen des Unternehmens oder auf öffentlich zugänglichen Quellen Dritter und spiegeln den Informationsstand zum Zeitpunkt der Erstellung der unten angegebenen Präsentation wider. Nachträglich eintretende Änderungen können in diesem Dokument nicht berücksichtigt werden. Angaben können sich durch Zeitablauf und/oder infolge gesetzlicher, politischer, wirtschaftlicher oder anderer Änderungen als nicht mehr zutreffend erweisen. Wir übernehmen keine Verpflichtung, auf solche Änderungen hinzuweisen und/oder eine aktualisierte Information zu erstellen. Frühere Wertentwicklungen sind kein verlässlicher Indikator für die künftige Wertentwicklung. Zur Erklärung verwandter Fachbegriffe steht Ihnen auf www.berenberg.de/glossar ein Online-Glossar zur Verfügung. </a:t>
            </a:r>
          </a:p>
          <a:p>
            <a:pPr marL="0" marR="0" lvl="0" indent="0" algn="just" defTabSz="914400" rtl="0" eaLnBrk="1" fontAlgn="base" latinLnBrk="0" hangingPunct="1">
              <a:lnSpc>
                <a:spcPct val="100000"/>
              </a:lnSpc>
              <a:spcBef>
                <a:spcPct val="0"/>
              </a:spcBef>
              <a:spcAft>
                <a:spcPct val="0"/>
              </a:spcAft>
              <a:buClrTx/>
              <a:buSzTx/>
              <a:buFontTx/>
              <a:buNone/>
              <a:tabLst/>
              <a:defRPr/>
            </a:pPr>
            <a:endParaRPr lang="de-DE" sz="900" dirty="0">
              <a:solidFill>
                <a:prstClr val="black"/>
              </a:solidFill>
              <a:latin typeface="Arial"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Arial" charset="0"/>
                <a:ea typeface="+mn-ea"/>
                <a:cs typeface="+mn-cs"/>
              </a:rPr>
              <a:t>30.01.2023</a:t>
            </a: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064711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8399F1-4D69-4397-86F1-7D3EF6EBD74D}"/>
              </a:ext>
            </a:extLst>
          </p:cNvPr>
          <p:cNvSpPr>
            <a:spLocks noGrp="1"/>
          </p:cNvSpPr>
          <p:nvPr>
            <p:ph type="sldNum" sz="quarter" idx="12"/>
          </p:nvPr>
        </p:nvSpPr>
        <p:spPr/>
        <p:txBody>
          <a:bodyPr/>
          <a:lstStyle/>
          <a:p>
            <a:fld id="{D7FBF016-173F-4D13-AB5B-81861F2E6151}" type="slidenum">
              <a:rPr lang="de-DE" noProof="0" smtClean="0"/>
              <a:pPr/>
              <a:t>3</a:t>
            </a:fld>
            <a:endParaRPr lang="de-DE" noProof="0" dirty="0"/>
          </a:p>
        </p:txBody>
      </p:sp>
      <p:sp>
        <p:nvSpPr>
          <p:cNvPr id="5" name="Title 4">
            <a:extLst>
              <a:ext uri="{FF2B5EF4-FFF2-40B4-BE49-F238E27FC236}">
                <a16:creationId xmlns:a16="http://schemas.microsoft.com/office/drawing/2014/main" id="{7818E233-DA23-4678-9C31-DA9E5CC426DF}"/>
              </a:ext>
            </a:extLst>
          </p:cNvPr>
          <p:cNvSpPr>
            <a:spLocks noGrp="1"/>
          </p:cNvSpPr>
          <p:nvPr>
            <p:ph type="title"/>
          </p:nvPr>
        </p:nvSpPr>
        <p:spPr/>
        <p:txBody>
          <a:bodyPr/>
          <a:lstStyle/>
          <a:p>
            <a:r>
              <a:rPr lang="de-DE" b="1" dirty="0"/>
              <a:t>Europa hat sich seit Beginn des 4. Quartals 2022 deutlich besser entwickelt als der US-Markt</a:t>
            </a:r>
          </a:p>
        </p:txBody>
      </p:sp>
      <p:sp>
        <p:nvSpPr>
          <p:cNvPr id="16" name="Titel 18">
            <a:extLst>
              <a:ext uri="{FF2B5EF4-FFF2-40B4-BE49-F238E27FC236}">
                <a16:creationId xmlns:a16="http://schemas.microsoft.com/office/drawing/2014/main" id="{8D6B62AD-0D57-491E-A076-FF02A652AE59}"/>
              </a:ext>
            </a:extLst>
          </p:cNvPr>
          <p:cNvSpPr txBox="1"/>
          <p:nvPr>
            <p:custDataLst>
              <p:tags r:id="rId1"/>
            </p:custDataLst>
          </p:nvPr>
        </p:nvSpPr>
        <p:spPr bwMode="gray">
          <a:xfrm>
            <a:off x="250824" y="6309320"/>
            <a:ext cx="5113263" cy="211412"/>
          </a:xfrm>
          <a:prstGeom prst="rect">
            <a:avLst/>
          </a:prstGeom>
        </p:spPr>
        <p:txBody>
          <a:bodyPr vert="horz" lIns="0" tIns="0" rIns="0" bIns="18000" rtlCol="0" anchor="ctr" anchorCtr="0">
            <a:no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900" b="0" dirty="0">
                <a:ea typeface="+mn-ea"/>
                <a:cs typeface="+mn-cs"/>
              </a:rPr>
              <a:t>Quelle: Berenberg, Bloomberg. 1: Basierend auf </a:t>
            </a:r>
            <a:r>
              <a:rPr lang="de-DE" sz="900" b="0" dirty="0" err="1">
                <a:ea typeface="+mn-ea"/>
                <a:cs typeface="+mn-cs"/>
              </a:rPr>
              <a:t>net</a:t>
            </a:r>
            <a:r>
              <a:rPr lang="de-DE" sz="900" b="0" dirty="0">
                <a:ea typeface="+mn-ea"/>
                <a:cs typeface="+mn-cs"/>
              </a:rPr>
              <a:t> total </a:t>
            </a:r>
            <a:r>
              <a:rPr lang="de-DE" sz="900" b="0" dirty="0" err="1">
                <a:ea typeface="+mn-ea"/>
                <a:cs typeface="+mn-cs"/>
              </a:rPr>
              <a:t>return</a:t>
            </a:r>
            <a:r>
              <a:rPr lang="de-DE" sz="900" b="0" dirty="0">
                <a:ea typeface="+mn-ea"/>
                <a:cs typeface="+mn-cs"/>
              </a:rPr>
              <a:t> </a:t>
            </a:r>
            <a:r>
              <a:rPr lang="de-DE" sz="900" b="0" dirty="0" err="1">
                <a:ea typeface="+mn-ea"/>
                <a:cs typeface="+mn-cs"/>
              </a:rPr>
              <a:t>indices</a:t>
            </a:r>
            <a:r>
              <a:rPr lang="de-DE" sz="900" b="0" dirty="0">
                <a:ea typeface="+mn-ea"/>
                <a:cs typeface="+mn-cs"/>
              </a:rPr>
              <a:t> in Euro.</a:t>
            </a:r>
          </a:p>
        </p:txBody>
      </p:sp>
      <p:sp>
        <p:nvSpPr>
          <p:cNvPr id="27" name="TextBox 26">
            <a:extLst>
              <a:ext uri="{FF2B5EF4-FFF2-40B4-BE49-F238E27FC236}">
                <a16:creationId xmlns:a16="http://schemas.microsoft.com/office/drawing/2014/main" id="{D2BEBD21-053E-4A07-B319-447580EC7050}"/>
              </a:ext>
            </a:extLst>
          </p:cNvPr>
          <p:cNvSpPr txBox="1"/>
          <p:nvPr/>
        </p:nvSpPr>
        <p:spPr>
          <a:xfrm>
            <a:off x="251520" y="1325579"/>
            <a:ext cx="7704856" cy="215444"/>
          </a:xfrm>
          <a:prstGeom prst="rect">
            <a:avLst/>
          </a:prstGeom>
          <a:solidFill>
            <a:schemeClr val="bg1"/>
          </a:solid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
                <a:srgbClr val="C6562C"/>
              </a:buClr>
              <a:buSzTx/>
              <a:buFontTx/>
              <a:buNone/>
              <a:tabLst/>
              <a:defRPr/>
            </a:pPr>
            <a:r>
              <a:rPr lang="de-DE" b="1" dirty="0">
                <a:solidFill>
                  <a:srgbClr val="C6562C"/>
                </a:solidFill>
              </a:rPr>
              <a:t>Entwicklung der US-amerikanischen und europäischen Aktien seit Beginn von Q4 '21</a:t>
            </a:r>
            <a:endParaRPr lang="en-US" b="1" baseline="30000" dirty="0">
              <a:solidFill>
                <a:srgbClr val="C6562C"/>
              </a:solidFill>
            </a:endParaRPr>
          </a:p>
        </p:txBody>
      </p:sp>
      <p:graphicFrame>
        <p:nvGraphicFramePr>
          <p:cNvPr id="32" name="Chart 31">
            <a:extLst>
              <a:ext uri="{FF2B5EF4-FFF2-40B4-BE49-F238E27FC236}">
                <a16:creationId xmlns:a16="http://schemas.microsoft.com/office/drawing/2014/main" id="{BE1ECBD1-69FE-4814-B7C8-6C5CBAD2E6F3}"/>
              </a:ext>
            </a:extLst>
          </p:cNvPr>
          <p:cNvGraphicFramePr>
            <a:graphicFrameLocks/>
          </p:cNvGraphicFramePr>
          <p:nvPr>
            <p:extLst>
              <p:ext uri="{D42A27DB-BD31-4B8C-83A1-F6EECF244321}">
                <p14:modId xmlns:p14="http://schemas.microsoft.com/office/powerpoint/2010/main" val="1853164592"/>
              </p:ext>
            </p:extLst>
          </p:nvPr>
        </p:nvGraphicFramePr>
        <p:xfrm>
          <a:off x="231392" y="1664379"/>
          <a:ext cx="8661088" cy="3771677"/>
        </p:xfrm>
        <a:graphic>
          <a:graphicData uri="http://schemas.openxmlformats.org/drawingml/2006/chart">
            <c:chart xmlns:c="http://schemas.openxmlformats.org/drawingml/2006/chart" xmlns:r="http://schemas.openxmlformats.org/officeDocument/2006/relationships" r:id="rId4"/>
          </a:graphicData>
        </a:graphic>
      </p:graphicFrame>
      <p:cxnSp>
        <p:nvCxnSpPr>
          <p:cNvPr id="34" name="Straight Arrow Connector 33">
            <a:extLst>
              <a:ext uri="{FF2B5EF4-FFF2-40B4-BE49-F238E27FC236}">
                <a16:creationId xmlns:a16="http://schemas.microsoft.com/office/drawing/2014/main" id="{AD79CCA9-FD9C-481C-9F3F-4A5E99861353}"/>
              </a:ext>
            </a:extLst>
          </p:cNvPr>
          <p:cNvCxnSpPr>
            <a:cxnSpLocks/>
          </p:cNvCxnSpPr>
          <p:nvPr/>
        </p:nvCxnSpPr>
        <p:spPr>
          <a:xfrm>
            <a:off x="8100392" y="2348880"/>
            <a:ext cx="0" cy="936104"/>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7" name="Gerader Verbinder 14">
            <a:extLst>
              <a:ext uri="{FF2B5EF4-FFF2-40B4-BE49-F238E27FC236}">
                <a16:creationId xmlns:a16="http://schemas.microsoft.com/office/drawing/2014/main" id="{75CF712E-1EDE-494C-BFE7-ED1A14A1BD42}"/>
              </a:ext>
            </a:extLst>
          </p:cNvPr>
          <p:cNvCxnSpPr/>
          <p:nvPr/>
        </p:nvCxnSpPr>
        <p:spPr bwMode="gray">
          <a:xfrm>
            <a:off x="251520"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uppieren 6">
            <a:extLst>
              <a:ext uri="{FF2B5EF4-FFF2-40B4-BE49-F238E27FC236}">
                <a16:creationId xmlns:a16="http://schemas.microsoft.com/office/drawing/2014/main" id="{DA03D076-8A8F-40FF-AFA7-EEA3B8F7D312}"/>
              </a:ext>
            </a:extLst>
          </p:cNvPr>
          <p:cNvGrpSpPr/>
          <p:nvPr/>
        </p:nvGrpSpPr>
        <p:grpSpPr>
          <a:xfrm>
            <a:off x="268086" y="5517232"/>
            <a:ext cx="8638203" cy="648010"/>
            <a:chOff x="251369" y="5661390"/>
            <a:chExt cx="8641806" cy="648010"/>
          </a:xfrm>
        </p:grpSpPr>
        <p:sp>
          <p:nvSpPr>
            <p:cNvPr id="19" name="Inhaltsplatzhalter 1">
              <a:extLst>
                <a:ext uri="{FF2B5EF4-FFF2-40B4-BE49-F238E27FC236}">
                  <a16:creationId xmlns:a16="http://schemas.microsoft.com/office/drawing/2014/main" id="{9C9B7E17-CEDF-4809-9075-2222B9888C68}"/>
                </a:ext>
              </a:extLst>
            </p:cNvPr>
            <p:cNvSpPr txBox="1">
              <a:spLocks/>
            </p:cNvSpPr>
            <p:nvPr>
              <p:custDataLst>
                <p:tags r:id="rId2"/>
              </p:custDataLst>
            </p:nvPr>
          </p:nvSpPr>
          <p:spPr bwMode="gray">
            <a:xfrm>
              <a:off x="251369" y="5733400"/>
              <a:ext cx="8641806" cy="576000"/>
            </a:xfrm>
            <a:prstGeom prst="rect">
              <a:avLst/>
            </a:prstGeom>
            <a:noFill/>
            <a:ln w="6350">
              <a:noFill/>
            </a:ln>
          </p:spPr>
          <p:txBody>
            <a:bodyPr vert="horz" wrap="square" lIns="0" tIns="108000" rIns="0" bIns="0" rtlCol="0" anchor="t">
              <a:noAutofit/>
            </a:bodyPr>
            <a:lstStyle>
              <a:lvl1pPr marL="0" indent="0" algn="l" defTabSz="914400" rtl="0" eaLnBrk="1" latinLnBrk="0" hangingPunct="1">
                <a:lnSpc>
                  <a:spcPct val="110000"/>
                </a:lnSpc>
                <a:spcBef>
                  <a:spcPts val="180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9pPr>
            </a:lstStyle>
            <a:p>
              <a:pPr lvl="0">
                <a:spcBef>
                  <a:spcPts val="0"/>
                </a:spcBef>
                <a:defRPr/>
              </a:pPr>
              <a:r>
                <a:rPr lang="de-DE" b="0" dirty="0">
                  <a:solidFill>
                    <a:srgbClr val="C6562C"/>
                  </a:solidFill>
                  <a:latin typeface="Arial"/>
                </a:rPr>
                <a:t>Seit Beginn des 4. Quartals hat Europa die USA um 18 % übertroffen. </a:t>
              </a:r>
            </a:p>
          </p:txBody>
        </p:sp>
        <p:cxnSp>
          <p:nvCxnSpPr>
            <p:cNvPr id="20" name="Gerader Verbinder 32">
              <a:extLst>
                <a:ext uri="{FF2B5EF4-FFF2-40B4-BE49-F238E27FC236}">
                  <a16:creationId xmlns:a16="http://schemas.microsoft.com/office/drawing/2014/main" id="{34DB605E-D2A0-4572-8B3D-4585B3E5CF6F}"/>
                </a:ext>
              </a:extLst>
            </p:cNvPr>
            <p:cNvCxnSpPr>
              <a:cxnSpLocks/>
            </p:cNvCxnSpPr>
            <p:nvPr/>
          </p:nvCxnSpPr>
          <p:spPr bwMode="gray">
            <a:xfrm>
              <a:off x="252064" y="5661390"/>
              <a:ext cx="504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Gerader Verbinder 34">
              <a:extLst>
                <a:ext uri="{FF2B5EF4-FFF2-40B4-BE49-F238E27FC236}">
                  <a16:creationId xmlns:a16="http://schemas.microsoft.com/office/drawing/2014/main" id="{9DFEE623-ED68-4924-9754-689D83E214CB}"/>
                </a:ext>
              </a:extLst>
            </p:cNvPr>
            <p:cNvCxnSpPr>
              <a:cxnSpLocks/>
            </p:cNvCxnSpPr>
            <p:nvPr/>
          </p:nvCxnSpPr>
          <p:spPr bwMode="gray">
            <a:xfrm>
              <a:off x="251944" y="5733400"/>
              <a:ext cx="50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14588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2882C48-1FFE-4177-A5FF-0DEE626CE0AE}"/>
              </a:ext>
            </a:extLst>
          </p:cNvPr>
          <p:cNvSpPr>
            <a:spLocks noGrp="1"/>
          </p:cNvSpPr>
          <p:nvPr>
            <p:ph type="sldNum" sz="quarter" idx="12"/>
          </p:nvPr>
        </p:nvSpPr>
        <p:spPr/>
        <p:txBody>
          <a:bodyPr/>
          <a:lstStyle/>
          <a:p>
            <a:fld id="{D7FBF016-173F-4D13-AB5B-81861F2E6151}" type="slidenum">
              <a:rPr lang="de-DE" smtClean="0">
                <a:solidFill>
                  <a:prstClr val="black"/>
                </a:solidFill>
              </a:rPr>
              <a:pPr/>
              <a:t>4</a:t>
            </a:fld>
            <a:endParaRPr lang="de-DE" dirty="0">
              <a:solidFill>
                <a:prstClr val="black"/>
              </a:solidFill>
            </a:endParaRPr>
          </a:p>
        </p:txBody>
      </p:sp>
      <p:sp>
        <p:nvSpPr>
          <p:cNvPr id="6" name="Title 5">
            <a:extLst>
              <a:ext uri="{FF2B5EF4-FFF2-40B4-BE49-F238E27FC236}">
                <a16:creationId xmlns:a16="http://schemas.microsoft.com/office/drawing/2014/main" id="{12BD0D76-D1D2-4468-A6CE-A4F186E86815}"/>
              </a:ext>
            </a:extLst>
          </p:cNvPr>
          <p:cNvSpPr>
            <a:spLocks noGrp="1"/>
          </p:cNvSpPr>
          <p:nvPr>
            <p:ph type="title"/>
          </p:nvPr>
        </p:nvSpPr>
        <p:spPr/>
        <p:txBody>
          <a:bodyPr/>
          <a:lstStyle/>
          <a:p>
            <a:r>
              <a:rPr lang="de-DE" dirty="0"/>
              <a:t>Langfristiger relativer Performancevergleich </a:t>
            </a:r>
            <a:br>
              <a:rPr lang="de-DE" dirty="0"/>
            </a:br>
            <a:r>
              <a:rPr lang="de-DE" dirty="0"/>
              <a:t>Europa vs. USA</a:t>
            </a:r>
            <a:endParaRPr lang="en-GB" dirty="0"/>
          </a:p>
        </p:txBody>
      </p:sp>
      <p:sp>
        <p:nvSpPr>
          <p:cNvPr id="8" name="Text Box 6">
            <a:extLst>
              <a:ext uri="{FF2B5EF4-FFF2-40B4-BE49-F238E27FC236}">
                <a16:creationId xmlns:a16="http://schemas.microsoft.com/office/drawing/2014/main" id="{FC1F3F48-E382-4945-B19B-BD10F5FADBB5}"/>
              </a:ext>
            </a:extLst>
          </p:cNvPr>
          <p:cNvSpPr txBox="1">
            <a:spLocks noChangeArrowheads="1"/>
          </p:cNvSpPr>
          <p:nvPr>
            <p:custDataLst>
              <p:tags r:id="rId1"/>
            </p:custDataLst>
          </p:nvPr>
        </p:nvSpPr>
        <p:spPr bwMode="gray">
          <a:xfrm>
            <a:off x="250824" y="6309320"/>
            <a:ext cx="7057555" cy="143308"/>
          </a:xfrm>
          <a:prstGeom prst="rect">
            <a:avLst/>
          </a:prstGeom>
          <a:noFill/>
          <a:ln w="9525">
            <a:noFill/>
            <a:miter lim="800000"/>
            <a:headEnd/>
            <a:tailEnd/>
          </a:ln>
        </p:spPr>
        <p:txBody>
          <a:bodyPr wrap="none" lIns="0" tIns="0" rIns="0" bIns="0" anchor="b" anchorCtr="0">
            <a:noAutofit/>
          </a:bodyPr>
          <a:lstStyle/>
          <a:p>
            <a:pPr fontAlgn="base">
              <a:spcBef>
                <a:spcPct val="0"/>
              </a:spcBef>
              <a:spcAft>
                <a:spcPct val="0"/>
              </a:spcAft>
            </a:pPr>
            <a:r>
              <a:rPr lang="de-DE" sz="900" dirty="0">
                <a:latin typeface="+mj-lt"/>
              </a:rPr>
              <a:t>Quelle: Bloomberg, eigene Berechnungen, 30.12.2022</a:t>
            </a:r>
          </a:p>
        </p:txBody>
      </p:sp>
      <p:graphicFrame>
        <p:nvGraphicFramePr>
          <p:cNvPr id="14" name="Diagramm 13">
            <a:extLst>
              <a:ext uri="{FF2B5EF4-FFF2-40B4-BE49-F238E27FC236}">
                <a16:creationId xmlns:a16="http://schemas.microsoft.com/office/drawing/2014/main" id="{AC294C44-BED2-4899-977B-7C7301181D3E}"/>
              </a:ext>
            </a:extLst>
          </p:cNvPr>
          <p:cNvGraphicFramePr>
            <a:graphicFrameLocks/>
          </p:cNvGraphicFramePr>
          <p:nvPr>
            <p:extLst>
              <p:ext uri="{D42A27DB-BD31-4B8C-83A1-F6EECF244321}">
                <p14:modId xmlns:p14="http://schemas.microsoft.com/office/powerpoint/2010/main" val="3229722037"/>
              </p:ext>
            </p:extLst>
          </p:nvPr>
        </p:nvGraphicFramePr>
        <p:xfrm>
          <a:off x="250823" y="1557338"/>
          <a:ext cx="8642351" cy="47519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888562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20">
            <a:extLst>
              <a:ext uri="{FF2B5EF4-FFF2-40B4-BE49-F238E27FC236}">
                <a16:creationId xmlns:a16="http://schemas.microsoft.com/office/drawing/2014/main" id="{EDB3543B-2F6D-4472-8E26-659790E1CFD9}"/>
              </a:ext>
            </a:extLst>
          </p:cNvPr>
          <p:cNvSpPr>
            <a:spLocks noGrp="1"/>
          </p:cNvSpPr>
          <p:nvPr>
            <p:ph type="title"/>
          </p:nvPr>
        </p:nvSpPr>
        <p:spPr bwMode="gray">
          <a:xfrm>
            <a:off x="250825" y="297447"/>
            <a:ext cx="6480000" cy="611273"/>
          </a:xfrm>
        </p:spPr>
        <p:txBody>
          <a:bodyPr/>
          <a:lstStyle/>
          <a:p>
            <a:r>
              <a:rPr lang="de-DE" dirty="0">
                <a:solidFill>
                  <a:srgbClr val="000000"/>
                </a:solidFill>
                <a:latin typeface="Arial"/>
              </a:rPr>
              <a:t>Europa im Vergleich mit den USA </a:t>
            </a:r>
            <a:endParaRPr lang="de-DE" b="0" dirty="0">
              <a:solidFill>
                <a:srgbClr val="000000"/>
              </a:solidFill>
              <a:latin typeface="Arial"/>
            </a:endParaRPr>
          </a:p>
        </p:txBody>
      </p:sp>
      <p:sp>
        <p:nvSpPr>
          <p:cNvPr id="17" name="Text Box 6">
            <a:extLst>
              <a:ext uri="{FF2B5EF4-FFF2-40B4-BE49-F238E27FC236}">
                <a16:creationId xmlns:a16="http://schemas.microsoft.com/office/drawing/2014/main" id="{F638282C-2E4A-4E7E-9926-8949F24E0143}"/>
              </a:ext>
            </a:extLst>
          </p:cNvPr>
          <p:cNvSpPr txBox="1">
            <a:spLocks noChangeArrowheads="1"/>
          </p:cNvSpPr>
          <p:nvPr>
            <p:custDataLst>
              <p:tags r:id="rId1"/>
            </p:custDataLst>
          </p:nvPr>
        </p:nvSpPr>
        <p:spPr bwMode="gray">
          <a:xfrm>
            <a:off x="250824" y="6309320"/>
            <a:ext cx="7057555" cy="143308"/>
          </a:xfrm>
          <a:prstGeom prst="rect">
            <a:avLst/>
          </a:prstGeom>
          <a:noFill/>
          <a:ln w="9525">
            <a:noFill/>
            <a:miter lim="800000"/>
            <a:headEnd/>
            <a:tailEnd/>
          </a:ln>
        </p:spPr>
        <p:txBody>
          <a:bodyPr wrap="none" lIns="0" tIns="0" rIns="0" bIns="0" anchor="b" anchorCtr="0">
            <a:noAutofit/>
          </a:bodyPr>
          <a:lstStyle/>
          <a:p>
            <a:pPr fontAlgn="base">
              <a:spcBef>
                <a:spcPct val="0"/>
              </a:spcBef>
              <a:spcAft>
                <a:spcPct val="0"/>
              </a:spcAft>
            </a:pPr>
            <a:r>
              <a:rPr lang="de-DE" sz="900" dirty="0">
                <a:latin typeface="+mj-lt"/>
              </a:rPr>
              <a:t>Quelle: Bloomberg, eigene Berechnungen, 27.01.2023</a:t>
            </a:r>
          </a:p>
        </p:txBody>
      </p:sp>
      <p:sp>
        <p:nvSpPr>
          <p:cNvPr id="2" name="Foliennummernplatzhalter 1"/>
          <p:cNvSpPr>
            <a:spLocks noGrp="1"/>
          </p:cNvSpPr>
          <p:nvPr>
            <p:ph type="sldNum" sz="quarter" idx="12"/>
          </p:nvPr>
        </p:nvSpPr>
        <p:spPr/>
        <p:txBody>
          <a:bodyPr/>
          <a:lstStyle/>
          <a:p>
            <a:fld id="{D7FBF016-173F-4D13-AB5B-81861F2E6151}" type="slidenum">
              <a:rPr lang="de-DE" smtClean="0">
                <a:solidFill>
                  <a:prstClr val="black"/>
                </a:solidFill>
              </a:rPr>
              <a:pPr/>
              <a:t>5</a:t>
            </a:fld>
            <a:endParaRPr lang="de-DE" dirty="0">
              <a:solidFill>
                <a:prstClr val="black"/>
              </a:solidFill>
            </a:endParaRPr>
          </a:p>
        </p:txBody>
      </p:sp>
      <p:graphicFrame>
        <p:nvGraphicFramePr>
          <p:cNvPr id="7" name="Diagramm 6">
            <a:extLst>
              <a:ext uri="{FF2B5EF4-FFF2-40B4-BE49-F238E27FC236}">
                <a16:creationId xmlns:a16="http://schemas.microsoft.com/office/drawing/2014/main" id="{2E557FAC-28C4-419E-B7E0-F00691F0F8B6}"/>
              </a:ext>
            </a:extLst>
          </p:cNvPr>
          <p:cNvGraphicFramePr>
            <a:graphicFrameLocks/>
          </p:cNvGraphicFramePr>
          <p:nvPr>
            <p:extLst>
              <p:ext uri="{D42A27DB-BD31-4B8C-83A1-F6EECF244321}">
                <p14:modId xmlns:p14="http://schemas.microsoft.com/office/powerpoint/2010/main" val="3413182779"/>
              </p:ext>
            </p:extLst>
          </p:nvPr>
        </p:nvGraphicFramePr>
        <p:xfrm>
          <a:off x="250825" y="1196752"/>
          <a:ext cx="8642351" cy="5112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755467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1F6ED8D-0322-4A43-B63C-53E5A03B03AD}"/>
              </a:ext>
            </a:extLst>
          </p:cNvPr>
          <p:cNvSpPr>
            <a:spLocks noGrp="1"/>
          </p:cNvSpPr>
          <p:nvPr>
            <p:ph type="sldNum" sz="quarter" idx="12"/>
          </p:nvPr>
        </p:nvSpPr>
        <p:spPr/>
        <p:txBody>
          <a:bodyPr/>
          <a:lstStyle/>
          <a:p>
            <a:fld id="{D7FBF016-173F-4D13-AB5B-81861F2E6151}" type="slidenum">
              <a:rPr lang="de-DE" noProof="0" smtClean="0"/>
              <a:pPr/>
              <a:t>6</a:t>
            </a:fld>
            <a:endParaRPr lang="de-DE" noProof="0" dirty="0"/>
          </a:p>
        </p:txBody>
      </p:sp>
      <p:sp>
        <p:nvSpPr>
          <p:cNvPr id="5" name="Title 4">
            <a:extLst>
              <a:ext uri="{FF2B5EF4-FFF2-40B4-BE49-F238E27FC236}">
                <a16:creationId xmlns:a16="http://schemas.microsoft.com/office/drawing/2014/main" id="{93EF770F-234D-48EA-8E7C-3DFA8D6EBFC3}"/>
              </a:ext>
            </a:extLst>
          </p:cNvPr>
          <p:cNvSpPr>
            <a:spLocks noGrp="1"/>
          </p:cNvSpPr>
          <p:nvPr>
            <p:ph type="title"/>
          </p:nvPr>
        </p:nvSpPr>
        <p:spPr/>
        <p:txBody>
          <a:bodyPr/>
          <a:lstStyle/>
          <a:p>
            <a:r>
              <a:rPr lang="de-DE" b="1" dirty="0"/>
              <a:t>Gründe für die Outperformance</a:t>
            </a:r>
          </a:p>
        </p:txBody>
      </p:sp>
      <p:sp>
        <p:nvSpPr>
          <p:cNvPr id="14" name="Text Placeholder 9">
            <a:extLst>
              <a:ext uri="{FF2B5EF4-FFF2-40B4-BE49-F238E27FC236}">
                <a16:creationId xmlns:a16="http://schemas.microsoft.com/office/drawing/2014/main" id="{F19B2FC6-BB2D-46F2-9078-35C588168F43}"/>
              </a:ext>
            </a:extLst>
          </p:cNvPr>
          <p:cNvSpPr txBox="1">
            <a:spLocks/>
          </p:cNvSpPr>
          <p:nvPr/>
        </p:nvSpPr>
        <p:spPr>
          <a:xfrm>
            <a:off x="230053" y="1897048"/>
            <a:ext cx="8172796" cy="3764200"/>
          </a:xfrm>
          <a:prstGeom prst="rect">
            <a:avLst/>
          </a:prstGeom>
          <a:noFill/>
        </p:spPr>
        <p:txBody>
          <a:bodyPr anchor="t"/>
          <a:lstStyle>
            <a:lvl1pPr marL="0" indent="0" algn="l" defTabSz="914400" rtl="0" eaLnBrk="1" latinLnBrk="0" hangingPunct="1">
              <a:lnSpc>
                <a:spcPct val="110000"/>
              </a:lnSpc>
              <a:spcBef>
                <a:spcPts val="600"/>
              </a:spcBef>
              <a:spcAft>
                <a:spcPts val="0"/>
              </a:spcAft>
              <a:buFont typeface="Arial" pitchFamily="34" charset="0"/>
              <a:buNone/>
              <a:defRPr sz="1400" b="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0"/>
              </a:spcAft>
              <a:buClr>
                <a:schemeClr val="tx2"/>
              </a:buClr>
              <a:buFont typeface="Arial"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4pPr>
            <a:lvl5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300"/>
              </a:spcBef>
              <a:spcAft>
                <a:spcPts val="0"/>
              </a:spcAft>
              <a:buClr>
                <a:schemeClr val="tx1"/>
              </a:buClr>
              <a:buFont typeface="Symbol" panose="05050102010706020507" pitchFamily="18" charset="2"/>
              <a:buChar char=""/>
              <a:defRPr sz="1400" kern="1200">
                <a:solidFill>
                  <a:schemeClr val="tx1"/>
                </a:solidFill>
                <a:latin typeface="+mn-lt"/>
                <a:ea typeface="+mn-ea"/>
                <a:cs typeface="+mn-cs"/>
              </a:defRPr>
            </a:lvl9pPr>
          </a:lstStyle>
          <a:p>
            <a:pPr marL="171450" lvl="0" indent="-171450" fontAlgn="auto">
              <a:buClr>
                <a:schemeClr val="tx2"/>
              </a:buClr>
              <a:buFont typeface="Arial" panose="020B0604020202020204" pitchFamily="34" charset="0"/>
              <a:buChar char="•"/>
              <a:defRPr/>
            </a:pPr>
            <a:r>
              <a:rPr lang="en-US" dirty="0">
                <a:solidFill>
                  <a:prstClr val="black"/>
                </a:solidFill>
                <a:latin typeface="Arial"/>
              </a:rPr>
              <a:t>Sentiment </a:t>
            </a:r>
            <a:r>
              <a:rPr lang="en-US" dirty="0" err="1">
                <a:solidFill>
                  <a:prstClr val="black"/>
                </a:solidFill>
                <a:latin typeface="Arial"/>
              </a:rPr>
              <a:t>für</a:t>
            </a:r>
            <a:r>
              <a:rPr lang="en-US" dirty="0">
                <a:solidFill>
                  <a:prstClr val="black"/>
                </a:solidFill>
                <a:latin typeface="Arial"/>
              </a:rPr>
              <a:t> Europa war </a:t>
            </a:r>
            <a:r>
              <a:rPr lang="en-US" dirty="0" err="1">
                <a:solidFill>
                  <a:prstClr val="black"/>
                </a:solidFill>
                <a:latin typeface="Arial"/>
              </a:rPr>
              <a:t>im</a:t>
            </a:r>
            <a:r>
              <a:rPr lang="en-US" dirty="0">
                <a:solidFill>
                  <a:prstClr val="black"/>
                </a:solidFill>
                <a:latin typeface="Arial"/>
              </a:rPr>
              <a:t> </a:t>
            </a:r>
            <a:r>
              <a:rPr lang="en-US" dirty="0" err="1">
                <a:solidFill>
                  <a:prstClr val="black"/>
                </a:solidFill>
                <a:latin typeface="Arial"/>
              </a:rPr>
              <a:t>letzten</a:t>
            </a:r>
            <a:r>
              <a:rPr lang="en-US" dirty="0">
                <a:solidFill>
                  <a:prstClr val="black"/>
                </a:solidFill>
                <a:latin typeface="Arial"/>
              </a:rPr>
              <a:t> </a:t>
            </a:r>
            <a:r>
              <a:rPr lang="en-US" dirty="0" err="1">
                <a:solidFill>
                  <a:prstClr val="black"/>
                </a:solidFill>
                <a:latin typeface="Arial"/>
              </a:rPr>
              <a:t>Jahr</a:t>
            </a:r>
            <a:r>
              <a:rPr lang="en-US" dirty="0">
                <a:solidFill>
                  <a:prstClr val="black"/>
                </a:solidFill>
                <a:latin typeface="Arial"/>
              </a:rPr>
              <a:t> </a:t>
            </a:r>
            <a:r>
              <a:rPr lang="en-US" dirty="0" err="1">
                <a:solidFill>
                  <a:prstClr val="black"/>
                </a:solidFill>
                <a:latin typeface="Arial"/>
              </a:rPr>
              <a:t>historisch</a:t>
            </a:r>
            <a:r>
              <a:rPr lang="en-US" dirty="0">
                <a:solidFill>
                  <a:prstClr val="black"/>
                </a:solidFill>
                <a:latin typeface="Arial"/>
              </a:rPr>
              <a:t> </a:t>
            </a:r>
            <a:r>
              <a:rPr lang="en-US" dirty="0" err="1">
                <a:solidFill>
                  <a:prstClr val="black"/>
                </a:solidFill>
                <a:latin typeface="Arial"/>
              </a:rPr>
              <a:t>schlecht</a:t>
            </a:r>
            <a:endParaRPr lang="en-US" dirty="0">
              <a:solidFill>
                <a:prstClr val="black"/>
              </a:solidFill>
              <a:latin typeface="Arial"/>
            </a:endParaRPr>
          </a:p>
          <a:p>
            <a:pPr marL="171450" lvl="0" indent="-171450" fontAlgn="auto">
              <a:buClr>
                <a:schemeClr val="tx2"/>
              </a:buClr>
              <a:buFont typeface="Arial" panose="020B0604020202020204" pitchFamily="34" charset="0"/>
              <a:buChar char="•"/>
              <a:defRPr/>
            </a:pPr>
            <a:r>
              <a:rPr lang="en-US" dirty="0" err="1">
                <a:solidFill>
                  <a:prstClr val="black"/>
                </a:solidFill>
                <a:latin typeface="Arial"/>
              </a:rPr>
              <a:t>Haupttreiber</a:t>
            </a:r>
            <a:r>
              <a:rPr lang="en-US" dirty="0">
                <a:solidFill>
                  <a:prstClr val="black"/>
                </a:solidFill>
                <a:latin typeface="Arial"/>
              </a:rPr>
              <a:t> der </a:t>
            </a:r>
            <a:r>
              <a:rPr lang="en-US" dirty="0" err="1">
                <a:solidFill>
                  <a:prstClr val="black"/>
                </a:solidFill>
                <a:latin typeface="Arial"/>
              </a:rPr>
              <a:t>europäischen</a:t>
            </a:r>
            <a:r>
              <a:rPr lang="en-US" dirty="0">
                <a:solidFill>
                  <a:prstClr val="black"/>
                </a:solidFill>
                <a:latin typeface="Arial"/>
              </a:rPr>
              <a:t> Outperformance </a:t>
            </a:r>
            <a:r>
              <a:rPr lang="en-US" dirty="0" err="1">
                <a:solidFill>
                  <a:prstClr val="black"/>
                </a:solidFill>
                <a:latin typeface="Arial"/>
              </a:rPr>
              <a:t>seit</a:t>
            </a:r>
            <a:r>
              <a:rPr lang="en-US" dirty="0">
                <a:solidFill>
                  <a:prstClr val="black"/>
                </a:solidFill>
                <a:latin typeface="Arial"/>
              </a:rPr>
              <a:t> Q4: </a:t>
            </a:r>
          </a:p>
          <a:p>
            <a:pPr lvl="0" fontAlgn="auto">
              <a:defRPr/>
            </a:pPr>
            <a:endParaRPr lang="en-US" dirty="0">
              <a:solidFill>
                <a:prstClr val="black"/>
              </a:solidFill>
              <a:latin typeface="Arial"/>
            </a:endParaRPr>
          </a:p>
        </p:txBody>
      </p:sp>
      <p:sp>
        <p:nvSpPr>
          <p:cNvPr id="25" name="Rectangle 24">
            <a:extLst>
              <a:ext uri="{FF2B5EF4-FFF2-40B4-BE49-F238E27FC236}">
                <a16:creationId xmlns:a16="http://schemas.microsoft.com/office/drawing/2014/main" id="{DC3ECEF4-94C4-4B6C-84F3-4A09696326DA}"/>
              </a:ext>
            </a:extLst>
          </p:cNvPr>
          <p:cNvSpPr/>
          <p:nvPr/>
        </p:nvSpPr>
        <p:spPr bwMode="gray">
          <a:xfrm>
            <a:off x="3707904" y="6453336"/>
            <a:ext cx="910759" cy="30492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graphicFrame>
        <p:nvGraphicFramePr>
          <p:cNvPr id="8" name="Tabelle 14">
            <a:extLst>
              <a:ext uri="{FF2B5EF4-FFF2-40B4-BE49-F238E27FC236}">
                <a16:creationId xmlns:a16="http://schemas.microsoft.com/office/drawing/2014/main" id="{5C266B0B-55B3-4A57-B958-4F60C05C7D8B}"/>
              </a:ext>
            </a:extLst>
          </p:cNvPr>
          <p:cNvGraphicFramePr>
            <a:graphicFrameLocks noGrp="1"/>
          </p:cNvGraphicFramePr>
          <p:nvPr>
            <p:extLst>
              <p:ext uri="{D42A27DB-BD31-4B8C-83A1-F6EECF244321}">
                <p14:modId xmlns:p14="http://schemas.microsoft.com/office/powerpoint/2010/main" val="897335647"/>
              </p:ext>
            </p:extLst>
          </p:nvPr>
        </p:nvGraphicFramePr>
        <p:xfrm>
          <a:off x="1043608" y="2636912"/>
          <a:ext cx="4112818" cy="2194560"/>
        </p:xfrm>
        <a:graphic>
          <a:graphicData uri="http://schemas.openxmlformats.org/drawingml/2006/table">
            <a:tbl>
              <a:tblPr>
                <a:tableStyleId>{7D95DDBC-5C31-40A9-B56D-BDF15E579DC0}</a:tableStyleId>
              </a:tblPr>
              <a:tblGrid>
                <a:gridCol w="368300">
                  <a:extLst>
                    <a:ext uri="{9D8B030D-6E8A-4147-A177-3AD203B41FA5}">
                      <a16:colId xmlns:a16="http://schemas.microsoft.com/office/drawing/2014/main" val="20000"/>
                    </a:ext>
                  </a:extLst>
                </a:gridCol>
                <a:gridCol w="3744518">
                  <a:extLst>
                    <a:ext uri="{9D8B030D-6E8A-4147-A177-3AD203B41FA5}">
                      <a16:colId xmlns:a16="http://schemas.microsoft.com/office/drawing/2014/main" val="20001"/>
                    </a:ext>
                  </a:extLst>
                </a:gridCol>
              </a:tblGrid>
              <a:tr h="370840">
                <a:tc>
                  <a:txBody>
                    <a:bodyPr/>
                    <a:lstStyle/>
                    <a:p>
                      <a:r>
                        <a:rPr lang="en-GB" sz="3600" b="1" dirty="0">
                          <a:solidFill>
                            <a:schemeClr val="tx2"/>
                          </a:solidFill>
                          <a:latin typeface="Garamond" panose="02020404030301010803" pitchFamily="18" charset="0"/>
                        </a:rPr>
                        <a:t>1</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fontAlgn="auto">
                        <a:defRPr/>
                      </a:pPr>
                      <a:r>
                        <a:rPr lang="en-US" sz="1400" dirty="0">
                          <a:solidFill>
                            <a:prstClr val="black"/>
                          </a:solidFill>
                          <a:latin typeface="+mn-lt"/>
                        </a:rPr>
                        <a:t>Bessere </a:t>
                      </a:r>
                      <a:r>
                        <a:rPr lang="en-US" sz="1400" dirty="0" err="1">
                          <a:solidFill>
                            <a:prstClr val="black"/>
                          </a:solidFill>
                          <a:latin typeface="+mn-lt"/>
                        </a:rPr>
                        <a:t>Makrodaten</a:t>
                      </a:r>
                      <a:r>
                        <a:rPr lang="en-US" sz="1400" dirty="0">
                          <a:solidFill>
                            <a:prstClr val="black"/>
                          </a:solidFill>
                          <a:latin typeface="+mn-lt"/>
                        </a:rPr>
                        <a:t>,</a:t>
                      </a:r>
                    </a:p>
                  </a:txBody>
                  <a:tcPr marL="0" marR="0" marT="0" marB="8640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0840">
                <a:tc>
                  <a:txBody>
                    <a:bodyPr/>
                    <a:lstStyle/>
                    <a:p>
                      <a:r>
                        <a:rPr lang="en-GB" sz="3600" b="1" dirty="0">
                          <a:solidFill>
                            <a:schemeClr val="tx2"/>
                          </a:solidFill>
                          <a:latin typeface="Garamond" panose="02020404030301010803" pitchFamily="18" charset="0"/>
                        </a:rPr>
                        <a:t>2</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fontAlgn="auto">
                        <a:defRPr/>
                      </a:pPr>
                      <a:r>
                        <a:rPr lang="en-US" sz="1400" dirty="0">
                          <a:solidFill>
                            <a:prstClr val="black"/>
                          </a:solidFill>
                          <a:latin typeface="+mn-lt"/>
                        </a:rPr>
                        <a:t>niedrigere </a:t>
                      </a:r>
                      <a:r>
                        <a:rPr lang="en-US" sz="1400" dirty="0" err="1">
                          <a:solidFill>
                            <a:prstClr val="black"/>
                          </a:solidFill>
                          <a:latin typeface="+mn-lt"/>
                        </a:rPr>
                        <a:t>Gaspreise</a:t>
                      </a:r>
                      <a:r>
                        <a:rPr lang="en-US" sz="1400" dirty="0">
                          <a:solidFill>
                            <a:prstClr val="black"/>
                          </a:solidFill>
                          <a:latin typeface="+mn-lt"/>
                        </a:rPr>
                        <a:t>, </a:t>
                      </a:r>
                    </a:p>
                  </a:txBody>
                  <a:tcPr marL="0" marR="0" marT="0" marB="8640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70840">
                <a:tc>
                  <a:txBody>
                    <a:bodyPr/>
                    <a:lstStyle/>
                    <a:p>
                      <a:r>
                        <a:rPr lang="en-GB" sz="3600" b="1" dirty="0">
                          <a:solidFill>
                            <a:schemeClr val="tx2"/>
                          </a:solidFill>
                          <a:latin typeface="Garamond" panose="02020404030301010803" pitchFamily="18" charset="0"/>
                        </a:rPr>
                        <a:t>3</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fontAlgn="auto">
                        <a:defRPr/>
                      </a:pPr>
                      <a:r>
                        <a:rPr lang="en-US" sz="1400" dirty="0">
                          <a:solidFill>
                            <a:prstClr val="black"/>
                          </a:solidFill>
                          <a:latin typeface="+mn-lt"/>
                        </a:rPr>
                        <a:t>Relative EPS-Outperformance, </a:t>
                      </a:r>
                    </a:p>
                  </a:txBody>
                  <a:tcPr marL="0" marR="0" marT="0" marB="8640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70840">
                <a:tc>
                  <a:txBody>
                    <a:bodyPr/>
                    <a:lstStyle/>
                    <a:p>
                      <a:r>
                        <a:rPr lang="en-GB" sz="3600" b="1" dirty="0">
                          <a:solidFill>
                            <a:schemeClr val="tx2"/>
                          </a:solidFill>
                          <a:latin typeface="Garamond" panose="02020404030301010803" pitchFamily="18" charset="0"/>
                        </a:rPr>
                        <a:t>4</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fontAlgn="auto">
                        <a:defRPr/>
                      </a:pPr>
                      <a:r>
                        <a:rPr lang="en-US" sz="1400" dirty="0" err="1">
                          <a:solidFill>
                            <a:prstClr val="black"/>
                          </a:solidFill>
                          <a:latin typeface="+mn-lt"/>
                        </a:rPr>
                        <a:t>Sektormix</a:t>
                      </a:r>
                      <a:r>
                        <a:rPr lang="en-US" sz="1400" dirty="0">
                          <a:solidFill>
                            <a:prstClr val="black"/>
                          </a:solidFill>
                          <a:latin typeface="+mn-lt"/>
                        </a:rPr>
                        <a:t> und </a:t>
                      </a:r>
                      <a:r>
                        <a:rPr lang="en-US" sz="1400" dirty="0" err="1">
                          <a:solidFill>
                            <a:prstClr val="black"/>
                          </a:solidFill>
                          <a:latin typeface="+mn-lt"/>
                        </a:rPr>
                        <a:t>höheres</a:t>
                      </a:r>
                      <a:r>
                        <a:rPr lang="en-US" sz="1400" dirty="0">
                          <a:solidFill>
                            <a:prstClr val="black"/>
                          </a:solidFill>
                          <a:latin typeface="+mn-lt"/>
                        </a:rPr>
                        <a:t> China-Exposure.</a:t>
                      </a:r>
                    </a:p>
                  </a:txBody>
                  <a:tcPr marL="0" marR="0" marT="0" marB="8640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pic>
        <p:nvPicPr>
          <p:cNvPr id="10" name="Picture 48">
            <a:extLst>
              <a:ext uri="{FF2B5EF4-FFF2-40B4-BE49-F238E27FC236}">
                <a16:creationId xmlns:a16="http://schemas.microsoft.com/office/drawing/2014/main" id="{3890DD77-60BE-41B8-97DF-33F84CE2D2C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251400" y="1268760"/>
            <a:ext cx="324000" cy="32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 name="Gerader Verbinder 14">
            <a:extLst>
              <a:ext uri="{FF2B5EF4-FFF2-40B4-BE49-F238E27FC236}">
                <a16:creationId xmlns:a16="http://schemas.microsoft.com/office/drawing/2014/main" id="{92AEE751-9607-41C8-B476-B0D00DEE5842}"/>
              </a:ext>
            </a:extLst>
          </p:cNvPr>
          <p:cNvCxnSpPr/>
          <p:nvPr/>
        </p:nvCxnSpPr>
        <p:spPr bwMode="gray">
          <a:xfrm>
            <a:off x="250825" y="1606818"/>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25190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1F6ED8D-0322-4A43-B63C-53E5A03B03AD}"/>
              </a:ext>
            </a:extLst>
          </p:cNvPr>
          <p:cNvSpPr>
            <a:spLocks noGrp="1"/>
          </p:cNvSpPr>
          <p:nvPr>
            <p:ph type="sldNum" sz="quarter" idx="12"/>
          </p:nvPr>
        </p:nvSpPr>
        <p:spPr/>
        <p:txBody>
          <a:bodyPr/>
          <a:lstStyle/>
          <a:p>
            <a:fld id="{D7FBF016-173F-4D13-AB5B-81861F2E6151}" type="slidenum">
              <a:rPr lang="de-DE" noProof="0" smtClean="0"/>
              <a:pPr/>
              <a:t>7</a:t>
            </a:fld>
            <a:endParaRPr lang="de-DE" noProof="0" dirty="0"/>
          </a:p>
        </p:txBody>
      </p:sp>
      <p:sp>
        <p:nvSpPr>
          <p:cNvPr id="5" name="Title 4">
            <a:extLst>
              <a:ext uri="{FF2B5EF4-FFF2-40B4-BE49-F238E27FC236}">
                <a16:creationId xmlns:a16="http://schemas.microsoft.com/office/drawing/2014/main" id="{93EF770F-234D-48EA-8E7C-3DFA8D6EBFC3}"/>
              </a:ext>
            </a:extLst>
          </p:cNvPr>
          <p:cNvSpPr>
            <a:spLocks noGrp="1"/>
          </p:cNvSpPr>
          <p:nvPr>
            <p:ph type="title"/>
          </p:nvPr>
        </p:nvSpPr>
        <p:spPr>
          <a:xfrm>
            <a:off x="250824" y="297447"/>
            <a:ext cx="7129487" cy="611273"/>
          </a:xfrm>
        </p:spPr>
        <p:txBody>
          <a:bodyPr/>
          <a:lstStyle/>
          <a:p>
            <a:r>
              <a:rPr lang="de-DE" b="1" dirty="0"/>
              <a:t>Es gibt erste Anzeichen für einen Stimmungsumschwung bei Anlegern in Bezug auf Europa</a:t>
            </a:r>
          </a:p>
        </p:txBody>
      </p:sp>
      <p:pic>
        <p:nvPicPr>
          <p:cNvPr id="6" name="Picture 5">
            <a:extLst>
              <a:ext uri="{FF2B5EF4-FFF2-40B4-BE49-F238E27FC236}">
                <a16:creationId xmlns:a16="http://schemas.microsoft.com/office/drawing/2014/main" id="{4709EBB3-E780-41F7-AB68-C1E4FB882E30}"/>
              </a:ext>
            </a:extLst>
          </p:cNvPr>
          <p:cNvPicPr>
            <a:picLocks noChangeAspect="1"/>
          </p:cNvPicPr>
          <p:nvPr/>
        </p:nvPicPr>
        <p:blipFill>
          <a:blip r:embed="rId3">
            <a:grayscl/>
          </a:blip>
          <a:stretch>
            <a:fillRect/>
          </a:stretch>
        </p:blipFill>
        <p:spPr>
          <a:xfrm>
            <a:off x="107504" y="2202444"/>
            <a:ext cx="5981628" cy="3406782"/>
          </a:xfrm>
          <a:prstGeom prst="rect">
            <a:avLst/>
          </a:prstGeom>
        </p:spPr>
      </p:pic>
      <p:sp>
        <p:nvSpPr>
          <p:cNvPr id="8" name="TextBox 7">
            <a:extLst>
              <a:ext uri="{FF2B5EF4-FFF2-40B4-BE49-F238E27FC236}">
                <a16:creationId xmlns:a16="http://schemas.microsoft.com/office/drawing/2014/main" id="{CD83F6DA-8272-45ED-9D00-98BC1C78232C}"/>
              </a:ext>
            </a:extLst>
          </p:cNvPr>
          <p:cNvSpPr txBox="1"/>
          <p:nvPr/>
        </p:nvSpPr>
        <p:spPr>
          <a:xfrm>
            <a:off x="250824" y="1340768"/>
            <a:ext cx="7777559" cy="215444"/>
          </a:xfrm>
          <a:prstGeom prst="rect">
            <a:avLst/>
          </a:prstGeom>
          <a:solidFill>
            <a:schemeClr val="bg1"/>
          </a:solid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
                <a:srgbClr val="C6562C"/>
              </a:buClr>
              <a:buSzTx/>
              <a:buFontTx/>
              <a:buNone/>
              <a:tabLst/>
              <a:defRPr/>
            </a:pPr>
            <a:r>
              <a:rPr lang="de-DE" b="1" dirty="0">
                <a:solidFill>
                  <a:srgbClr val="C6562C"/>
                </a:solidFill>
              </a:rPr>
              <a:t>Europäische </a:t>
            </a:r>
            <a:r>
              <a:rPr lang="de-DE" b="1" dirty="0" err="1">
                <a:solidFill>
                  <a:srgbClr val="C6562C"/>
                </a:solidFill>
              </a:rPr>
              <a:t>Flows</a:t>
            </a:r>
            <a:r>
              <a:rPr lang="de-DE" b="1" dirty="0">
                <a:solidFill>
                  <a:srgbClr val="C6562C"/>
                </a:solidFill>
              </a:rPr>
              <a:t> drehen im Januar nach 48 Wochen mit Abflüssen ins Positive</a:t>
            </a:r>
            <a:endParaRPr lang="en-US" b="1" dirty="0">
              <a:solidFill>
                <a:srgbClr val="C6562C"/>
              </a:solidFill>
            </a:endParaRPr>
          </a:p>
        </p:txBody>
      </p:sp>
      <p:cxnSp>
        <p:nvCxnSpPr>
          <p:cNvPr id="10" name="Straight Arrow Connector 9">
            <a:extLst>
              <a:ext uri="{FF2B5EF4-FFF2-40B4-BE49-F238E27FC236}">
                <a16:creationId xmlns:a16="http://schemas.microsoft.com/office/drawing/2014/main" id="{EE1D1630-D2C4-46AA-AAA8-63A08C995B7B}"/>
              </a:ext>
            </a:extLst>
          </p:cNvPr>
          <p:cNvCxnSpPr/>
          <p:nvPr/>
        </p:nvCxnSpPr>
        <p:spPr>
          <a:xfrm flipH="1">
            <a:off x="5580112" y="3132265"/>
            <a:ext cx="576064" cy="3600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ight Brace 10">
            <a:extLst>
              <a:ext uri="{FF2B5EF4-FFF2-40B4-BE49-F238E27FC236}">
                <a16:creationId xmlns:a16="http://schemas.microsoft.com/office/drawing/2014/main" id="{7E2092E4-4414-4138-945A-D172441CA455}"/>
              </a:ext>
            </a:extLst>
          </p:cNvPr>
          <p:cNvSpPr/>
          <p:nvPr/>
        </p:nvSpPr>
        <p:spPr>
          <a:xfrm rot="5400000">
            <a:off x="5039786" y="3825312"/>
            <a:ext cx="72539" cy="72008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 name="Rectangle 11">
            <a:extLst>
              <a:ext uri="{FF2B5EF4-FFF2-40B4-BE49-F238E27FC236}">
                <a16:creationId xmlns:a16="http://schemas.microsoft.com/office/drawing/2014/main" id="{2ACDECDE-ED49-4F9D-AB3E-A9A676424110}"/>
              </a:ext>
            </a:extLst>
          </p:cNvPr>
          <p:cNvSpPr/>
          <p:nvPr/>
        </p:nvSpPr>
        <p:spPr bwMode="gray">
          <a:xfrm>
            <a:off x="4650948" y="4245130"/>
            <a:ext cx="2066994" cy="6112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i="1" dirty="0">
                <a:solidFill>
                  <a:schemeClr val="tx1"/>
                </a:solidFill>
              </a:rPr>
              <a:t>Historisch hohe Abflüsse getrieben durch Ukraine Krieg, hohe Gaspreise und ökonomische Schwäche</a:t>
            </a:r>
          </a:p>
        </p:txBody>
      </p:sp>
      <p:sp>
        <p:nvSpPr>
          <p:cNvPr id="13" name="Rectangle 12">
            <a:extLst>
              <a:ext uri="{FF2B5EF4-FFF2-40B4-BE49-F238E27FC236}">
                <a16:creationId xmlns:a16="http://schemas.microsoft.com/office/drawing/2014/main" id="{BAE23C5D-FE8E-4E1D-B45B-4230E72175D1}"/>
              </a:ext>
            </a:extLst>
          </p:cNvPr>
          <p:cNvSpPr/>
          <p:nvPr/>
        </p:nvSpPr>
        <p:spPr bwMode="gray">
          <a:xfrm>
            <a:off x="5990970" y="2782630"/>
            <a:ext cx="2066994" cy="6112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i="1" dirty="0">
                <a:solidFill>
                  <a:schemeClr val="tx1"/>
                </a:solidFill>
              </a:rPr>
              <a:t>Besseres Sentiment zum Jahresstart</a:t>
            </a:r>
          </a:p>
        </p:txBody>
      </p:sp>
      <p:sp>
        <p:nvSpPr>
          <p:cNvPr id="16" name="Titel 18">
            <a:extLst>
              <a:ext uri="{FF2B5EF4-FFF2-40B4-BE49-F238E27FC236}">
                <a16:creationId xmlns:a16="http://schemas.microsoft.com/office/drawing/2014/main" id="{740413F2-EB7F-46BC-AEA3-E8A7FC66CF98}"/>
              </a:ext>
            </a:extLst>
          </p:cNvPr>
          <p:cNvSpPr txBox="1"/>
          <p:nvPr>
            <p:custDataLst>
              <p:tags r:id="rId1"/>
            </p:custDataLst>
          </p:nvPr>
        </p:nvSpPr>
        <p:spPr bwMode="gray">
          <a:xfrm>
            <a:off x="250825" y="6292044"/>
            <a:ext cx="5113263" cy="211412"/>
          </a:xfrm>
          <a:prstGeom prst="rect">
            <a:avLst/>
          </a:prstGeom>
        </p:spPr>
        <p:txBody>
          <a:bodyPr vert="horz" lIns="0" tIns="0" rIns="0" bIns="18000" rtlCol="0" anchor="ctr" anchorCtr="0">
            <a:no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Arial"/>
                <a:ea typeface="+mj-ea"/>
                <a:cs typeface="+mj-cs"/>
              </a:rPr>
              <a:t>Quelle: Goldman Sachs, EPFR Daten.</a:t>
            </a:r>
          </a:p>
        </p:txBody>
      </p:sp>
      <p:sp>
        <p:nvSpPr>
          <p:cNvPr id="25" name="Rectangle 24">
            <a:extLst>
              <a:ext uri="{FF2B5EF4-FFF2-40B4-BE49-F238E27FC236}">
                <a16:creationId xmlns:a16="http://schemas.microsoft.com/office/drawing/2014/main" id="{DC3ECEF4-94C4-4B6C-84F3-4A09696326DA}"/>
              </a:ext>
            </a:extLst>
          </p:cNvPr>
          <p:cNvSpPr/>
          <p:nvPr/>
        </p:nvSpPr>
        <p:spPr bwMode="gray">
          <a:xfrm>
            <a:off x="3707904" y="6453336"/>
            <a:ext cx="910759" cy="30492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cxnSp>
        <p:nvCxnSpPr>
          <p:cNvPr id="17" name="Gerader Verbinder 14">
            <a:extLst>
              <a:ext uri="{FF2B5EF4-FFF2-40B4-BE49-F238E27FC236}">
                <a16:creationId xmlns:a16="http://schemas.microsoft.com/office/drawing/2014/main" id="{ECBE0959-728D-42B2-8E43-D0256BC69C7C}"/>
              </a:ext>
            </a:extLst>
          </p:cNvPr>
          <p:cNvCxnSpPr/>
          <p:nvPr/>
        </p:nvCxnSpPr>
        <p:spPr bwMode="gray">
          <a:xfrm>
            <a:off x="251520"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6866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1F6ED8D-0322-4A43-B63C-53E5A03B03AD}"/>
              </a:ext>
            </a:extLst>
          </p:cNvPr>
          <p:cNvSpPr>
            <a:spLocks noGrp="1"/>
          </p:cNvSpPr>
          <p:nvPr>
            <p:ph type="sldNum" sz="quarter" idx="12"/>
          </p:nvPr>
        </p:nvSpPr>
        <p:spPr/>
        <p:txBody>
          <a:bodyPr/>
          <a:lstStyle/>
          <a:p>
            <a:fld id="{D7FBF016-173F-4D13-AB5B-81861F2E6151}" type="slidenum">
              <a:rPr lang="de-DE" noProof="0" smtClean="0"/>
              <a:pPr/>
              <a:t>8</a:t>
            </a:fld>
            <a:endParaRPr lang="de-DE" noProof="0" dirty="0"/>
          </a:p>
        </p:txBody>
      </p:sp>
      <p:sp>
        <p:nvSpPr>
          <p:cNvPr id="5" name="Title 4">
            <a:extLst>
              <a:ext uri="{FF2B5EF4-FFF2-40B4-BE49-F238E27FC236}">
                <a16:creationId xmlns:a16="http://schemas.microsoft.com/office/drawing/2014/main" id="{93EF770F-234D-48EA-8E7C-3DFA8D6EBFC3}"/>
              </a:ext>
            </a:extLst>
          </p:cNvPr>
          <p:cNvSpPr>
            <a:spLocks noGrp="1"/>
          </p:cNvSpPr>
          <p:nvPr>
            <p:ph type="title"/>
          </p:nvPr>
        </p:nvSpPr>
        <p:spPr>
          <a:xfrm>
            <a:off x="250824" y="297447"/>
            <a:ext cx="7057479" cy="611273"/>
          </a:xfrm>
        </p:spPr>
        <p:txBody>
          <a:bodyPr/>
          <a:lstStyle/>
          <a:p>
            <a:r>
              <a:rPr lang="de-DE" b="1" dirty="0"/>
              <a:t>Warum hat sich Europa besser entwickelt als die USA?</a:t>
            </a:r>
            <a:br>
              <a:rPr lang="de-DE" b="1" dirty="0"/>
            </a:br>
            <a:r>
              <a:rPr lang="de-DE" b="1" dirty="0"/>
              <a:t>(1) Bessere Makrodaten</a:t>
            </a:r>
          </a:p>
        </p:txBody>
      </p:sp>
      <p:sp>
        <p:nvSpPr>
          <p:cNvPr id="25" name="Rectangle 24">
            <a:extLst>
              <a:ext uri="{FF2B5EF4-FFF2-40B4-BE49-F238E27FC236}">
                <a16:creationId xmlns:a16="http://schemas.microsoft.com/office/drawing/2014/main" id="{DC3ECEF4-94C4-4B6C-84F3-4A09696326DA}"/>
              </a:ext>
            </a:extLst>
          </p:cNvPr>
          <p:cNvSpPr/>
          <p:nvPr/>
        </p:nvSpPr>
        <p:spPr bwMode="gray">
          <a:xfrm>
            <a:off x="3707904" y="6453336"/>
            <a:ext cx="910759" cy="30492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pic>
        <p:nvPicPr>
          <p:cNvPr id="26" name="Picture 25">
            <a:extLst>
              <a:ext uri="{FF2B5EF4-FFF2-40B4-BE49-F238E27FC236}">
                <a16:creationId xmlns:a16="http://schemas.microsoft.com/office/drawing/2014/main" id="{553EC033-89DF-4555-B395-42161D0937BA}"/>
              </a:ext>
            </a:extLst>
          </p:cNvPr>
          <p:cNvPicPr>
            <a:picLocks noChangeAspect="1"/>
          </p:cNvPicPr>
          <p:nvPr/>
        </p:nvPicPr>
        <p:blipFill rotWithShape="1">
          <a:blip r:embed="rId4">
            <a:grayscl/>
          </a:blip>
          <a:srcRect b="6603"/>
          <a:stretch/>
        </p:blipFill>
        <p:spPr>
          <a:xfrm>
            <a:off x="174580" y="2204874"/>
            <a:ext cx="4290660" cy="2622991"/>
          </a:xfrm>
          <a:prstGeom prst="rect">
            <a:avLst/>
          </a:prstGeom>
        </p:spPr>
      </p:pic>
      <p:pic>
        <p:nvPicPr>
          <p:cNvPr id="28" name="Picture 27">
            <a:extLst>
              <a:ext uri="{FF2B5EF4-FFF2-40B4-BE49-F238E27FC236}">
                <a16:creationId xmlns:a16="http://schemas.microsoft.com/office/drawing/2014/main" id="{190314B6-5B8C-4D59-A0B5-68C6C63A3D73}"/>
              </a:ext>
            </a:extLst>
          </p:cNvPr>
          <p:cNvPicPr>
            <a:picLocks noChangeAspect="1"/>
          </p:cNvPicPr>
          <p:nvPr/>
        </p:nvPicPr>
        <p:blipFill rotWithShape="1">
          <a:blip r:embed="rId5">
            <a:grayscl/>
          </a:blip>
          <a:srcRect b="6140"/>
          <a:stretch/>
        </p:blipFill>
        <p:spPr>
          <a:xfrm>
            <a:off x="4491934" y="2276872"/>
            <a:ext cx="4428008" cy="2550993"/>
          </a:xfrm>
          <a:prstGeom prst="rect">
            <a:avLst/>
          </a:prstGeom>
        </p:spPr>
      </p:pic>
      <p:cxnSp>
        <p:nvCxnSpPr>
          <p:cNvPr id="35" name="Straight Arrow Connector 34">
            <a:extLst>
              <a:ext uri="{FF2B5EF4-FFF2-40B4-BE49-F238E27FC236}">
                <a16:creationId xmlns:a16="http://schemas.microsoft.com/office/drawing/2014/main" id="{6B09FC76-BCC7-4FC2-BD83-1F786AC72184}"/>
              </a:ext>
            </a:extLst>
          </p:cNvPr>
          <p:cNvCxnSpPr>
            <a:cxnSpLocks/>
          </p:cNvCxnSpPr>
          <p:nvPr/>
        </p:nvCxnSpPr>
        <p:spPr>
          <a:xfrm flipV="1">
            <a:off x="4434670" y="3140968"/>
            <a:ext cx="0" cy="576064"/>
          </a:xfrm>
          <a:prstGeom prst="straightConnector1">
            <a:avLst/>
          </a:prstGeom>
          <a:ln w="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Gerader Verbinder 14">
            <a:extLst>
              <a:ext uri="{FF2B5EF4-FFF2-40B4-BE49-F238E27FC236}">
                <a16:creationId xmlns:a16="http://schemas.microsoft.com/office/drawing/2014/main" id="{60DF6519-406B-4A1E-8345-EB4F36BA83EF}"/>
              </a:ext>
            </a:extLst>
          </p:cNvPr>
          <p:cNvCxnSpPr/>
          <p:nvPr/>
        </p:nvCxnSpPr>
        <p:spPr bwMode="gray">
          <a:xfrm>
            <a:off x="251520"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010D222-FD73-45F4-A35B-31C1DF41F9BE}"/>
              </a:ext>
            </a:extLst>
          </p:cNvPr>
          <p:cNvSpPr txBox="1"/>
          <p:nvPr/>
        </p:nvSpPr>
        <p:spPr>
          <a:xfrm>
            <a:off x="174580" y="1287230"/>
            <a:ext cx="4260090" cy="310919"/>
          </a:xfrm>
          <a:prstGeom prst="rect">
            <a:avLst/>
          </a:prstGeom>
          <a:noFill/>
        </p:spPr>
        <p:txBody>
          <a:bodyPr wrap="square">
            <a:spAutoFit/>
          </a:bodyPr>
          <a:lstStyle/>
          <a:p>
            <a:r>
              <a:rPr lang="de-DE" b="1" dirty="0">
                <a:solidFill>
                  <a:srgbClr val="C6562C"/>
                </a:solidFill>
              </a:rPr>
              <a:t>Surprise-Indizes EMU vs. USA</a:t>
            </a:r>
            <a:endParaRPr lang="en-GB" b="1" dirty="0">
              <a:solidFill>
                <a:srgbClr val="C6562C"/>
              </a:solidFill>
            </a:endParaRPr>
          </a:p>
        </p:txBody>
      </p:sp>
      <p:cxnSp>
        <p:nvCxnSpPr>
          <p:cNvPr id="22" name="Gerader Verbinder 14">
            <a:extLst>
              <a:ext uri="{FF2B5EF4-FFF2-40B4-BE49-F238E27FC236}">
                <a16:creationId xmlns:a16="http://schemas.microsoft.com/office/drawing/2014/main" id="{03A1A8B2-3B31-4D03-A61B-167512245B2F}"/>
              </a:ext>
            </a:extLst>
          </p:cNvPr>
          <p:cNvCxnSpPr/>
          <p:nvPr/>
        </p:nvCxnSpPr>
        <p:spPr bwMode="gray">
          <a:xfrm>
            <a:off x="4569788" y="126876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9601E7F-D018-4237-925B-D394F2B2E80C}"/>
              </a:ext>
            </a:extLst>
          </p:cNvPr>
          <p:cNvSpPr txBox="1"/>
          <p:nvPr/>
        </p:nvSpPr>
        <p:spPr>
          <a:xfrm>
            <a:off x="4491934" y="1287230"/>
            <a:ext cx="4635794" cy="310919"/>
          </a:xfrm>
          <a:prstGeom prst="rect">
            <a:avLst/>
          </a:prstGeom>
          <a:noFill/>
        </p:spPr>
        <p:txBody>
          <a:bodyPr wrap="square">
            <a:spAutoFit/>
          </a:bodyPr>
          <a:lstStyle/>
          <a:p>
            <a:r>
              <a:rPr lang="de-DE" b="1" dirty="0">
                <a:solidFill>
                  <a:srgbClr val="C6562C"/>
                </a:solidFill>
              </a:rPr>
              <a:t>IFO steigt während die ISM Daten fallen</a:t>
            </a:r>
            <a:endParaRPr lang="en-GB" b="1" dirty="0">
              <a:solidFill>
                <a:srgbClr val="C6562C"/>
              </a:solidFill>
            </a:endParaRPr>
          </a:p>
        </p:txBody>
      </p:sp>
      <p:grpSp>
        <p:nvGrpSpPr>
          <p:cNvPr id="24" name="Gruppieren 6">
            <a:extLst>
              <a:ext uri="{FF2B5EF4-FFF2-40B4-BE49-F238E27FC236}">
                <a16:creationId xmlns:a16="http://schemas.microsoft.com/office/drawing/2014/main" id="{CB53D6C6-6B79-4994-89CC-C19682F89C24}"/>
              </a:ext>
            </a:extLst>
          </p:cNvPr>
          <p:cNvGrpSpPr/>
          <p:nvPr/>
        </p:nvGrpSpPr>
        <p:grpSpPr>
          <a:xfrm>
            <a:off x="254970" y="5517294"/>
            <a:ext cx="8638203" cy="648010"/>
            <a:chOff x="251369" y="5661390"/>
            <a:chExt cx="8641806" cy="648010"/>
          </a:xfrm>
        </p:grpSpPr>
        <p:sp>
          <p:nvSpPr>
            <p:cNvPr id="27" name="Inhaltsplatzhalter 1">
              <a:extLst>
                <a:ext uri="{FF2B5EF4-FFF2-40B4-BE49-F238E27FC236}">
                  <a16:creationId xmlns:a16="http://schemas.microsoft.com/office/drawing/2014/main" id="{FFF730FF-7DCB-4DEA-A452-5BB97F4D58F3}"/>
                </a:ext>
              </a:extLst>
            </p:cNvPr>
            <p:cNvSpPr txBox="1">
              <a:spLocks/>
            </p:cNvSpPr>
            <p:nvPr>
              <p:custDataLst>
                <p:tags r:id="rId2"/>
              </p:custDataLst>
            </p:nvPr>
          </p:nvSpPr>
          <p:spPr bwMode="gray">
            <a:xfrm>
              <a:off x="251369" y="5733400"/>
              <a:ext cx="8641806" cy="576000"/>
            </a:xfrm>
            <a:prstGeom prst="rect">
              <a:avLst/>
            </a:prstGeom>
            <a:noFill/>
            <a:ln w="6350">
              <a:noFill/>
            </a:ln>
          </p:spPr>
          <p:txBody>
            <a:bodyPr vert="horz" wrap="square" lIns="0" tIns="108000" rIns="0" bIns="0" rtlCol="0" anchor="t">
              <a:noAutofit/>
            </a:bodyPr>
            <a:lstStyle>
              <a:lvl1pPr marL="0" indent="0" algn="l" defTabSz="914400" rtl="0" eaLnBrk="1" latinLnBrk="0" hangingPunct="1">
                <a:lnSpc>
                  <a:spcPct val="110000"/>
                </a:lnSpc>
                <a:spcBef>
                  <a:spcPts val="180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9pPr>
            </a:lstStyle>
            <a:p>
              <a:pPr lvl="0">
                <a:spcBef>
                  <a:spcPts val="0"/>
                </a:spcBef>
                <a:defRPr/>
              </a:pPr>
              <a:r>
                <a:rPr lang="de-DE" b="0" dirty="0">
                  <a:solidFill>
                    <a:srgbClr val="C6562C"/>
                  </a:solidFill>
                  <a:latin typeface="Arial"/>
                </a:rPr>
                <a:t>Seit September 2022 waren die wirtschaftlichen Überraschungen in Europa positiver als in den USA.</a:t>
              </a:r>
            </a:p>
          </p:txBody>
        </p:sp>
        <p:cxnSp>
          <p:nvCxnSpPr>
            <p:cNvPr id="32" name="Gerader Verbinder 32">
              <a:extLst>
                <a:ext uri="{FF2B5EF4-FFF2-40B4-BE49-F238E27FC236}">
                  <a16:creationId xmlns:a16="http://schemas.microsoft.com/office/drawing/2014/main" id="{40717D7A-C99B-47BB-B5D2-B15A805BA48D}"/>
                </a:ext>
              </a:extLst>
            </p:cNvPr>
            <p:cNvCxnSpPr>
              <a:cxnSpLocks/>
            </p:cNvCxnSpPr>
            <p:nvPr/>
          </p:nvCxnSpPr>
          <p:spPr bwMode="gray">
            <a:xfrm>
              <a:off x="252064" y="5661390"/>
              <a:ext cx="504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Gerader Verbinder 34">
              <a:extLst>
                <a:ext uri="{FF2B5EF4-FFF2-40B4-BE49-F238E27FC236}">
                  <a16:creationId xmlns:a16="http://schemas.microsoft.com/office/drawing/2014/main" id="{D35D143F-00D2-4CF6-8122-326DA9EF7618}"/>
                </a:ext>
              </a:extLst>
            </p:cNvPr>
            <p:cNvCxnSpPr>
              <a:cxnSpLocks/>
            </p:cNvCxnSpPr>
            <p:nvPr/>
          </p:nvCxnSpPr>
          <p:spPr bwMode="gray">
            <a:xfrm>
              <a:off x="251944" y="5733400"/>
              <a:ext cx="50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4" name="Titel 18">
            <a:extLst>
              <a:ext uri="{FF2B5EF4-FFF2-40B4-BE49-F238E27FC236}">
                <a16:creationId xmlns:a16="http://schemas.microsoft.com/office/drawing/2014/main" id="{D322EDD3-D1F8-4669-8C3F-0635C4829348}"/>
              </a:ext>
            </a:extLst>
          </p:cNvPr>
          <p:cNvSpPr txBox="1"/>
          <p:nvPr>
            <p:custDataLst>
              <p:tags r:id="rId1"/>
            </p:custDataLst>
          </p:nvPr>
        </p:nvSpPr>
        <p:spPr bwMode="gray">
          <a:xfrm>
            <a:off x="250825" y="6292044"/>
            <a:ext cx="5113263" cy="211412"/>
          </a:xfrm>
          <a:prstGeom prst="rect">
            <a:avLst/>
          </a:prstGeom>
        </p:spPr>
        <p:txBody>
          <a:bodyPr vert="horz" lIns="0" tIns="0" rIns="0" bIns="18000" rtlCol="0" anchor="ctr" anchorCtr="0">
            <a:no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Arial"/>
                <a:ea typeface="+mj-ea"/>
                <a:cs typeface="+mj-cs"/>
              </a:rPr>
              <a:t>Quelle: </a:t>
            </a:r>
            <a:r>
              <a:rPr kumimoji="0" lang="de-DE" sz="900" b="0" i="0" u="none" strike="noStrike" kern="1200" cap="none" spc="0" normalizeH="0" baseline="0" noProof="0" dirty="0" err="1">
                <a:ln>
                  <a:noFill/>
                </a:ln>
                <a:solidFill>
                  <a:prstClr val="black"/>
                </a:solidFill>
                <a:effectLst/>
                <a:uLnTx/>
                <a:uFillTx/>
                <a:latin typeface="Arial"/>
                <a:ea typeface="+mj-ea"/>
                <a:cs typeface="+mj-cs"/>
              </a:rPr>
              <a:t>Refinitiv</a:t>
            </a:r>
            <a:r>
              <a:rPr lang="de-DE" sz="900" b="0" dirty="0">
                <a:solidFill>
                  <a:prstClr val="black"/>
                </a:solidFill>
                <a:latin typeface="Arial"/>
              </a:rPr>
              <a:t>, Morgan Stanley Research, Januar 2023</a:t>
            </a:r>
            <a:endParaRPr kumimoji="0" lang="de-DE" sz="900" b="0" i="0" u="none" strike="noStrike" kern="1200" cap="none" spc="0" normalizeH="0" baseline="0" noProof="0" dirty="0">
              <a:ln>
                <a:noFill/>
              </a:ln>
              <a:solidFill>
                <a:prstClr val="black"/>
              </a:solidFill>
              <a:effectLst/>
              <a:uLnTx/>
              <a:uFillTx/>
              <a:latin typeface="Arial"/>
              <a:ea typeface="+mj-ea"/>
              <a:cs typeface="+mj-cs"/>
            </a:endParaRPr>
          </a:p>
        </p:txBody>
      </p:sp>
    </p:spTree>
    <p:extLst>
      <p:ext uri="{BB962C8B-B14F-4D97-AF65-F5344CB8AC3E}">
        <p14:creationId xmlns:p14="http://schemas.microsoft.com/office/powerpoint/2010/main" val="3101251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45C0B60D-3847-4B9E-8C67-1D6A4ADD4455}"/>
              </a:ext>
            </a:extLst>
          </p:cNvPr>
          <p:cNvSpPr txBox="1"/>
          <p:nvPr/>
        </p:nvSpPr>
        <p:spPr>
          <a:xfrm>
            <a:off x="167894" y="1297031"/>
            <a:ext cx="7140410" cy="310919"/>
          </a:xfrm>
          <a:prstGeom prst="rect">
            <a:avLst/>
          </a:prstGeom>
          <a:noFill/>
        </p:spPr>
        <p:txBody>
          <a:bodyPr wrap="square">
            <a:spAutoFit/>
          </a:bodyPr>
          <a:lstStyle/>
          <a:p>
            <a:r>
              <a:rPr lang="de-DE" b="1" dirty="0">
                <a:solidFill>
                  <a:srgbClr val="C6562C"/>
                </a:solidFill>
              </a:rPr>
              <a:t>Niedrigere Gaspreise haben zur Outperformance des EuroStoxx50 beigetragen</a:t>
            </a:r>
            <a:endParaRPr lang="en-GB" b="1" dirty="0">
              <a:solidFill>
                <a:srgbClr val="C6562C"/>
              </a:solidFill>
            </a:endParaRPr>
          </a:p>
        </p:txBody>
      </p:sp>
      <p:sp>
        <p:nvSpPr>
          <p:cNvPr id="4" name="Slide Number Placeholder 3">
            <a:extLst>
              <a:ext uri="{FF2B5EF4-FFF2-40B4-BE49-F238E27FC236}">
                <a16:creationId xmlns:a16="http://schemas.microsoft.com/office/drawing/2014/main" id="{B1F6ED8D-0322-4A43-B63C-53E5A03B03AD}"/>
              </a:ext>
            </a:extLst>
          </p:cNvPr>
          <p:cNvSpPr>
            <a:spLocks noGrp="1"/>
          </p:cNvSpPr>
          <p:nvPr>
            <p:ph type="sldNum" sz="quarter" idx="12"/>
          </p:nvPr>
        </p:nvSpPr>
        <p:spPr/>
        <p:txBody>
          <a:bodyPr/>
          <a:lstStyle/>
          <a:p>
            <a:fld id="{D7FBF016-173F-4D13-AB5B-81861F2E6151}" type="slidenum">
              <a:rPr lang="de-DE" noProof="0" smtClean="0"/>
              <a:pPr/>
              <a:t>9</a:t>
            </a:fld>
            <a:endParaRPr lang="de-DE" noProof="0" dirty="0"/>
          </a:p>
        </p:txBody>
      </p:sp>
      <p:sp>
        <p:nvSpPr>
          <p:cNvPr id="5" name="Title 4">
            <a:extLst>
              <a:ext uri="{FF2B5EF4-FFF2-40B4-BE49-F238E27FC236}">
                <a16:creationId xmlns:a16="http://schemas.microsoft.com/office/drawing/2014/main" id="{93EF770F-234D-48EA-8E7C-3DFA8D6EBFC3}"/>
              </a:ext>
            </a:extLst>
          </p:cNvPr>
          <p:cNvSpPr>
            <a:spLocks noGrp="1"/>
          </p:cNvSpPr>
          <p:nvPr>
            <p:ph type="title"/>
          </p:nvPr>
        </p:nvSpPr>
        <p:spPr>
          <a:xfrm>
            <a:off x="250824" y="297447"/>
            <a:ext cx="6913463" cy="611273"/>
          </a:xfrm>
        </p:spPr>
        <p:txBody>
          <a:bodyPr/>
          <a:lstStyle/>
          <a:p>
            <a:r>
              <a:rPr lang="de-DE" b="1" dirty="0"/>
              <a:t>Warum hat sich Europa besser entwickelt als die USA?</a:t>
            </a:r>
            <a:br>
              <a:rPr lang="de-DE" b="1" dirty="0"/>
            </a:br>
            <a:r>
              <a:rPr lang="de-DE" dirty="0"/>
              <a:t>(2) Niedrigere Gaspreise</a:t>
            </a:r>
            <a:endParaRPr lang="de-DE" b="1" dirty="0"/>
          </a:p>
        </p:txBody>
      </p:sp>
      <p:sp>
        <p:nvSpPr>
          <p:cNvPr id="25" name="Rectangle 24">
            <a:extLst>
              <a:ext uri="{FF2B5EF4-FFF2-40B4-BE49-F238E27FC236}">
                <a16:creationId xmlns:a16="http://schemas.microsoft.com/office/drawing/2014/main" id="{DC3ECEF4-94C4-4B6C-84F3-4A09696326DA}"/>
              </a:ext>
            </a:extLst>
          </p:cNvPr>
          <p:cNvSpPr/>
          <p:nvPr/>
        </p:nvSpPr>
        <p:spPr bwMode="gray">
          <a:xfrm>
            <a:off x="3707904" y="6453336"/>
            <a:ext cx="910759" cy="30492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ysClr val="windowText" lastClr="000000"/>
              </a:solidFill>
            </a:endParaRPr>
          </a:p>
        </p:txBody>
      </p:sp>
      <p:grpSp>
        <p:nvGrpSpPr>
          <p:cNvPr id="37" name="Gruppieren 6">
            <a:extLst>
              <a:ext uri="{FF2B5EF4-FFF2-40B4-BE49-F238E27FC236}">
                <a16:creationId xmlns:a16="http://schemas.microsoft.com/office/drawing/2014/main" id="{071BC693-2880-4F15-9D9D-EFFABAD31E8C}"/>
              </a:ext>
            </a:extLst>
          </p:cNvPr>
          <p:cNvGrpSpPr/>
          <p:nvPr/>
        </p:nvGrpSpPr>
        <p:grpSpPr>
          <a:xfrm>
            <a:off x="250825" y="5517232"/>
            <a:ext cx="8642350" cy="648010"/>
            <a:chOff x="251369" y="5661390"/>
            <a:chExt cx="8641806" cy="648010"/>
          </a:xfrm>
        </p:grpSpPr>
        <p:sp>
          <p:nvSpPr>
            <p:cNvPr id="38" name="Inhaltsplatzhalter 1">
              <a:extLst>
                <a:ext uri="{FF2B5EF4-FFF2-40B4-BE49-F238E27FC236}">
                  <a16:creationId xmlns:a16="http://schemas.microsoft.com/office/drawing/2014/main" id="{E4F410B0-4A9A-42A1-A7A8-E41488D5F05B}"/>
                </a:ext>
              </a:extLst>
            </p:cNvPr>
            <p:cNvSpPr txBox="1">
              <a:spLocks/>
            </p:cNvSpPr>
            <p:nvPr>
              <p:custDataLst>
                <p:tags r:id="rId2"/>
              </p:custDataLst>
            </p:nvPr>
          </p:nvSpPr>
          <p:spPr bwMode="gray">
            <a:xfrm>
              <a:off x="251369" y="5733400"/>
              <a:ext cx="8641806" cy="576000"/>
            </a:xfrm>
            <a:prstGeom prst="rect">
              <a:avLst/>
            </a:prstGeom>
            <a:noFill/>
            <a:ln w="6350">
              <a:noFill/>
            </a:ln>
          </p:spPr>
          <p:txBody>
            <a:bodyPr vert="horz" wrap="square" lIns="0" tIns="108000" rIns="0" bIns="0" rtlCol="0" anchor="t">
              <a:noAutofit/>
            </a:bodyPr>
            <a:lstStyle>
              <a:lvl1pPr marL="0" indent="0" algn="l" defTabSz="914400" rtl="0" eaLnBrk="1" latinLnBrk="0" hangingPunct="1">
                <a:lnSpc>
                  <a:spcPct val="110000"/>
                </a:lnSpc>
                <a:spcBef>
                  <a:spcPts val="180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14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9pPr>
            </a:lstStyle>
            <a:p>
              <a:pPr lvl="0">
                <a:spcBef>
                  <a:spcPts val="0"/>
                </a:spcBef>
                <a:defRPr/>
              </a:pPr>
              <a:r>
                <a:rPr lang="de-DE" b="0" dirty="0">
                  <a:solidFill>
                    <a:srgbClr val="C6562C"/>
                  </a:solidFill>
                  <a:latin typeface="Arial"/>
                </a:rPr>
                <a:t>Seit August 2022 hat sich der Gaspreis (</a:t>
              </a:r>
              <a:r>
                <a:rPr lang="de-DE" b="0" dirty="0" err="1">
                  <a:solidFill>
                    <a:srgbClr val="C6562C"/>
                  </a:solidFill>
                  <a:latin typeface="Arial"/>
                </a:rPr>
                <a:t>Dutch</a:t>
              </a:r>
              <a:r>
                <a:rPr lang="de-DE" b="0" dirty="0">
                  <a:solidFill>
                    <a:srgbClr val="C6562C"/>
                  </a:solidFill>
                  <a:latin typeface="Arial"/>
                </a:rPr>
                <a:t> TTF Natural Gas Future) von 340 EUR auf 55 EUR pro Kontrakt korrigiert.</a:t>
              </a:r>
              <a:endParaRPr kumimoji="0" lang="en-US" b="0" i="0" u="none" strike="noStrike" kern="1200" cap="none" spc="0" normalizeH="0" baseline="0" noProof="0" dirty="0">
                <a:ln>
                  <a:noFill/>
                </a:ln>
                <a:solidFill>
                  <a:srgbClr val="C6562C"/>
                </a:solidFill>
                <a:effectLst/>
                <a:uLnTx/>
                <a:uFillTx/>
                <a:latin typeface="Arial"/>
                <a:ea typeface="+mn-ea"/>
                <a:cs typeface="+mn-cs"/>
              </a:endParaRPr>
            </a:p>
          </p:txBody>
        </p:sp>
        <p:cxnSp>
          <p:nvCxnSpPr>
            <p:cNvPr id="39" name="Gerader Verbinder 32">
              <a:extLst>
                <a:ext uri="{FF2B5EF4-FFF2-40B4-BE49-F238E27FC236}">
                  <a16:creationId xmlns:a16="http://schemas.microsoft.com/office/drawing/2014/main" id="{C53CCF1C-1713-4222-8BD2-1947577E1ED5}"/>
                </a:ext>
              </a:extLst>
            </p:cNvPr>
            <p:cNvCxnSpPr>
              <a:cxnSpLocks/>
            </p:cNvCxnSpPr>
            <p:nvPr/>
          </p:nvCxnSpPr>
          <p:spPr bwMode="gray">
            <a:xfrm>
              <a:off x="252064" y="5661390"/>
              <a:ext cx="504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Gerader Verbinder 34">
              <a:extLst>
                <a:ext uri="{FF2B5EF4-FFF2-40B4-BE49-F238E27FC236}">
                  <a16:creationId xmlns:a16="http://schemas.microsoft.com/office/drawing/2014/main" id="{53074C34-AE0C-483A-9051-898F31340139}"/>
                </a:ext>
              </a:extLst>
            </p:cNvPr>
            <p:cNvCxnSpPr>
              <a:cxnSpLocks/>
            </p:cNvCxnSpPr>
            <p:nvPr/>
          </p:nvCxnSpPr>
          <p:spPr bwMode="gray">
            <a:xfrm>
              <a:off x="251944" y="5733400"/>
              <a:ext cx="50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F23A5018-725A-4246-9077-B5C3E6F3E828}"/>
              </a:ext>
            </a:extLst>
          </p:cNvPr>
          <p:cNvPicPr>
            <a:picLocks noChangeAspect="1"/>
          </p:cNvPicPr>
          <p:nvPr/>
        </p:nvPicPr>
        <p:blipFill rotWithShape="1">
          <a:blip r:embed="rId4">
            <a:grayscl/>
          </a:blip>
          <a:srcRect b="4655"/>
          <a:stretch/>
        </p:blipFill>
        <p:spPr>
          <a:xfrm>
            <a:off x="170557" y="2115186"/>
            <a:ext cx="4545460" cy="2774826"/>
          </a:xfrm>
          <a:prstGeom prst="rect">
            <a:avLst/>
          </a:prstGeom>
        </p:spPr>
      </p:pic>
      <p:cxnSp>
        <p:nvCxnSpPr>
          <p:cNvPr id="14" name="Gerader Verbinder 14">
            <a:extLst>
              <a:ext uri="{FF2B5EF4-FFF2-40B4-BE49-F238E27FC236}">
                <a16:creationId xmlns:a16="http://schemas.microsoft.com/office/drawing/2014/main" id="{56B6D17D-0976-41FB-AE61-D43118B7D8FD}"/>
              </a:ext>
            </a:extLst>
          </p:cNvPr>
          <p:cNvCxnSpPr/>
          <p:nvPr/>
        </p:nvCxnSpPr>
        <p:spPr bwMode="gray">
          <a:xfrm>
            <a:off x="251520" y="1268700"/>
            <a:ext cx="50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itel 18">
            <a:extLst>
              <a:ext uri="{FF2B5EF4-FFF2-40B4-BE49-F238E27FC236}">
                <a16:creationId xmlns:a16="http://schemas.microsoft.com/office/drawing/2014/main" id="{563D58DE-3976-493A-B2CD-50B1ED2EF51A}"/>
              </a:ext>
            </a:extLst>
          </p:cNvPr>
          <p:cNvSpPr txBox="1"/>
          <p:nvPr>
            <p:custDataLst>
              <p:tags r:id="rId1"/>
            </p:custDataLst>
          </p:nvPr>
        </p:nvSpPr>
        <p:spPr bwMode="gray">
          <a:xfrm>
            <a:off x="250825" y="6292044"/>
            <a:ext cx="5113263" cy="211412"/>
          </a:xfrm>
          <a:prstGeom prst="rect">
            <a:avLst/>
          </a:prstGeom>
        </p:spPr>
        <p:txBody>
          <a:bodyPr vert="horz" lIns="0" tIns="0" rIns="0" bIns="18000" rtlCol="0" anchor="ctr" anchorCtr="0">
            <a:no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Arial"/>
                <a:ea typeface="+mj-ea"/>
                <a:cs typeface="+mj-cs"/>
              </a:rPr>
              <a:t>Quelle: </a:t>
            </a:r>
            <a:r>
              <a:rPr kumimoji="0" lang="de-DE" sz="900" b="0" i="0" u="none" strike="noStrike" kern="1200" cap="none" spc="0" normalizeH="0" baseline="0" noProof="0" dirty="0" err="1">
                <a:ln>
                  <a:noFill/>
                </a:ln>
                <a:solidFill>
                  <a:prstClr val="black"/>
                </a:solidFill>
                <a:effectLst/>
                <a:uLnTx/>
                <a:uFillTx/>
                <a:latin typeface="Arial"/>
                <a:ea typeface="+mj-ea"/>
                <a:cs typeface="+mj-cs"/>
              </a:rPr>
              <a:t>Refinitiv</a:t>
            </a:r>
            <a:r>
              <a:rPr lang="de-DE" sz="900" b="0" dirty="0">
                <a:solidFill>
                  <a:prstClr val="black"/>
                </a:solidFill>
                <a:latin typeface="Arial"/>
              </a:rPr>
              <a:t>, Morgan Stanley Research, Januar 2023</a:t>
            </a:r>
            <a:endParaRPr kumimoji="0" lang="de-DE" sz="900" b="0" i="0" u="none" strike="noStrike" kern="1200" cap="none" spc="0" normalizeH="0" baseline="0" noProof="0" dirty="0">
              <a:ln>
                <a:noFill/>
              </a:ln>
              <a:solidFill>
                <a:prstClr val="black"/>
              </a:solidFill>
              <a:effectLst/>
              <a:uLnTx/>
              <a:uFillTx/>
              <a:latin typeface="Arial"/>
              <a:ea typeface="+mj-ea"/>
              <a:cs typeface="+mj-cs"/>
            </a:endParaRPr>
          </a:p>
        </p:txBody>
      </p:sp>
    </p:spTree>
    <p:extLst>
      <p:ext uri="{BB962C8B-B14F-4D97-AF65-F5344CB8AC3E}">
        <p14:creationId xmlns:p14="http://schemas.microsoft.com/office/powerpoint/2010/main" val="41863757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UPSLIDETOCALGOID" val="Standard"/>
  <p:tag name="UPSLIDETOCMASTERID" val="Berenberg GER Standard12 14 2021"/>
  <p:tag name="UPSLIDETOCMASTERNAME" val="Berenberg GER Standard"/>
  <p:tag name="UPSLIDETOCMASTERLASTEDITIONDATE" val="637750878089878357"/>
  <p:tag name="DATESCRIPT" val="&lt;%Date%&gt; | &lt;%Titel%&gt; | &lt;%Weitere Informationen%&gt;"/>
  <p:tag name="UPSLIDETOCOPTIONS" val="&lt;?xml version=&quot;1.0&quot; encoding=&quot;utf-16&quot;?&gt;&#10;&lt;TocContentOptions xmlns:xsd=&quot;http://www.w3.org/2001/XMLSchema&quot; xmlns:xsi=&quot;http://www.w3.org/2001/XMLSchema-instance&quot;&gt;&#10;  &lt;TocSlidesOptions&gt;&#10;    &lt;ContainsSubSectionTitles&gt;true&lt;/ContainsSubSectionTitles&gt;&#10;    &lt;ContainsSlideTitles&gt;false&lt;/ContainsSlideTitles&gt;&#10;    &lt;ContainsParentLessSlidesTitles&gt;false&lt;/ContainsParentLessSlidesTitles&gt;&#10;    &lt;ContainsPrentLessSubsections&gt;true&lt;/ContainsPrentLessSubsections&gt;&#10;    &lt;ContainsAppendix&gt;true&lt;/ContainsAppendix&gt;&#10;    &lt;ContainsUnNumberedSections&gt;true&lt;/ContainsUnNumberedSections&gt;&#10;    &lt;SlideTitle&gt;Inhaltsverzeichnis&lt;/SlideTitle&gt;&#10;  &lt;/TocSlidesOptions&gt;&#10;  &lt;SectionSlideOptions&gt;&#10;    &lt;ContainsOwnSubSection&gt;fals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gt;Section&lt;/SlideTitle&gt;&#10;  &lt;/SectionSlideOptions&gt;&#10;  &lt;SubSectionSlideOptions&gt;&#10;    &lt;ContainsOtherSubsections&gt;false&lt;/ContainsOtherSubsections&gt;&#10;    &lt;ContainsOwnSlides&gt;false&lt;/ContainsOwnSlides&gt;&#10;    &lt;ContainsParentSection&gt;false&lt;/ContainsParentSection&gt;&#10;    &lt;ContainsOtherSections&gt;false&lt;/ContainsOtherSections&gt;&#10;    &lt;containsAppendix&gt;false&lt;/containsAppendix&gt;&#10;    &lt;containsUnnumberedSections&gt;false&lt;/containsUnnumberedSections&gt;&#10;    &lt;SlideTitle&gt;Sub-section&lt;/SlideTitle&gt;&#10;  &lt;/SubSectionSlideOptions&gt;&#10;  &lt;UsedSlideLayouts&gt;&#10;    &lt;TocSlidesLayout&gt;&#10;      &lt;DesignName&gt;Berenberg Slide Master&lt;/DesignName&gt;&#10;      &lt;LayoutName&gt;Inhaltsverzeichnis&lt;/LayoutName&gt;&#10;    &lt;/TocSlidesLayout&gt;&#10;    &lt;SectionLayout&gt;&#10;      &lt;DesignName&gt;Berenberg Slide Master&lt;/DesignName&gt;&#10;      &lt;LayoutName&gt;Kapiteltrenner&lt;/LayoutName&gt;&#10;    &lt;/SectionLayout&gt;&#10;    &lt;SubsectionLayout&gt;&#10;      &lt;DesignName&gt;Berenberg Slide Master&lt;/DesignName&gt;&#10;      &lt;LayoutName&gt;Leer&lt;/LayoutName&gt;&#10;    &lt;/SubsectionLayout&gt;&#10;    &lt;AppendixLayout&gt;&#10;      &lt;DesignName /&gt;&#10;      &lt;LayoutName /&gt;&#10;    &lt;/AppendixLayout&gt;&#10;    &lt;TitleSliLayout&gt;&#10;      &lt;DesignName&gt;Berenberg Slide Master&lt;/DesignName&gt;&#10;      &lt;LayoutName&gt;1_Titelfolie&lt;/LayoutName&gt;&#10;    &lt;/TitleSliLayout&gt;&#10;  &lt;/UsedSlideLayouts&gt;&#10;  &lt;ActiveReminders /&gt;&#10;  &lt;CustomAlgoOptions&gt;&#10;    &lt;CustomBaseAlgoOptions&gt;&#10;      &lt;UseSlideTitleAsSubSectionMarker&gt;false&lt;/UseSlideTitleAsSubSectionMarker&gt;&#10;      &lt;SlideTitleAsSectionMarker&gt;&#10;        &lt;UseTitleAsReminder&gt;false&lt;/UseTitleAsReminder&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0&lt;/BannerFillR&gt;&#10;        &lt;BannerFillG&gt;0&lt;/BannerFillG&gt;&#10;        &lt;BannerFillB&gt;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1&lt;/Shading&gt;&#10;      &lt;/nonCurrentItemAttenuation&gt;&#10;      &lt;ForceDisplayTOCOnTwocolumns&gt;false&lt;/ForceDisplayTOCOnTwocolumns&gt;&#10;      &lt;DisplayTOCOnTwocolumns&gt;false&lt;/DisplayTOCOnTwocolumns&gt;&#10;      &lt;Scripts&gt;&#10;        &lt;BeforeSubSecTitle /&gt;&#10;        &lt;BeforeSlideIndex /&gt;&#10;        &lt;AfterSecNum /&gt;&#10;        &lt;BeforeSecNum&gt;0&lt;/BeforeSecNum&gt;&#10;        &lt;AfterSubSecNum /&gt;&#10;        &lt;BeforeSubSecNum /&gt;&#10;      &lt;/Scripts&gt;&#10;      &lt;Lines&gt;&#10;        &lt;UseLineBelowSections&gt;false&lt;/UseLineBelowSections&gt;&#10;        &lt;LineBelowSection&gt;&#10;          &lt;XOffset&gt;0&lt;/XOffset&gt;&#10;          &lt;YOffset&gt;0&lt;/YOffset&gt;&#10;          &lt;Weight&gt;0&lt;/Weight&gt;&#10;          &lt;R&gt;218&lt;/R&gt;&#10;          &lt;G&gt;216&lt;/G&gt;&#10;          &lt;B&gt;217&lt;/B&gt;&#10;          &lt;LineStyle&gt;1&lt;/LineStyle&gt;&#10;        &lt;/LineBelowSection&gt;&#10;      &lt;/Lines&gt;&#10;      &lt;ManVerticalSpacing&gt;&#10;        &lt;UseManualSpacing&gt;true&lt;/UseManualSpacing&gt;&#10;        &lt;ManualSpacing&gt;&#10;          &lt;SpaceBeforeSections&gt;0&lt;/SpaceBeforeSections&gt;&#10;          &lt;SpaceBeforeSubSections&gt;4&lt;/SpaceBeforeSubSections&gt;&#10;          &lt;SpaceBeforeSlides&gt;0&lt;/SpaceBeforeSlides&gt;&#10;        &lt;/ManualSpacing&gt;&#10;        &lt;ManualSpacingSections&gt;&#10;          &lt;SpaceBeforeSections&gt;16.4976387&lt;/SpaceBeforeSections&gt;&#10;          &lt;SpaceBeforeSubSections&gt;10.9984255&lt;/SpaceBeforeSubSections&gt;&#10;          &lt;SpaceBeforeSlides&gt;5.49921274&lt;/SpaceBeforeSlides&gt;&#10;        &lt;/ManualSpacingSections&gt;&#10;        &lt;ManualSpacingSubSections&gt;&#10;          &lt;SpaceBeforeSections&gt;16.4976387&lt;/SpaceBeforeSections&gt;&#10;          &lt;SpaceBeforeSubSections&gt;10.9984255&lt;/SpaceBeforeSubSections&gt;&#10;          &lt;SpaceBeforeSlides&gt;5.49921274&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UserPresentationOptions&gt;&#10;    &lt;SubSectionsHaveSlide&gt;false&lt;/SubSectionsHaveSlide&gt;&#10;    &lt;SectionDividersContainOwnSubSections xsi:nil=&quot;true&quot; /&gt;&#10;    &lt;SectionDividersContainOwnSlideTitles xsi:nil=&quot;true&quot; /&gt;&#10;    &lt;SubSectionDividersContainOwnSlideTitles xsi:nil=&quot;true&quot; /&gt;&#10;    &lt;TOCSlidesContainSubsectionTitles xsi:nil=&quot;true&quot; /&gt;&#10;    &lt;DisplayRemindersOnSlides&gt;true&lt;/DisplayRemindersOnSlides&gt;&#10;  &lt;/UserPresentationOptions&gt;&#10;  &lt;XmlSubSectionsHaveSlide&gt;false&lt;/XmlSubSectionsHaveSlide&gt;&#10;  &lt;AllowDuplicateTitleSlides&gt;true&lt;/AllowDuplicateTitleSlides&gt;&#10;  &lt;ShowEmptySlideTitles&gt;false&lt;/ShowEmptySlideTitles&gt;&#10;  &lt;NumberingOption&gt;&#10;    &lt;NumType&gt;FullArabic&lt;/NumType&gt;&#10;  &lt;/NumberingOption&gt;&#10;  &lt;NumberingOptionForAppendix&gt;&#10;    &lt;NumType&gt;RomanAndLetters&lt;/NumType&gt;&#10;  &lt;/NumberingOptionForAppendix&gt;&#10;&lt;/TocContentOptions&gt;"/>
  <p:tag name="TEMPLATESHORTNAMETAG" val="Berenberg Germany DE"/>
  <p:tag name="TEMPLATEFULLNAMETAG" val="Berenberg Germany DE"/>
  <p:tag name="TEMPLATEDETAILSTAG" val="Berenberg Germany DE"/>
  <p:tag name="UPSLIDE" val="Ber02676_Berenberg Germany DE_02-17-2022"/>
  <p:tag name="UPSLIDEVERSION" val="6.7.25.4"/>
</p:tagLst>
</file>

<file path=ppt/tags/tag10.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Section number"/>
  <p:tag name="TOCTEMPLATESHAPEDESCRIPTION" val="Sets shape format for section numbers"/>
</p:tagLst>
</file>

<file path=ppt/tags/tag11.xml><?xml version="1.0" encoding="utf-8"?>
<p:tagLst xmlns:a="http://schemas.openxmlformats.org/drawingml/2006/main" xmlns:r="http://schemas.openxmlformats.org/officeDocument/2006/relationships" xmlns:p="http://schemas.openxmlformats.org/presentationml/2006/main">
  <p:tag name="SHAPETYPE" val="SECTIONTITLE"/>
  <p:tag name="TOCSHAPE" val="AA"/>
  <p:tag name="NAME" val="SECTIONTITLE"/>
  <p:tag name="TOCTEMPLATESHAPENAME" val="Section title"/>
  <p:tag name="TOCTEMPLATESHAPEDESCRIPTION" val="Sets shape format for section titles"/>
</p:tagLst>
</file>

<file path=ppt/tags/tag12.xml><?xml version="1.0" encoding="utf-8"?>
<p:tagLst xmlns:a="http://schemas.openxmlformats.org/drawingml/2006/main" xmlns:r="http://schemas.openxmlformats.org/officeDocument/2006/relationships" xmlns:p="http://schemas.openxmlformats.org/presentationml/2006/main">
  <p:tag name="TOCSHAPE" val="268"/>
  <p:tag name="SLIDEINDEX" val="268"/>
  <p:tag name="NAME" val="SECTIONINDEX"/>
  <p:tag name="TOCTEMPLATESHAPENAME" val="Section slide number"/>
  <p:tag name="TOCTEMPLATESHAPEDESCRIPTION" val="Sets shape format for section slide numbers"/>
</p:tagLst>
</file>

<file path=ppt/tags/tag13.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Subsection number"/>
  <p:tag name="TOCTEMPLATESHAPEDESCRIPTION" val="Sets shape format for subsection numbers"/>
</p:tagLst>
</file>

<file path=ppt/tags/tag14.xml><?xml version="1.0" encoding="utf-8"?>
<p:tagLst xmlns:a="http://schemas.openxmlformats.org/drawingml/2006/main" xmlns:r="http://schemas.openxmlformats.org/officeDocument/2006/relationships" xmlns:p="http://schemas.openxmlformats.org/presentationml/2006/main">
  <p:tag name="SHAPETYPE" val="SUBSECTIONTITLE"/>
  <p:tag name="TOCSHAPE" val="AA"/>
  <p:tag name="NAME" val="SUBSECTIONTITLE"/>
  <p:tag name="TOCTEMPLATESHAPENAME" val="Subsection title"/>
  <p:tag name="TOCTEMPLATESHAPEDESCRIPTION" val="Sets shape format for subsection titles"/>
</p:tagLst>
</file>

<file path=ppt/tags/tag15.xml><?xml version="1.0" encoding="utf-8"?>
<p:tagLst xmlns:a="http://schemas.openxmlformats.org/drawingml/2006/main" xmlns:r="http://schemas.openxmlformats.org/officeDocument/2006/relationships" xmlns:p="http://schemas.openxmlformats.org/presentationml/2006/main">
  <p:tag name="TOCSHAPE" val="259"/>
  <p:tag name="SLIDEINDEX" val="259"/>
  <p:tag name="NAME" val="SUBSECTIONINDEX"/>
  <p:tag name="TOCTEMPLATESHAPENAME" val="Subsection slide number"/>
  <p:tag name="TOCTEMPLATESHAPEDESCRIPTION" val="Sets shape format for subsection slide numbers"/>
</p:tagLst>
</file>

<file path=ppt/tags/tag16.xml><?xml version="1.0" encoding="utf-8"?>
<p:tagLst xmlns:a="http://schemas.openxmlformats.org/drawingml/2006/main" xmlns:r="http://schemas.openxmlformats.org/officeDocument/2006/relationships" xmlns:p="http://schemas.openxmlformats.org/presentationml/2006/main">
  <p:tag name="HIDETOC" val="true"/>
</p:tagLst>
</file>

<file path=ppt/tags/tag17.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Slide title"/>
  <p:tag name="TOCTEMPLATESHAPEDESCRIPTION" val="Sets shape format for slide titles"/>
</p:tagLst>
</file>

<file path=ppt/tags/tag18.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LIDEINDEX"/>
  <p:tag name="TOCTEMPLATESHAPENAME" val="Slide number"/>
  <p:tag name="TOCTEMPLATESHAPEDESCRIPTION" val="Sets shape format for slide numbers"/>
</p:tagLst>
</file>

<file path=ppt/tags/tag19.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Subsection title"/>
  <p:tag name="TOCTEMPLATESHAPEDESCRIPTION" val="Sets shape format for subsection titles"/>
</p:tagLst>
</file>

<file path=ppt/tags/tag2.xml><?xml version="1.0" encoding="utf-8"?>
<p:tagLst xmlns:a="http://schemas.openxmlformats.org/drawingml/2006/main" xmlns:r="http://schemas.openxmlformats.org/officeDocument/2006/relationships" xmlns:p="http://schemas.openxmlformats.org/presentationml/2006/main">
  <p:tag name="NAME" val="Additional Footer"/>
</p:tagLst>
</file>

<file path=ppt/tags/tag20.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Subsection number"/>
  <p:tag name="TOCTEMPLATESHAPEDESCRIPTION" val="Sets shape format for subsection numbers"/>
</p:tagLst>
</file>

<file path=ppt/tags/tag21.xml><?xml version="1.0" encoding="utf-8"?>
<p:tagLst xmlns:a="http://schemas.openxmlformats.org/drawingml/2006/main" xmlns:r="http://schemas.openxmlformats.org/officeDocument/2006/relationships" xmlns:p="http://schemas.openxmlformats.org/presentationml/2006/main">
  <p:tag name="TOCSHAPE" val="304"/>
  <p:tag name="SLIDEINDEX" val="304"/>
  <p:tag name="NAME" val="SUBSECTIONINDEX"/>
  <p:tag name="TOCTEMPLATESHAPENAME" val="Subsection slide number"/>
  <p:tag name="TOCTEMPLATESHAPEDESCRIPTION" val="Sets shape format for subsection slide numbers"/>
</p:tagLst>
</file>

<file path=ppt/tags/tag22.xml><?xml version="1.0" encoding="utf-8"?>
<p:tagLst xmlns:a="http://schemas.openxmlformats.org/drawingml/2006/main" xmlns:r="http://schemas.openxmlformats.org/officeDocument/2006/relationships" xmlns:p="http://schemas.openxmlformats.org/presentationml/2006/main">
  <p:tag name="NAME" val="DRAWAREA"/>
  <p:tag name="TOCTEMPLATESHAPENAME" val="Plot area"/>
  <p:tag name="TOCTEMPLATESHAPEDESCRIPTION" val="Sets vertical position of Table of Contents"/>
</p:tagLst>
</file>

<file path=ppt/tags/tag23.xml><?xml version="1.0" encoding="utf-8"?>
<p:tagLst xmlns:a="http://schemas.openxmlformats.org/drawingml/2006/main" xmlns:r="http://schemas.openxmlformats.org/officeDocument/2006/relationships" xmlns:p="http://schemas.openxmlformats.org/presentationml/2006/main">
  <p:tag name="TOCSHAPE" val="AA"/>
  <p:tag name="SHAPETYPE" val="SECTIONTITLE"/>
  <p:tag name="NAME" val="SECTIONTITLE"/>
  <p:tag name="TOCTEMPLATESHAPENAME" val="Section title"/>
  <p:tag name="TOCTEMPLATESHAPEDESCRIPTION" val="Sets shape format for section titles"/>
</p:tagLst>
</file>

<file path=ppt/tags/tag24.xml><?xml version="1.0" encoding="utf-8"?>
<p:tagLst xmlns:a="http://schemas.openxmlformats.org/drawingml/2006/main" xmlns:r="http://schemas.openxmlformats.org/officeDocument/2006/relationships" xmlns:p="http://schemas.openxmlformats.org/presentationml/2006/main">
  <p:tag name="TOCSHAPE" val="257"/>
  <p:tag name="SLIDEINDEX" val="257"/>
  <p:tag name="NAME" val="SECTIONINDEX"/>
  <p:tag name="TOCTEMPLATESHAPENAME" val="Section slide number"/>
  <p:tag name="TOCTEMPLATESHAPEDESCRIPTION" val="Sets shape format for section slide numbers"/>
</p:tagLst>
</file>

<file path=ppt/tags/tag25.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Section number"/>
  <p:tag name="TOCTEMPLATESHAPEDESCRIPTION" val="Sets shape format for section numbers"/>
</p:tagLst>
</file>

<file path=ppt/tags/tag26.xml><?xml version="1.0" encoding="utf-8"?>
<p:tagLst xmlns:a="http://schemas.openxmlformats.org/drawingml/2006/main" xmlns:r="http://schemas.openxmlformats.org/officeDocument/2006/relationships" xmlns:p="http://schemas.openxmlformats.org/presentationml/2006/main">
  <p:tag name="HIDETOC" val="true"/>
</p:tagLst>
</file>

<file path=ppt/tags/tag27.xml><?xml version="1.0" encoding="utf-8"?>
<p:tagLst xmlns:a="http://schemas.openxmlformats.org/drawingml/2006/main" xmlns:r="http://schemas.openxmlformats.org/officeDocument/2006/relationships" xmlns:p="http://schemas.openxmlformats.org/presentationml/2006/main">
  <p:tag name="TOCSHAPE" val="307"/>
  <p:tag name="SLIDEINDEX" val="307"/>
  <p:tag name="NAME" val="SLIDEINDEX"/>
  <p:tag name="TOCTEMPLATESHAPENAME" val="Slide number"/>
  <p:tag name="TOCTEMPLATESHAPEDESCRIPTION" val="Sets shape format for slide numbers"/>
</p:tagLst>
</file>

<file path=ppt/tags/tag28.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Slide title"/>
  <p:tag name="TOCTEMPLATESHAPEDESCRIPTION" val="Sets shape format for slide titles"/>
</p:tagLst>
</file>

<file path=ppt/tags/tag2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Section number"/>
  <p:tag name="TOCTEMPLATESHAPEDESCRIPTION" val="Sets shape format for section numbers"/>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NAME" val="DRAWAREA"/>
  <p:tag name="TOCTEMPLATESHAPENAME" val="Plot area"/>
  <p:tag name="TOCTEMPLATESHAPEDESCRIPTION" val="Sets vertical position of Table of Contents"/>
</p:tagLst>
</file>

<file path=ppt/tags/tag31.xml><?xml version="1.0" encoding="utf-8"?>
<p:tagLst xmlns:a="http://schemas.openxmlformats.org/drawingml/2006/main" xmlns:r="http://schemas.openxmlformats.org/officeDocument/2006/relationships" xmlns:p="http://schemas.openxmlformats.org/presentationml/2006/main">
  <p:tag name="SHAPETYPE" val="SECTIONTITLE"/>
  <p:tag name="TOCSHAPE" val="AA"/>
  <p:tag name="NAME" val="SECTIONTITLE"/>
  <p:tag name="TOCTEMPLATESHAPENAME" val="Section title"/>
  <p:tag name="TOCTEMPLATESHAPEDESCRIPTION" val="Sets shape format for section titles"/>
</p:tagLst>
</file>

<file path=ppt/tags/tag32.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Subsection number"/>
  <p:tag name="TOCTEMPLATESHAPEDESCRIPTION" val="Sets shape format for subsection numbers"/>
</p:tagLst>
</file>

<file path=ppt/tags/tag33.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Subsection title"/>
  <p:tag name="TOCTEMPLATESHAPEDESCRIPTION" val="Sets shape format for subsection titles"/>
</p:tagLst>
</file>

<file path=ppt/tags/tag34.xml><?xml version="1.0" encoding="utf-8"?>
<p:tagLst xmlns:a="http://schemas.openxmlformats.org/drawingml/2006/main" xmlns:r="http://schemas.openxmlformats.org/officeDocument/2006/relationships" xmlns:p="http://schemas.openxmlformats.org/presentationml/2006/main">
  <p:tag name="TOCSHAPE" val="266"/>
  <p:tag name="SLIDEINDEX" val="266"/>
  <p:tag name="NAME" val="SUBSECTIONINDEX"/>
  <p:tag name="TOCTEMPLATESHAPENAME" val="Subsection slide number"/>
  <p:tag name="TOCTEMPLATESHAPEDESCRIPTION" val="Sets shape format for subsection slide numbers"/>
</p:tagLst>
</file>

<file path=ppt/tags/tag35.xml><?xml version="1.0" encoding="utf-8"?>
<p:tagLst xmlns:a="http://schemas.openxmlformats.org/drawingml/2006/main" xmlns:r="http://schemas.openxmlformats.org/officeDocument/2006/relationships" xmlns:p="http://schemas.openxmlformats.org/presentationml/2006/main">
  <p:tag name="TOCSHAPE" val="257"/>
  <p:tag name="SLIDEINDEX" val="257"/>
  <p:tag name="NAME" val="SECTIONINDEX"/>
  <p:tag name="TOCTEMPLATESHAPENAME" val="Section slide number"/>
  <p:tag name="TOCTEMPLATESHAPEDESCRIPTION" val="Sets shape format for section slide numbers"/>
</p:tagLst>
</file>

<file path=ppt/tags/tag36.xml><?xml version="1.0" encoding="utf-8"?>
<p:tagLst xmlns:a="http://schemas.openxmlformats.org/drawingml/2006/main" xmlns:r="http://schemas.openxmlformats.org/officeDocument/2006/relationships" xmlns:p="http://schemas.openxmlformats.org/presentationml/2006/main">
  <p:tag name="HIDETOC" val="true"/>
</p:tagLst>
</file>

<file path=ppt/tags/tag37.xml><?xml version="1.0" encoding="utf-8"?>
<p:tagLst xmlns:a="http://schemas.openxmlformats.org/drawingml/2006/main" xmlns:r="http://schemas.openxmlformats.org/officeDocument/2006/relationships" xmlns:p="http://schemas.openxmlformats.org/presentationml/2006/main">
  <p:tag name="HIDETOC" val="tru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TYLE" val="VctStamp"/>
  <p:tag name="DATE" val="12/13/2018 14:24:04"/>
  <p:tag name="VCT_CONNID" val="1032"/>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STYLE" val="VctTopStpCtr"/>
  <p:tag name="DATE" val="12/13/2018 14:24:05"/>
  <p:tag name="VCT_BEGINID" val="1032"/>
  <p:tag name="VCT_ENDID" val="1032"/>
</p:tagLst>
</file>

<file path=ppt/tags/tag41.xml><?xml version="1.0" encoding="utf-8"?>
<p:tagLst xmlns:a="http://schemas.openxmlformats.org/drawingml/2006/main" xmlns:r="http://schemas.openxmlformats.org/officeDocument/2006/relationships" xmlns:p="http://schemas.openxmlformats.org/presentationml/2006/main">
  <p:tag name="STYLE" val="VctBtmStpCtr"/>
  <p:tag name="DATE" val="12/13/2018 14:24:06"/>
  <p:tag name="VCT_BEGINID" val="1032"/>
  <p:tag name="VCT_ENDID" val="1032"/>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NAME" val="Titel"/>
</p:tagLst>
</file>

<file path=ppt/tags/tag49.xml><?xml version="1.0" encoding="utf-8"?>
<p:tagLst xmlns:a="http://schemas.openxmlformats.org/drawingml/2006/main" xmlns:r="http://schemas.openxmlformats.org/officeDocument/2006/relationships" xmlns:p="http://schemas.openxmlformats.org/presentationml/2006/main">
  <p:tag name="NAME" val="Date"/>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AS_UNIQUEID" val="2"/>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AS_UNIQUEID" val="2"/>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AS_UNIQUEID" val="2"/>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AS_UNIQUEID" val="2"/>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AS_UNIQUEID" val="2"/>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OCSHAPE" val="A"/>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AS_UNIQUEID" val="2"/>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NAME" val="DRAWAREA"/>
  <p:tag name="TOCTEMPLATESHAPENAME" val="Plot area"/>
  <p:tag name="TOCTEMPLATESHAPEDESCRIPTION" val="Sets vertical position of Table of Contents"/>
</p:tagLst>
</file>

<file path=ppt/tags/tag8.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Slide title"/>
  <p:tag name="TOCTEMPLATESHAPEDESCRIPTION" val="Sets shape format for slide titles"/>
</p:tagLst>
</file>

<file path=ppt/tags/tag9.xml><?xml version="1.0" encoding="utf-8"?>
<p:tagLst xmlns:a="http://schemas.openxmlformats.org/drawingml/2006/main" xmlns:r="http://schemas.openxmlformats.org/officeDocument/2006/relationships" xmlns:p="http://schemas.openxmlformats.org/presentationml/2006/main">
  <p:tag name="TOCSHAPE" val="259"/>
  <p:tag name="SLIDEINDEX" val="259"/>
  <p:tag name="NAME" val="SLIDEINDEX"/>
  <p:tag name="TOCTEMPLATESHAPENAME" val="Slide number"/>
  <p:tag name="TOCTEMPLATESHAPEDESCRIPTION" val="Sets shape format for slide numbers"/>
</p:tagLst>
</file>

<file path=ppt/theme/theme1.xml><?xml version="1.0" encoding="utf-8"?>
<a:theme xmlns:a="http://schemas.openxmlformats.org/drawingml/2006/main" name="Berenberg Slide Master">
  <a:themeElements>
    <a:clrScheme name="Berenberg">
      <a:dk1>
        <a:sysClr val="windowText" lastClr="000000"/>
      </a:dk1>
      <a:lt1>
        <a:sysClr val="window" lastClr="FFFFFF"/>
      </a:lt1>
      <a:dk2>
        <a:srgbClr val="C6562C"/>
      </a:dk2>
      <a:lt2>
        <a:srgbClr val="893B1F"/>
      </a:lt2>
      <a:accent1>
        <a:srgbClr val="576A85"/>
      </a:accent1>
      <a:accent2>
        <a:srgbClr val="778AA7"/>
      </a:accent2>
      <a:accent3>
        <a:srgbClr val="A9B5C7"/>
      </a:accent3>
      <a:accent4>
        <a:srgbClr val="CCD3DE"/>
      </a:accent4>
      <a:accent5>
        <a:srgbClr val="75726F"/>
      </a:accent5>
      <a:accent6>
        <a:srgbClr val="9D9A97"/>
      </a:accent6>
      <a:hlink>
        <a:srgbClr val="75726F"/>
      </a:hlink>
      <a:folHlink>
        <a:srgbClr val="9D9A97"/>
      </a:folHlink>
    </a:clrScheme>
    <a:fontScheme name="Berenber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900" dirty="0" smtClean="0"/>
        </a:defPPr>
      </a:lstStyle>
      <a:style>
        <a:lnRef idx="2">
          <a:schemeClr val="accent6">
            <a:shade val="50000"/>
          </a:schemeClr>
        </a:lnRef>
        <a:fillRef idx="1">
          <a:schemeClr val="accent6"/>
        </a:fillRef>
        <a:effectRef idx="0">
          <a:schemeClr val="accent6"/>
        </a:effectRef>
        <a:fontRef idx="minor">
          <a:schemeClr val="lt1"/>
        </a:fontRef>
      </a:style>
    </a:spDef>
    <a:lnDef>
      <a:spPr/>
      <a:bodyPr/>
      <a:lstStyle/>
      <a:style>
        <a:lnRef idx="1">
          <a:schemeClr val="accent6"/>
        </a:lnRef>
        <a:fillRef idx="0">
          <a:schemeClr val="accent6"/>
        </a:fillRef>
        <a:effectRef idx="0">
          <a:schemeClr val="accent6"/>
        </a:effectRef>
        <a:fontRef idx="minor">
          <a:schemeClr val="tx1"/>
        </a:fontRef>
      </a:style>
    </a:lnDef>
    <a:txDef>
      <a:spPr>
        <a:noFill/>
      </a:spPr>
      <a:bodyPr vert="horz" wrap="square" lIns="0" tIns="0" rIns="0" bIns="0" rtlCol="0">
        <a:noAutofit/>
      </a:bodyPr>
      <a:lstStyle>
        <a:defPPr algn="l">
          <a:lnSpc>
            <a:spcPct val="110000"/>
          </a:lnSpc>
          <a:spcBef>
            <a:spcPts val="300"/>
          </a:spcBef>
          <a:buClr>
            <a:schemeClr val="tx2"/>
          </a:buClr>
          <a:defRPr sz="1400" dirty="0" err="1" smtClean="0"/>
        </a:defPPr>
      </a:lstStyle>
    </a:txDef>
  </a:objectDefaults>
  <a:extraClrSchemeLst/>
  <a:custClrLst>
    <a:custClr name="Dunkelgrau">
      <a:srgbClr val="3B3937"/>
    </a:custClr>
    <a:custClr name="Grau 100%">
      <a:srgbClr val="75726F"/>
    </a:custClr>
    <a:custClr name="Grau 80%">
      <a:srgbClr val="9D9A97"/>
    </a:custClr>
    <a:custClr name="Grau 60%">
      <a:srgbClr val="BAB7B4"/>
    </a:custClr>
    <a:custClr name="Grau 40%">
      <a:srgbClr val="DAD9D8"/>
    </a:custClr>
    <a:custClr name="Grau 20%">
      <a:srgbClr val="EDECEB"/>
    </a:custClr>
    <a:custClr name="Weiß1">
      <a:srgbClr val="FFFFFF"/>
    </a:custClr>
    <a:custClr name="Rot">
      <a:srgbClr val="C61526"/>
    </a:custClr>
    <a:custClr name="Gelb">
      <a:srgbClr val="F8C019"/>
    </a:custClr>
    <a:custClr name="Grün">
      <a:srgbClr val="569175"/>
    </a:custClr>
    <a:custClr name="Dunkelorange">
      <a:srgbClr val="893B1F"/>
    </a:custClr>
    <a:custClr name="Orange 100%">
      <a:srgbClr val="C6562C"/>
    </a:custClr>
    <a:custClr name="Orange 80%">
      <a:srgbClr val="DE8A6C"/>
    </a:custClr>
    <a:custClr name="Orange 40%">
      <a:srgbClr val="E7AA95"/>
    </a:custClr>
    <a:custClr name="Orange 20%">
      <a:srgbClr val="F2D2C6"/>
    </a:custClr>
    <a:custClr name="Weiß2">
      <a:srgbClr val="FFFFFF"/>
    </a:custClr>
    <a:custClr name="Weiß3">
      <a:srgbClr val="FFFFFF"/>
    </a:custClr>
    <a:custClr name="Weiß4">
      <a:srgbClr val="FFFFFF"/>
    </a:custClr>
    <a:custClr name="Beige">
      <a:srgbClr val="DAC286"/>
    </a:custClr>
    <a:custClr name="Weiß5">
      <a:srgbClr val="FFFFFF"/>
    </a:custClr>
    <a:custClr name="Blau">
      <a:srgbClr val="576A85"/>
    </a:custClr>
    <a:custClr name="Blau 80%">
      <a:srgbClr val="778AA7"/>
    </a:custClr>
    <a:custClr name="Blau 60%">
      <a:srgbClr val="A9B5C7"/>
    </a:custClr>
    <a:custClr name="Blau 40%">
      <a:srgbClr val="CCD3DE"/>
    </a:custClr>
    <a:custClr name="Weiß6">
      <a:srgbClr val="FFFFFF"/>
    </a:custClr>
    <a:custClr name="Weiß7">
      <a:srgbClr val="FFFFFF"/>
    </a:custClr>
    <a:custClr name="Weiß8">
      <a:srgbClr val="FFFFFF"/>
    </a:custClr>
    <a:custClr name="Weiß9">
      <a:srgbClr val="FFFFFF"/>
    </a:custClr>
    <a:custClr name="Weiß10">
      <a:srgbClr val="FFFFFF"/>
    </a:custClr>
    <a:custClr name="Weiß11">
      <a:srgbClr val="FFFFFF"/>
    </a:custClr>
  </a:custClrLst>
  <a:extLst>
    <a:ext uri="{05A4C25C-085E-4340-85A3-A5531E510DB2}">
      <thm15:themeFamily xmlns:thm15="http://schemas.microsoft.com/office/thememl/2012/main" name="UpSlideTemplate.potx" id="{2E367B07-9FFA-4A2B-BF6B-D8495A8D016C}" vid="{65E6F35C-8B69-41FF-A9DF-B44FC0EF1105}"/>
    </a:ext>
  </a:extLst>
</a:theme>
</file>

<file path=ppt/theme/theme2.xml><?xml version="1.0" encoding="utf-8"?>
<a:theme xmlns:a="http://schemas.openxmlformats.org/drawingml/2006/main" name="UpSlide Table Of Content Master (do not edit)">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UpSlideTemplate.potx" id="{2E367B07-9FFA-4A2B-BF6B-D8495A8D016C}" vid="{0846E95C-4D59-42A8-A421-4D57EB322E74}"/>
    </a:ext>
  </a:extLst>
</a:theme>
</file>

<file path=ppt/theme/theme3.xml><?xml version="1.0" encoding="utf-8"?>
<a:theme xmlns:a="http://schemas.openxmlformats.org/drawingml/2006/main" name="D_202007_Berenberg European Focus Fund_Professionelle Kunden">
  <a:themeElements>
    <a:clrScheme name="Berenberg final">
      <a:dk1>
        <a:sysClr val="windowText" lastClr="000000"/>
      </a:dk1>
      <a:lt1>
        <a:sysClr val="window" lastClr="FFFFFF"/>
      </a:lt1>
      <a:dk2>
        <a:srgbClr val="C6562C"/>
      </a:dk2>
      <a:lt2>
        <a:srgbClr val="893B1F"/>
      </a:lt2>
      <a:accent1>
        <a:srgbClr val="576A85"/>
      </a:accent1>
      <a:accent2>
        <a:srgbClr val="778AA7"/>
      </a:accent2>
      <a:accent3>
        <a:srgbClr val="A9B5C7"/>
      </a:accent3>
      <a:accent4>
        <a:srgbClr val="CCD3DE"/>
      </a:accent4>
      <a:accent5>
        <a:srgbClr val="75726F"/>
      </a:accent5>
      <a:accent6>
        <a:srgbClr val="9D9A97"/>
      </a:accent6>
      <a:hlink>
        <a:srgbClr val="75726F"/>
      </a:hlink>
      <a:folHlink>
        <a:srgbClr val="9D9A9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buClr>
            <a:schemeClr val="tx2"/>
          </a:buClr>
          <a:buFont typeface="Arial" panose="020B0604020202020204" pitchFamily="34" charset="0"/>
          <a:buChar char="•"/>
          <a:defRPr dirty="0" err="1" smtClean="0"/>
        </a:defPPr>
      </a:lstStyle>
    </a:txDef>
  </a:objectDefaults>
  <a:extraClrSchemeLst/>
  <a:custClrLst>
    <a:custClr name="Dunkelgrau">
      <a:srgbClr val="3B3937"/>
    </a:custClr>
    <a:custClr name="Grau 100%">
      <a:srgbClr val="75726F"/>
    </a:custClr>
    <a:custClr name="Grau 80%">
      <a:srgbClr val="9D9A97"/>
    </a:custClr>
    <a:custClr name="Grau 60%">
      <a:srgbClr val="BAB7B4"/>
    </a:custClr>
    <a:custClr name="Grau 40%">
      <a:srgbClr val="DAD9D8"/>
    </a:custClr>
    <a:custClr name="Grau 20%">
      <a:srgbClr val="EDECEB"/>
    </a:custClr>
    <a:custClr name="#">
      <a:srgbClr val="FFFFFF"/>
    </a:custClr>
    <a:custClr name="Rot">
      <a:srgbClr val="C61526"/>
    </a:custClr>
    <a:custClr name="Gelb">
      <a:srgbClr val="F8C019"/>
    </a:custClr>
    <a:custClr name="Grün">
      <a:srgbClr val="569175"/>
    </a:custClr>
    <a:custClr name="Dunkelorange">
      <a:srgbClr val="893B1F"/>
    </a:custClr>
    <a:custClr name="Orange 100%">
      <a:srgbClr val="C6562C"/>
    </a:custClr>
    <a:custClr name="Orange 80%">
      <a:srgbClr val="DE8A6C"/>
    </a:custClr>
    <a:custClr name="Orange 40%">
      <a:srgbClr val="E7AA95"/>
    </a:custClr>
    <a:custClr name="Orange 20%">
      <a:srgbClr val="F2D2C6"/>
    </a:custClr>
    <a:custClr name="#">
      <a:srgbClr val="FFFFFF"/>
    </a:custClr>
    <a:custClr name="#">
      <a:srgbClr val="FFFFFF"/>
    </a:custClr>
    <a:custClr name="#">
      <a:srgbClr val="FFFFFF"/>
    </a:custClr>
    <a:custClr name="Beige">
      <a:srgbClr val="DAC286"/>
    </a:custClr>
    <a:custClr name="#">
      <a:srgbClr val="FFFFFF"/>
    </a:custClr>
    <a:custClr name="Blau 100%">
      <a:srgbClr val="576A85"/>
    </a:custClr>
    <a:custClr name="Blau 80%">
      <a:srgbClr val="778AA7"/>
    </a:custClr>
    <a:custClr name="Blau 60%">
      <a:srgbClr val="A9B5C7"/>
    </a:custClr>
    <a:custClr name="Blau 40%">
      <a:srgbClr val="CCD3DE"/>
    </a:custClr>
    <a:custClr name="#">
      <a:srgbClr val="FFFFFF"/>
    </a:custClr>
    <a:custClr name="#">
      <a:srgbClr val="FFFFFF"/>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D_Berenberg European Focus Fund_Professional" id="{A642752C-BCE4-4316-8999-B56E06C19945}" vid="{AC039635-EF49-45B0-AB9B-361060041E2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erenberg">
    <a:dk1>
      <a:sysClr val="windowText" lastClr="000000"/>
    </a:dk1>
    <a:lt1>
      <a:sysClr val="window" lastClr="FFFFFF"/>
    </a:lt1>
    <a:dk2>
      <a:srgbClr val="C6562C"/>
    </a:dk2>
    <a:lt2>
      <a:srgbClr val="893B1F"/>
    </a:lt2>
    <a:accent1>
      <a:srgbClr val="576A85"/>
    </a:accent1>
    <a:accent2>
      <a:srgbClr val="778AA7"/>
    </a:accent2>
    <a:accent3>
      <a:srgbClr val="A9B5C7"/>
    </a:accent3>
    <a:accent4>
      <a:srgbClr val="CCD3DE"/>
    </a:accent4>
    <a:accent5>
      <a:srgbClr val="75726F"/>
    </a:accent5>
    <a:accent6>
      <a:srgbClr val="9D9A97"/>
    </a:accent6>
    <a:hlink>
      <a:srgbClr val="75726F"/>
    </a:hlink>
    <a:folHlink>
      <a:srgbClr val="9D9A97"/>
    </a:folHlink>
  </a:clrScheme>
  <a:fontScheme name="Berenber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Berenberg">
    <a:dk1>
      <a:sysClr val="windowText" lastClr="000000"/>
    </a:dk1>
    <a:lt1>
      <a:sysClr val="window" lastClr="FFFFFF"/>
    </a:lt1>
    <a:dk2>
      <a:srgbClr val="C6562C"/>
    </a:dk2>
    <a:lt2>
      <a:srgbClr val="893B1F"/>
    </a:lt2>
    <a:accent1>
      <a:srgbClr val="576A85"/>
    </a:accent1>
    <a:accent2>
      <a:srgbClr val="778AA7"/>
    </a:accent2>
    <a:accent3>
      <a:srgbClr val="A9B5C7"/>
    </a:accent3>
    <a:accent4>
      <a:srgbClr val="CCD3DE"/>
    </a:accent4>
    <a:accent5>
      <a:srgbClr val="75726F"/>
    </a:accent5>
    <a:accent6>
      <a:srgbClr val="9D9A97"/>
    </a:accent6>
    <a:hlink>
      <a:srgbClr val="75726F"/>
    </a:hlink>
    <a:folHlink>
      <a:srgbClr val="9D9A97"/>
    </a:folHlink>
  </a:clrScheme>
  <a:fontScheme name="Berenber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UpSlideTemplate</Template>
  <TotalTime>0</TotalTime>
  <Words>2369</Words>
  <Application>Microsoft Office PowerPoint</Application>
  <PresentationFormat>Bildschirmpräsentation (4:3)</PresentationFormat>
  <Paragraphs>403</Paragraphs>
  <Slides>19</Slides>
  <Notes>0</Notes>
  <HiddenSlides>0</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9</vt:i4>
      </vt:variant>
    </vt:vector>
  </HeadingPairs>
  <TitlesOfParts>
    <vt:vector size="28" baseType="lpstr">
      <vt:lpstr>Arial</vt:lpstr>
      <vt:lpstr>Calibri</vt:lpstr>
      <vt:lpstr>Garamond</vt:lpstr>
      <vt:lpstr>Symbol</vt:lpstr>
      <vt:lpstr>Univers-CondensedLight</vt:lpstr>
      <vt:lpstr>Berenberg Slide Master</vt:lpstr>
      <vt:lpstr>UpSlide Table Of Content Master (do not edit)</vt:lpstr>
      <vt:lpstr>D_202007_Berenberg European Focus Fund_Professionelle Kunden</vt:lpstr>
      <vt:lpstr>think-cell Slide</vt:lpstr>
      <vt:lpstr>Stock picking in Europa</vt:lpstr>
      <vt:lpstr> Wichtige Hinweise</vt:lpstr>
      <vt:lpstr>Europa hat sich seit Beginn des 4. Quartals 2022 deutlich besser entwickelt als der US-Markt</vt:lpstr>
      <vt:lpstr>Langfristiger relativer Performancevergleich  Europa vs. USA</vt:lpstr>
      <vt:lpstr>Europa im Vergleich mit den USA </vt:lpstr>
      <vt:lpstr>Gründe für die Outperformance</vt:lpstr>
      <vt:lpstr>Es gibt erste Anzeichen für einen Stimmungsumschwung bei Anlegern in Bezug auf Europa</vt:lpstr>
      <vt:lpstr>Warum hat sich Europa besser entwickelt als die USA? (1) Bessere Makrodaten</vt:lpstr>
      <vt:lpstr>Warum hat sich Europa besser entwickelt als die USA? (2) Niedrigere Gaspreise</vt:lpstr>
      <vt:lpstr>Warum hat sich Europa besser entwickelt als die USA? (3) Relative EPS Outperformance</vt:lpstr>
      <vt:lpstr>Warum hat sich Europa besser entwickelt als die USA? (4) Bessere News aus China</vt:lpstr>
      <vt:lpstr>Sektorgewichte Europa vs. USA</vt:lpstr>
      <vt:lpstr>Vergleich der Top 10 Positionen in Europa und den USA </vt:lpstr>
      <vt:lpstr>Europäische Small Caps bieten attraktive Chancen im Vergleich zu den USA</vt:lpstr>
      <vt:lpstr>Europa vs. USA </vt:lpstr>
      <vt:lpstr>Berenberg European Focus Fund</vt:lpstr>
      <vt:lpstr>Berenberg European Small Cap</vt:lpstr>
      <vt:lpstr>Berenberg International Micro Cap</vt:lpstr>
      <vt:lpstr>Chancen und Risik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ck picking in Europa</dc:title>
  <dc:creator>Bendel</dc:creator>
  <cp:lastModifiedBy>Born, Matthias</cp:lastModifiedBy>
  <cp:revision>42</cp:revision>
  <dcterms:created xsi:type="dcterms:W3CDTF">2022-05-05T08:58:23Z</dcterms:created>
  <dcterms:modified xsi:type="dcterms:W3CDTF">2023-01-30T09:45:52Z</dcterms:modified>
</cp:coreProperties>
</file>